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4.xml" ContentType="application/vnd.openxmlformats-officedocument.theme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5.xml" ContentType="application/vnd.openxmlformats-officedocument.theme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theme/theme6.xml" ContentType="application/vnd.openxmlformats-officedocument.theme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7.xml" ContentType="application/vnd.openxmlformats-officedocument.theme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8.xml" ContentType="application/vnd.openxmlformats-officedocument.theme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9.xml" ContentType="application/vnd.openxmlformats-officedocument.theme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theme/theme10.xml" ContentType="application/vnd.openxmlformats-officedocument.theme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1.xml" ContentType="application/vnd.openxmlformats-officedocument.theme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2.xml" ContentType="application/vnd.openxmlformats-officedocument.theme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13.xml" ContentType="application/vnd.openxmlformats-officedocument.theme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theme/theme14.xml" ContentType="application/vnd.openxmlformats-officedocument.theme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tags/tag2020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899" r:id="rId1"/>
    <p:sldMasterId id="2147483921" r:id="rId2"/>
    <p:sldMasterId id="2147483940" r:id="rId3"/>
    <p:sldMasterId id="2147483961" r:id="rId4"/>
    <p:sldMasterId id="2147483977" r:id="rId5"/>
    <p:sldMasterId id="2147483996" r:id="rId6"/>
    <p:sldMasterId id="2147484019" r:id="rId7"/>
    <p:sldMasterId id="2147484035" r:id="rId8"/>
    <p:sldMasterId id="2147484056" r:id="rId9"/>
    <p:sldMasterId id="2147484095" r:id="rId10"/>
    <p:sldMasterId id="2147484114" r:id="rId11"/>
    <p:sldMasterId id="2147484135" r:id="rId12"/>
    <p:sldMasterId id="2147484156" r:id="rId13"/>
    <p:sldMasterId id="2147484178" r:id="rId14"/>
  </p:sldMasterIdLst>
  <p:notesMasterIdLst>
    <p:notesMasterId r:id="rId16"/>
  </p:notesMasterIdLst>
  <p:handoutMasterIdLst>
    <p:handoutMasterId r:id="rId17"/>
  </p:handoutMasterIdLst>
  <p:sldIdLst>
    <p:sldId id="2147479246" r:id="rId15"/>
  </p:sldIdLst>
  <p:sldSz cx="12192000" cy="6858000"/>
  <p:notesSz cx="6797675" cy="987425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050"/>
    <a:srgbClr val="B8D2F9"/>
    <a:srgbClr val="F2B800"/>
    <a:srgbClr val="199DF1"/>
    <a:srgbClr val="E6FEFA"/>
    <a:srgbClr val="88B3F5"/>
    <a:srgbClr val="34F7D3"/>
    <a:srgbClr val="B0CCF9"/>
    <a:srgbClr val="10B3F0"/>
    <a:srgbClr val="D0D0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4" autoAdjust="0"/>
    <p:restoredTop sz="95226" autoAdjust="0"/>
  </p:normalViewPr>
  <p:slideViewPr>
    <p:cSldViewPr snapToGrid="0" snapToObjects="1">
      <p:cViewPr varScale="1">
        <p:scale>
          <a:sx n="113" d="100"/>
          <a:sy n="113" d="100"/>
        </p:scale>
        <p:origin x="294" y="96"/>
      </p:cViewPr>
      <p:guideLst/>
    </p:cSldViewPr>
  </p:slideViewPr>
  <p:outlineViewPr>
    <p:cViewPr>
      <p:scale>
        <a:sx n="33" d="100"/>
        <a:sy n="33" d="100"/>
      </p:scale>
      <p:origin x="0" y="-648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microsoft.com/office/2018/10/relationships/authors" Target="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.xml"/><Relationship Id="rId23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065" cy="4942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092" y="0"/>
            <a:ext cx="2946065" cy="4942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 October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380037"/>
            <a:ext cx="2946065" cy="4942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092" y="9380037"/>
            <a:ext cx="2946065" cy="4942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7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7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 October 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6563" y="592138"/>
            <a:ext cx="5924550" cy="33337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45659" cy="495426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5"/>
            <a:ext cx="2945659" cy="495426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79160" y="4751795"/>
            <a:ext cx="5439355" cy="388859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31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tags" Target="../tags/tag34.xml"/><Relationship Id="rId5" Type="http://schemas.openxmlformats.org/officeDocument/2006/relationships/tags" Target="../tags/tag33.xml"/><Relationship Id="rId4" Type="http://schemas.openxmlformats.org/officeDocument/2006/relationships/tags" Target="../tags/tag32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7.xml"/><Relationship Id="rId3" Type="http://schemas.openxmlformats.org/officeDocument/2006/relationships/tags" Target="../tags/tag92.xml"/><Relationship Id="rId7" Type="http://schemas.openxmlformats.org/officeDocument/2006/relationships/tags" Target="../tags/tag96.xml"/><Relationship Id="rId12" Type="http://schemas.openxmlformats.org/officeDocument/2006/relationships/image" Target="../media/image3.emf"/><Relationship Id="rId2" Type="http://schemas.openxmlformats.org/officeDocument/2006/relationships/tags" Target="../tags/tag91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5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9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3.xml"/><Relationship Id="rId9" Type="http://schemas.openxmlformats.org/officeDocument/2006/relationships/tags" Target="../tags/tag98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tags" Target="../tags/tag841.xml"/><Relationship Id="rId3" Type="http://schemas.openxmlformats.org/officeDocument/2006/relationships/tags" Target="../tags/tag836.xml"/><Relationship Id="rId7" Type="http://schemas.openxmlformats.org/officeDocument/2006/relationships/tags" Target="../tags/tag840.xml"/><Relationship Id="rId12" Type="http://schemas.openxmlformats.org/officeDocument/2006/relationships/image" Target="../media/image1.emf"/><Relationship Id="rId2" Type="http://schemas.openxmlformats.org/officeDocument/2006/relationships/tags" Target="../tags/tag835.xml"/><Relationship Id="rId1" Type="http://schemas.openxmlformats.org/officeDocument/2006/relationships/vmlDrawing" Target="../drawings/vmlDrawing103.vml"/><Relationship Id="rId6" Type="http://schemas.openxmlformats.org/officeDocument/2006/relationships/tags" Target="../tags/tag839.xml"/><Relationship Id="rId11" Type="http://schemas.openxmlformats.org/officeDocument/2006/relationships/oleObject" Target="../embeddings/oleObject103.bin"/><Relationship Id="rId5" Type="http://schemas.openxmlformats.org/officeDocument/2006/relationships/tags" Target="../tags/tag838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37.xml"/><Relationship Id="rId9" Type="http://schemas.openxmlformats.org/officeDocument/2006/relationships/tags" Target="../tags/tag842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844.xml"/><Relationship Id="rId7" Type="http://schemas.openxmlformats.org/officeDocument/2006/relationships/tags" Target="../tags/tag848.xml"/><Relationship Id="rId2" Type="http://schemas.openxmlformats.org/officeDocument/2006/relationships/tags" Target="../tags/tag843.xml"/><Relationship Id="rId1" Type="http://schemas.openxmlformats.org/officeDocument/2006/relationships/vmlDrawing" Target="../drawings/vmlDrawing104.vml"/><Relationship Id="rId6" Type="http://schemas.openxmlformats.org/officeDocument/2006/relationships/tags" Target="../tags/tag847.xml"/><Relationship Id="rId5" Type="http://schemas.openxmlformats.org/officeDocument/2006/relationships/tags" Target="../tags/tag846.xml"/><Relationship Id="rId10" Type="http://schemas.openxmlformats.org/officeDocument/2006/relationships/image" Target="../media/image2.emf"/><Relationship Id="rId4" Type="http://schemas.openxmlformats.org/officeDocument/2006/relationships/tags" Target="../tags/tag845.xml"/><Relationship Id="rId9" Type="http://schemas.openxmlformats.org/officeDocument/2006/relationships/oleObject" Target="../embeddings/oleObject104.bin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50.xml"/><Relationship Id="rId7" Type="http://schemas.openxmlformats.org/officeDocument/2006/relationships/oleObject" Target="../embeddings/oleObject105.bin"/><Relationship Id="rId2" Type="http://schemas.openxmlformats.org/officeDocument/2006/relationships/tags" Target="../tags/tag849.xml"/><Relationship Id="rId1" Type="http://schemas.openxmlformats.org/officeDocument/2006/relationships/vmlDrawing" Target="../drawings/vmlDrawing10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852.xml"/><Relationship Id="rId4" Type="http://schemas.openxmlformats.org/officeDocument/2006/relationships/tags" Target="../tags/tag851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854.xml"/><Relationship Id="rId2" Type="http://schemas.openxmlformats.org/officeDocument/2006/relationships/tags" Target="../tags/tag853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861.xml"/><Relationship Id="rId13" Type="http://schemas.openxmlformats.org/officeDocument/2006/relationships/oleObject" Target="../embeddings/oleObject107.bin"/><Relationship Id="rId3" Type="http://schemas.openxmlformats.org/officeDocument/2006/relationships/tags" Target="../tags/tag856.xml"/><Relationship Id="rId7" Type="http://schemas.openxmlformats.org/officeDocument/2006/relationships/tags" Target="../tags/tag860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855.xml"/><Relationship Id="rId1" Type="http://schemas.openxmlformats.org/officeDocument/2006/relationships/vmlDrawing" Target="../drawings/vmlDrawing107.vml"/><Relationship Id="rId6" Type="http://schemas.openxmlformats.org/officeDocument/2006/relationships/tags" Target="../tags/tag859.xml"/><Relationship Id="rId11" Type="http://schemas.openxmlformats.org/officeDocument/2006/relationships/tags" Target="../tags/tag864.xml"/><Relationship Id="rId5" Type="http://schemas.openxmlformats.org/officeDocument/2006/relationships/tags" Target="../tags/tag858.xml"/><Relationship Id="rId10" Type="http://schemas.openxmlformats.org/officeDocument/2006/relationships/tags" Target="../tags/tag863.xml"/><Relationship Id="rId4" Type="http://schemas.openxmlformats.org/officeDocument/2006/relationships/tags" Target="../tags/tag857.xml"/><Relationship Id="rId9" Type="http://schemas.openxmlformats.org/officeDocument/2006/relationships/tags" Target="../tags/tag862.xml"/><Relationship Id="rId14" Type="http://schemas.openxmlformats.org/officeDocument/2006/relationships/image" Target="../media/image1.emf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871.xml"/><Relationship Id="rId3" Type="http://schemas.openxmlformats.org/officeDocument/2006/relationships/tags" Target="../tags/tag866.xml"/><Relationship Id="rId7" Type="http://schemas.openxmlformats.org/officeDocument/2006/relationships/tags" Target="../tags/tag870.xml"/><Relationship Id="rId2" Type="http://schemas.openxmlformats.org/officeDocument/2006/relationships/tags" Target="../tags/tag865.xml"/><Relationship Id="rId1" Type="http://schemas.openxmlformats.org/officeDocument/2006/relationships/vmlDrawing" Target="../drawings/vmlDrawing108.vml"/><Relationship Id="rId6" Type="http://schemas.openxmlformats.org/officeDocument/2006/relationships/tags" Target="../tags/tag869.xml"/><Relationship Id="rId11" Type="http://schemas.openxmlformats.org/officeDocument/2006/relationships/image" Target="../media/image1.emf"/><Relationship Id="rId5" Type="http://schemas.openxmlformats.org/officeDocument/2006/relationships/tags" Target="../tags/tag868.xml"/><Relationship Id="rId10" Type="http://schemas.openxmlformats.org/officeDocument/2006/relationships/oleObject" Target="../embeddings/oleObject108.bin"/><Relationship Id="rId4" Type="http://schemas.openxmlformats.org/officeDocument/2006/relationships/tags" Target="../tags/tag867.xml"/><Relationship Id="rId9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873.xml"/><Relationship Id="rId7" Type="http://schemas.openxmlformats.org/officeDocument/2006/relationships/tags" Target="../tags/tag877.xml"/><Relationship Id="rId2" Type="http://schemas.openxmlformats.org/officeDocument/2006/relationships/tags" Target="../tags/tag872.xml"/><Relationship Id="rId1" Type="http://schemas.openxmlformats.org/officeDocument/2006/relationships/vmlDrawing" Target="../drawings/vmlDrawing109.vml"/><Relationship Id="rId6" Type="http://schemas.openxmlformats.org/officeDocument/2006/relationships/tags" Target="../tags/tag876.xml"/><Relationship Id="rId5" Type="http://schemas.openxmlformats.org/officeDocument/2006/relationships/tags" Target="../tags/tag875.xml"/><Relationship Id="rId10" Type="http://schemas.openxmlformats.org/officeDocument/2006/relationships/image" Target="../media/image1.emf"/><Relationship Id="rId4" Type="http://schemas.openxmlformats.org/officeDocument/2006/relationships/tags" Target="../tags/tag874.xml"/><Relationship Id="rId9" Type="http://schemas.openxmlformats.org/officeDocument/2006/relationships/oleObject" Target="../embeddings/oleObject109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879.xml"/><Relationship Id="rId7" Type="http://schemas.openxmlformats.org/officeDocument/2006/relationships/image" Target="../media/image10.png"/><Relationship Id="rId2" Type="http://schemas.openxmlformats.org/officeDocument/2006/relationships/tags" Target="../tags/tag878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tags" Target="../tags/tag886.xml"/><Relationship Id="rId3" Type="http://schemas.openxmlformats.org/officeDocument/2006/relationships/tags" Target="../tags/tag881.xml"/><Relationship Id="rId7" Type="http://schemas.openxmlformats.org/officeDocument/2006/relationships/tags" Target="../tags/tag885.xml"/><Relationship Id="rId2" Type="http://schemas.openxmlformats.org/officeDocument/2006/relationships/tags" Target="../tags/tag880.xml"/><Relationship Id="rId1" Type="http://schemas.openxmlformats.org/officeDocument/2006/relationships/vmlDrawing" Target="../drawings/vmlDrawing111.vml"/><Relationship Id="rId6" Type="http://schemas.openxmlformats.org/officeDocument/2006/relationships/tags" Target="../tags/tag884.xml"/><Relationship Id="rId11" Type="http://schemas.openxmlformats.org/officeDocument/2006/relationships/image" Target="../media/image1.emf"/><Relationship Id="rId5" Type="http://schemas.openxmlformats.org/officeDocument/2006/relationships/tags" Target="../tags/tag883.xml"/><Relationship Id="rId10" Type="http://schemas.openxmlformats.org/officeDocument/2006/relationships/oleObject" Target="../embeddings/oleObject111.bin"/><Relationship Id="rId4" Type="http://schemas.openxmlformats.org/officeDocument/2006/relationships/tags" Target="../tags/tag882.xml"/><Relationship Id="rId9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5.xml"/><Relationship Id="rId3" Type="http://schemas.openxmlformats.org/officeDocument/2006/relationships/tags" Target="../tags/tag100.xml"/><Relationship Id="rId7" Type="http://schemas.openxmlformats.org/officeDocument/2006/relationships/tags" Target="../tags/tag104.xml"/><Relationship Id="rId12" Type="http://schemas.openxmlformats.org/officeDocument/2006/relationships/image" Target="../media/image1.emf"/><Relationship Id="rId2" Type="http://schemas.openxmlformats.org/officeDocument/2006/relationships/tags" Target="../tags/tag99.xml"/><Relationship Id="rId1" Type="http://schemas.openxmlformats.org/officeDocument/2006/relationships/vmlDrawing" Target="../drawings/vmlDrawing12.vml"/><Relationship Id="rId6" Type="http://schemas.openxmlformats.org/officeDocument/2006/relationships/tags" Target="../tags/tag103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10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1.xml"/><Relationship Id="rId9" Type="http://schemas.openxmlformats.org/officeDocument/2006/relationships/tags" Target="../tags/tag106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3.bin"/><Relationship Id="rId3" Type="http://schemas.openxmlformats.org/officeDocument/2006/relationships/tags" Target="../tags/tag916.xml"/><Relationship Id="rId7" Type="http://schemas.openxmlformats.org/officeDocument/2006/relationships/slideMaster" Target="../slideMasters/slideMaster7.xml"/><Relationship Id="rId2" Type="http://schemas.openxmlformats.org/officeDocument/2006/relationships/tags" Target="../tags/tag915.xml"/><Relationship Id="rId1" Type="http://schemas.openxmlformats.org/officeDocument/2006/relationships/vmlDrawing" Target="../drawings/vmlDrawing113.vml"/><Relationship Id="rId6" Type="http://schemas.openxmlformats.org/officeDocument/2006/relationships/tags" Target="../tags/tag919.xml"/><Relationship Id="rId5" Type="http://schemas.openxmlformats.org/officeDocument/2006/relationships/tags" Target="../tags/tag918.xml"/><Relationship Id="rId4" Type="http://schemas.openxmlformats.org/officeDocument/2006/relationships/tags" Target="../tags/tag917.xml"/><Relationship Id="rId9" Type="http://schemas.openxmlformats.org/officeDocument/2006/relationships/image" Target="../media/image2.emf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tags" Target="../tags/tag926.xml"/><Relationship Id="rId3" Type="http://schemas.openxmlformats.org/officeDocument/2006/relationships/tags" Target="../tags/tag921.xml"/><Relationship Id="rId7" Type="http://schemas.openxmlformats.org/officeDocument/2006/relationships/tags" Target="../tags/tag925.xml"/><Relationship Id="rId2" Type="http://schemas.openxmlformats.org/officeDocument/2006/relationships/tags" Target="../tags/tag920.xml"/><Relationship Id="rId1" Type="http://schemas.openxmlformats.org/officeDocument/2006/relationships/vmlDrawing" Target="../drawings/vmlDrawing114.vml"/><Relationship Id="rId6" Type="http://schemas.openxmlformats.org/officeDocument/2006/relationships/tags" Target="../tags/tag924.xml"/><Relationship Id="rId11" Type="http://schemas.openxmlformats.org/officeDocument/2006/relationships/image" Target="../media/image1.emf"/><Relationship Id="rId5" Type="http://schemas.openxmlformats.org/officeDocument/2006/relationships/tags" Target="../tags/tag923.xml"/><Relationship Id="rId10" Type="http://schemas.openxmlformats.org/officeDocument/2006/relationships/oleObject" Target="../embeddings/oleObject114.bin"/><Relationship Id="rId4" Type="http://schemas.openxmlformats.org/officeDocument/2006/relationships/tags" Target="../tags/tag922.xml"/><Relationship Id="rId9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928.xml"/><Relationship Id="rId7" Type="http://schemas.openxmlformats.org/officeDocument/2006/relationships/tags" Target="../tags/tag932.xml"/><Relationship Id="rId2" Type="http://schemas.openxmlformats.org/officeDocument/2006/relationships/tags" Target="../tags/tag927.xml"/><Relationship Id="rId1" Type="http://schemas.openxmlformats.org/officeDocument/2006/relationships/vmlDrawing" Target="../drawings/vmlDrawing115.vml"/><Relationship Id="rId6" Type="http://schemas.openxmlformats.org/officeDocument/2006/relationships/tags" Target="../tags/tag931.xml"/><Relationship Id="rId5" Type="http://schemas.openxmlformats.org/officeDocument/2006/relationships/tags" Target="../tags/tag930.xml"/><Relationship Id="rId10" Type="http://schemas.openxmlformats.org/officeDocument/2006/relationships/image" Target="../media/image2.emf"/><Relationship Id="rId4" Type="http://schemas.openxmlformats.org/officeDocument/2006/relationships/tags" Target="../tags/tag929.xml"/><Relationship Id="rId9" Type="http://schemas.openxmlformats.org/officeDocument/2006/relationships/oleObject" Target="../embeddings/oleObject115.bin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934.xml"/><Relationship Id="rId7" Type="http://schemas.openxmlformats.org/officeDocument/2006/relationships/tags" Target="../tags/tag938.xml"/><Relationship Id="rId2" Type="http://schemas.openxmlformats.org/officeDocument/2006/relationships/tags" Target="../tags/tag933.xml"/><Relationship Id="rId1" Type="http://schemas.openxmlformats.org/officeDocument/2006/relationships/vmlDrawing" Target="../drawings/vmlDrawing116.vml"/><Relationship Id="rId6" Type="http://schemas.openxmlformats.org/officeDocument/2006/relationships/tags" Target="../tags/tag937.xml"/><Relationship Id="rId5" Type="http://schemas.openxmlformats.org/officeDocument/2006/relationships/tags" Target="../tags/tag936.xml"/><Relationship Id="rId10" Type="http://schemas.openxmlformats.org/officeDocument/2006/relationships/image" Target="../media/image2.emf"/><Relationship Id="rId4" Type="http://schemas.openxmlformats.org/officeDocument/2006/relationships/tags" Target="../tags/tag935.xml"/><Relationship Id="rId9" Type="http://schemas.openxmlformats.org/officeDocument/2006/relationships/oleObject" Target="../embeddings/oleObject116.bin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940.xml"/><Relationship Id="rId7" Type="http://schemas.openxmlformats.org/officeDocument/2006/relationships/tags" Target="../tags/tag944.xml"/><Relationship Id="rId2" Type="http://schemas.openxmlformats.org/officeDocument/2006/relationships/tags" Target="../tags/tag939.xml"/><Relationship Id="rId1" Type="http://schemas.openxmlformats.org/officeDocument/2006/relationships/vmlDrawing" Target="../drawings/vmlDrawing117.vml"/><Relationship Id="rId6" Type="http://schemas.openxmlformats.org/officeDocument/2006/relationships/tags" Target="../tags/tag943.xml"/><Relationship Id="rId5" Type="http://schemas.openxmlformats.org/officeDocument/2006/relationships/tags" Target="../tags/tag942.xml"/><Relationship Id="rId10" Type="http://schemas.openxmlformats.org/officeDocument/2006/relationships/image" Target="../media/image2.emf"/><Relationship Id="rId4" Type="http://schemas.openxmlformats.org/officeDocument/2006/relationships/tags" Target="../tags/tag941.xml"/><Relationship Id="rId9" Type="http://schemas.openxmlformats.org/officeDocument/2006/relationships/oleObject" Target="../embeddings/oleObject117.bin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tags" Target="../tags/tag951.xml"/><Relationship Id="rId3" Type="http://schemas.openxmlformats.org/officeDocument/2006/relationships/tags" Target="../tags/tag946.xml"/><Relationship Id="rId7" Type="http://schemas.openxmlformats.org/officeDocument/2006/relationships/tags" Target="../tags/tag950.xml"/><Relationship Id="rId2" Type="http://schemas.openxmlformats.org/officeDocument/2006/relationships/tags" Target="../tags/tag945.xml"/><Relationship Id="rId1" Type="http://schemas.openxmlformats.org/officeDocument/2006/relationships/vmlDrawing" Target="../drawings/vmlDrawing118.vml"/><Relationship Id="rId6" Type="http://schemas.openxmlformats.org/officeDocument/2006/relationships/tags" Target="../tags/tag949.xml"/><Relationship Id="rId11" Type="http://schemas.openxmlformats.org/officeDocument/2006/relationships/image" Target="../media/image2.emf"/><Relationship Id="rId5" Type="http://schemas.openxmlformats.org/officeDocument/2006/relationships/tags" Target="../tags/tag948.xml"/><Relationship Id="rId10" Type="http://schemas.openxmlformats.org/officeDocument/2006/relationships/oleObject" Target="../embeddings/oleObject118.bin"/><Relationship Id="rId4" Type="http://schemas.openxmlformats.org/officeDocument/2006/relationships/tags" Target="../tags/tag947.xml"/><Relationship Id="rId9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tags" Target="../tags/tag958.xml"/><Relationship Id="rId3" Type="http://schemas.openxmlformats.org/officeDocument/2006/relationships/tags" Target="../tags/tag953.xml"/><Relationship Id="rId7" Type="http://schemas.openxmlformats.org/officeDocument/2006/relationships/tags" Target="../tags/tag957.xml"/><Relationship Id="rId12" Type="http://schemas.openxmlformats.org/officeDocument/2006/relationships/image" Target="../media/image1.emf"/><Relationship Id="rId2" Type="http://schemas.openxmlformats.org/officeDocument/2006/relationships/tags" Target="../tags/tag952.xml"/><Relationship Id="rId1" Type="http://schemas.openxmlformats.org/officeDocument/2006/relationships/vmlDrawing" Target="../drawings/vmlDrawing119.vml"/><Relationship Id="rId6" Type="http://schemas.openxmlformats.org/officeDocument/2006/relationships/tags" Target="../tags/tag956.xml"/><Relationship Id="rId11" Type="http://schemas.openxmlformats.org/officeDocument/2006/relationships/oleObject" Target="../embeddings/oleObject119.bin"/><Relationship Id="rId5" Type="http://schemas.openxmlformats.org/officeDocument/2006/relationships/tags" Target="../tags/tag955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54.xml"/><Relationship Id="rId9" Type="http://schemas.openxmlformats.org/officeDocument/2006/relationships/tags" Target="../tags/tag959.xml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tags" Target="../tags/tag966.xml"/><Relationship Id="rId3" Type="http://schemas.openxmlformats.org/officeDocument/2006/relationships/tags" Target="../tags/tag961.xml"/><Relationship Id="rId7" Type="http://schemas.openxmlformats.org/officeDocument/2006/relationships/tags" Target="../tags/tag965.xml"/><Relationship Id="rId12" Type="http://schemas.openxmlformats.org/officeDocument/2006/relationships/image" Target="../media/image1.emf"/><Relationship Id="rId2" Type="http://schemas.openxmlformats.org/officeDocument/2006/relationships/tags" Target="../tags/tag960.xml"/><Relationship Id="rId1" Type="http://schemas.openxmlformats.org/officeDocument/2006/relationships/vmlDrawing" Target="../drawings/vmlDrawing120.vml"/><Relationship Id="rId6" Type="http://schemas.openxmlformats.org/officeDocument/2006/relationships/tags" Target="../tags/tag964.xml"/><Relationship Id="rId11" Type="http://schemas.openxmlformats.org/officeDocument/2006/relationships/oleObject" Target="../embeddings/oleObject120.bin"/><Relationship Id="rId5" Type="http://schemas.openxmlformats.org/officeDocument/2006/relationships/tags" Target="../tags/tag963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62.xml"/><Relationship Id="rId9" Type="http://schemas.openxmlformats.org/officeDocument/2006/relationships/tags" Target="../tags/tag967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tags" Target="../tags/tag974.xml"/><Relationship Id="rId3" Type="http://schemas.openxmlformats.org/officeDocument/2006/relationships/tags" Target="../tags/tag969.xml"/><Relationship Id="rId7" Type="http://schemas.openxmlformats.org/officeDocument/2006/relationships/tags" Target="../tags/tag973.xml"/><Relationship Id="rId12" Type="http://schemas.openxmlformats.org/officeDocument/2006/relationships/image" Target="../media/image1.emf"/><Relationship Id="rId2" Type="http://schemas.openxmlformats.org/officeDocument/2006/relationships/tags" Target="../tags/tag968.xml"/><Relationship Id="rId1" Type="http://schemas.openxmlformats.org/officeDocument/2006/relationships/vmlDrawing" Target="../drawings/vmlDrawing121.vml"/><Relationship Id="rId6" Type="http://schemas.openxmlformats.org/officeDocument/2006/relationships/tags" Target="../tags/tag972.xml"/><Relationship Id="rId11" Type="http://schemas.openxmlformats.org/officeDocument/2006/relationships/oleObject" Target="../embeddings/oleObject121.bin"/><Relationship Id="rId5" Type="http://schemas.openxmlformats.org/officeDocument/2006/relationships/tags" Target="../tags/tag971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70.xml"/><Relationship Id="rId9" Type="http://schemas.openxmlformats.org/officeDocument/2006/relationships/tags" Target="../tags/tag975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tags" Target="../tags/tag982.xml"/><Relationship Id="rId3" Type="http://schemas.openxmlformats.org/officeDocument/2006/relationships/tags" Target="../tags/tag977.xml"/><Relationship Id="rId7" Type="http://schemas.openxmlformats.org/officeDocument/2006/relationships/tags" Target="../tags/tag981.xml"/><Relationship Id="rId12" Type="http://schemas.openxmlformats.org/officeDocument/2006/relationships/image" Target="../media/image3.emf"/><Relationship Id="rId2" Type="http://schemas.openxmlformats.org/officeDocument/2006/relationships/tags" Target="../tags/tag976.xml"/><Relationship Id="rId1" Type="http://schemas.openxmlformats.org/officeDocument/2006/relationships/vmlDrawing" Target="../drawings/vmlDrawing122.vml"/><Relationship Id="rId6" Type="http://schemas.openxmlformats.org/officeDocument/2006/relationships/tags" Target="../tags/tag980.xml"/><Relationship Id="rId11" Type="http://schemas.openxmlformats.org/officeDocument/2006/relationships/oleObject" Target="../embeddings/oleObject122.bin"/><Relationship Id="rId5" Type="http://schemas.openxmlformats.org/officeDocument/2006/relationships/tags" Target="../tags/tag979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78.xml"/><Relationship Id="rId9" Type="http://schemas.openxmlformats.org/officeDocument/2006/relationships/tags" Target="../tags/tag98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8.xml"/><Relationship Id="rId7" Type="http://schemas.openxmlformats.org/officeDocument/2006/relationships/tags" Target="../tags/tag112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1.xml"/><Relationship Id="rId5" Type="http://schemas.openxmlformats.org/officeDocument/2006/relationships/tags" Target="../tags/tag110.xml"/><Relationship Id="rId10" Type="http://schemas.openxmlformats.org/officeDocument/2006/relationships/image" Target="../media/image2.emf"/><Relationship Id="rId4" Type="http://schemas.openxmlformats.org/officeDocument/2006/relationships/tags" Target="../tags/tag109.xml"/><Relationship Id="rId9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tags" Target="../tags/tag990.xml"/><Relationship Id="rId3" Type="http://schemas.openxmlformats.org/officeDocument/2006/relationships/tags" Target="../tags/tag985.xml"/><Relationship Id="rId7" Type="http://schemas.openxmlformats.org/officeDocument/2006/relationships/tags" Target="../tags/tag989.xml"/><Relationship Id="rId12" Type="http://schemas.openxmlformats.org/officeDocument/2006/relationships/image" Target="../media/image1.emf"/><Relationship Id="rId2" Type="http://schemas.openxmlformats.org/officeDocument/2006/relationships/tags" Target="../tags/tag984.xml"/><Relationship Id="rId1" Type="http://schemas.openxmlformats.org/officeDocument/2006/relationships/vmlDrawing" Target="../drawings/vmlDrawing123.vml"/><Relationship Id="rId6" Type="http://schemas.openxmlformats.org/officeDocument/2006/relationships/tags" Target="../tags/tag988.xml"/><Relationship Id="rId11" Type="http://schemas.openxmlformats.org/officeDocument/2006/relationships/oleObject" Target="../embeddings/oleObject123.bin"/><Relationship Id="rId5" Type="http://schemas.openxmlformats.org/officeDocument/2006/relationships/tags" Target="../tags/tag987.xml"/><Relationship Id="rId10" Type="http://schemas.openxmlformats.org/officeDocument/2006/relationships/slideMaster" Target="../slideMasters/slideMaster7.xml"/><Relationship Id="rId4" Type="http://schemas.openxmlformats.org/officeDocument/2006/relationships/tags" Target="../tags/tag986.xml"/><Relationship Id="rId9" Type="http://schemas.openxmlformats.org/officeDocument/2006/relationships/tags" Target="../tags/tag991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993.xml"/><Relationship Id="rId7" Type="http://schemas.openxmlformats.org/officeDocument/2006/relationships/tags" Target="../tags/tag997.xml"/><Relationship Id="rId2" Type="http://schemas.openxmlformats.org/officeDocument/2006/relationships/tags" Target="../tags/tag992.xml"/><Relationship Id="rId1" Type="http://schemas.openxmlformats.org/officeDocument/2006/relationships/vmlDrawing" Target="../drawings/vmlDrawing124.vml"/><Relationship Id="rId6" Type="http://schemas.openxmlformats.org/officeDocument/2006/relationships/tags" Target="../tags/tag996.xml"/><Relationship Id="rId5" Type="http://schemas.openxmlformats.org/officeDocument/2006/relationships/tags" Target="../tags/tag995.xml"/><Relationship Id="rId10" Type="http://schemas.openxmlformats.org/officeDocument/2006/relationships/image" Target="../media/image2.emf"/><Relationship Id="rId4" Type="http://schemas.openxmlformats.org/officeDocument/2006/relationships/tags" Target="../tags/tag994.xml"/><Relationship Id="rId9" Type="http://schemas.openxmlformats.org/officeDocument/2006/relationships/oleObject" Target="../embeddings/oleObject124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999.xml"/><Relationship Id="rId7" Type="http://schemas.openxmlformats.org/officeDocument/2006/relationships/oleObject" Target="../embeddings/oleObject125.bin"/><Relationship Id="rId2" Type="http://schemas.openxmlformats.org/officeDocument/2006/relationships/tags" Target="../tags/tag998.xml"/><Relationship Id="rId1" Type="http://schemas.openxmlformats.org/officeDocument/2006/relationships/vmlDrawing" Target="../drawings/vmlDrawing125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1001.xml"/><Relationship Id="rId4" Type="http://schemas.openxmlformats.org/officeDocument/2006/relationships/tags" Target="../tags/tag1000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003.xml"/><Relationship Id="rId2" Type="http://schemas.openxmlformats.org/officeDocument/2006/relationships/tags" Target="../tags/tag1002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7.xml"/><Relationship Id="rId3" Type="http://schemas.openxmlformats.org/officeDocument/2006/relationships/tags" Target="../tags/tag1005.xml"/><Relationship Id="rId7" Type="http://schemas.openxmlformats.org/officeDocument/2006/relationships/tags" Target="../tags/tag1009.xml"/><Relationship Id="rId2" Type="http://schemas.openxmlformats.org/officeDocument/2006/relationships/tags" Target="../tags/tag1004.xml"/><Relationship Id="rId1" Type="http://schemas.openxmlformats.org/officeDocument/2006/relationships/vmlDrawing" Target="../drawings/vmlDrawing127.vml"/><Relationship Id="rId6" Type="http://schemas.openxmlformats.org/officeDocument/2006/relationships/tags" Target="../tags/tag1008.xml"/><Relationship Id="rId5" Type="http://schemas.openxmlformats.org/officeDocument/2006/relationships/tags" Target="../tags/tag1007.xml"/><Relationship Id="rId10" Type="http://schemas.openxmlformats.org/officeDocument/2006/relationships/image" Target="../media/image1.emf"/><Relationship Id="rId4" Type="http://schemas.openxmlformats.org/officeDocument/2006/relationships/tags" Target="../tags/tag1006.xml"/><Relationship Id="rId9" Type="http://schemas.openxmlformats.org/officeDocument/2006/relationships/oleObject" Target="../embeddings/oleObject127.bin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9.bin"/><Relationship Id="rId3" Type="http://schemas.openxmlformats.org/officeDocument/2006/relationships/tags" Target="../tags/tag1039.xml"/><Relationship Id="rId7" Type="http://schemas.openxmlformats.org/officeDocument/2006/relationships/slideMaster" Target="../slideMasters/slideMaster8.xml"/><Relationship Id="rId2" Type="http://schemas.openxmlformats.org/officeDocument/2006/relationships/tags" Target="../tags/tag1038.xml"/><Relationship Id="rId1" Type="http://schemas.openxmlformats.org/officeDocument/2006/relationships/vmlDrawing" Target="../drawings/vmlDrawing129.vml"/><Relationship Id="rId6" Type="http://schemas.openxmlformats.org/officeDocument/2006/relationships/tags" Target="../tags/tag1042.xml"/><Relationship Id="rId5" Type="http://schemas.openxmlformats.org/officeDocument/2006/relationships/tags" Target="../tags/tag1041.xml"/><Relationship Id="rId4" Type="http://schemas.openxmlformats.org/officeDocument/2006/relationships/tags" Target="../tags/tag1040.xml"/><Relationship Id="rId9" Type="http://schemas.openxmlformats.org/officeDocument/2006/relationships/image" Target="../media/image2.emf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tags" Target="../tags/tag1049.xml"/><Relationship Id="rId3" Type="http://schemas.openxmlformats.org/officeDocument/2006/relationships/tags" Target="../tags/tag1044.xml"/><Relationship Id="rId7" Type="http://schemas.openxmlformats.org/officeDocument/2006/relationships/tags" Target="../tags/tag1048.xml"/><Relationship Id="rId2" Type="http://schemas.openxmlformats.org/officeDocument/2006/relationships/tags" Target="../tags/tag1043.xml"/><Relationship Id="rId1" Type="http://schemas.openxmlformats.org/officeDocument/2006/relationships/vmlDrawing" Target="../drawings/vmlDrawing130.vml"/><Relationship Id="rId6" Type="http://schemas.openxmlformats.org/officeDocument/2006/relationships/tags" Target="../tags/tag1047.xml"/><Relationship Id="rId11" Type="http://schemas.openxmlformats.org/officeDocument/2006/relationships/image" Target="../media/image1.emf"/><Relationship Id="rId5" Type="http://schemas.openxmlformats.org/officeDocument/2006/relationships/tags" Target="../tags/tag1046.xml"/><Relationship Id="rId10" Type="http://schemas.openxmlformats.org/officeDocument/2006/relationships/oleObject" Target="../embeddings/oleObject130.bin"/><Relationship Id="rId4" Type="http://schemas.openxmlformats.org/officeDocument/2006/relationships/tags" Target="../tags/tag1045.xml"/><Relationship Id="rId9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051.xml"/><Relationship Id="rId7" Type="http://schemas.openxmlformats.org/officeDocument/2006/relationships/tags" Target="../tags/tag1055.xml"/><Relationship Id="rId2" Type="http://schemas.openxmlformats.org/officeDocument/2006/relationships/tags" Target="../tags/tag1050.xml"/><Relationship Id="rId1" Type="http://schemas.openxmlformats.org/officeDocument/2006/relationships/vmlDrawing" Target="../drawings/vmlDrawing131.vml"/><Relationship Id="rId6" Type="http://schemas.openxmlformats.org/officeDocument/2006/relationships/tags" Target="../tags/tag1054.xml"/><Relationship Id="rId5" Type="http://schemas.openxmlformats.org/officeDocument/2006/relationships/tags" Target="../tags/tag1053.xml"/><Relationship Id="rId10" Type="http://schemas.openxmlformats.org/officeDocument/2006/relationships/image" Target="../media/image2.emf"/><Relationship Id="rId4" Type="http://schemas.openxmlformats.org/officeDocument/2006/relationships/tags" Target="../tags/tag1052.xml"/><Relationship Id="rId9" Type="http://schemas.openxmlformats.org/officeDocument/2006/relationships/oleObject" Target="../embeddings/oleObject131.bin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057.xml"/><Relationship Id="rId7" Type="http://schemas.openxmlformats.org/officeDocument/2006/relationships/tags" Target="../tags/tag1061.xml"/><Relationship Id="rId2" Type="http://schemas.openxmlformats.org/officeDocument/2006/relationships/tags" Target="../tags/tag1056.xml"/><Relationship Id="rId1" Type="http://schemas.openxmlformats.org/officeDocument/2006/relationships/vmlDrawing" Target="../drawings/vmlDrawing132.vml"/><Relationship Id="rId6" Type="http://schemas.openxmlformats.org/officeDocument/2006/relationships/tags" Target="../tags/tag1060.xml"/><Relationship Id="rId5" Type="http://schemas.openxmlformats.org/officeDocument/2006/relationships/tags" Target="../tags/tag1059.xml"/><Relationship Id="rId10" Type="http://schemas.openxmlformats.org/officeDocument/2006/relationships/image" Target="../media/image2.emf"/><Relationship Id="rId4" Type="http://schemas.openxmlformats.org/officeDocument/2006/relationships/tags" Target="../tags/tag1058.xml"/><Relationship Id="rId9" Type="http://schemas.openxmlformats.org/officeDocument/2006/relationships/oleObject" Target="../embeddings/oleObject132.bin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063.xml"/><Relationship Id="rId7" Type="http://schemas.openxmlformats.org/officeDocument/2006/relationships/tags" Target="../tags/tag1067.xml"/><Relationship Id="rId2" Type="http://schemas.openxmlformats.org/officeDocument/2006/relationships/tags" Target="../tags/tag1062.xml"/><Relationship Id="rId1" Type="http://schemas.openxmlformats.org/officeDocument/2006/relationships/vmlDrawing" Target="../drawings/vmlDrawing133.vml"/><Relationship Id="rId6" Type="http://schemas.openxmlformats.org/officeDocument/2006/relationships/tags" Target="../tags/tag1066.xml"/><Relationship Id="rId5" Type="http://schemas.openxmlformats.org/officeDocument/2006/relationships/tags" Target="../tags/tag1065.xml"/><Relationship Id="rId10" Type="http://schemas.openxmlformats.org/officeDocument/2006/relationships/image" Target="../media/image2.emf"/><Relationship Id="rId4" Type="http://schemas.openxmlformats.org/officeDocument/2006/relationships/tags" Target="../tags/tag1064.xml"/><Relationship Id="rId9" Type="http://schemas.openxmlformats.org/officeDocument/2006/relationships/oleObject" Target="../embeddings/oleObject133.bin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4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13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6.xml"/><Relationship Id="rId4" Type="http://schemas.openxmlformats.org/officeDocument/2006/relationships/tags" Target="../tags/tag115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tags" Target="../tags/tag1074.xml"/><Relationship Id="rId3" Type="http://schemas.openxmlformats.org/officeDocument/2006/relationships/tags" Target="../tags/tag1069.xml"/><Relationship Id="rId7" Type="http://schemas.openxmlformats.org/officeDocument/2006/relationships/tags" Target="../tags/tag1073.xml"/><Relationship Id="rId2" Type="http://schemas.openxmlformats.org/officeDocument/2006/relationships/tags" Target="../tags/tag1068.xml"/><Relationship Id="rId1" Type="http://schemas.openxmlformats.org/officeDocument/2006/relationships/vmlDrawing" Target="../drawings/vmlDrawing134.vml"/><Relationship Id="rId6" Type="http://schemas.openxmlformats.org/officeDocument/2006/relationships/tags" Target="../tags/tag1072.xml"/><Relationship Id="rId11" Type="http://schemas.openxmlformats.org/officeDocument/2006/relationships/image" Target="../media/image2.emf"/><Relationship Id="rId5" Type="http://schemas.openxmlformats.org/officeDocument/2006/relationships/tags" Target="../tags/tag1071.xml"/><Relationship Id="rId10" Type="http://schemas.openxmlformats.org/officeDocument/2006/relationships/oleObject" Target="../embeddings/oleObject134.bin"/><Relationship Id="rId4" Type="http://schemas.openxmlformats.org/officeDocument/2006/relationships/tags" Target="../tags/tag1070.xml"/><Relationship Id="rId9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081.xml"/><Relationship Id="rId3" Type="http://schemas.openxmlformats.org/officeDocument/2006/relationships/tags" Target="../tags/tag1076.xml"/><Relationship Id="rId7" Type="http://schemas.openxmlformats.org/officeDocument/2006/relationships/tags" Target="../tags/tag1080.xml"/><Relationship Id="rId12" Type="http://schemas.openxmlformats.org/officeDocument/2006/relationships/image" Target="../media/image1.emf"/><Relationship Id="rId2" Type="http://schemas.openxmlformats.org/officeDocument/2006/relationships/tags" Target="../tags/tag1075.xml"/><Relationship Id="rId1" Type="http://schemas.openxmlformats.org/officeDocument/2006/relationships/vmlDrawing" Target="../drawings/vmlDrawing135.vml"/><Relationship Id="rId6" Type="http://schemas.openxmlformats.org/officeDocument/2006/relationships/tags" Target="../tags/tag1079.xml"/><Relationship Id="rId11" Type="http://schemas.openxmlformats.org/officeDocument/2006/relationships/oleObject" Target="../embeddings/oleObject135.bin"/><Relationship Id="rId5" Type="http://schemas.openxmlformats.org/officeDocument/2006/relationships/tags" Target="../tags/tag1078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077.xml"/><Relationship Id="rId9" Type="http://schemas.openxmlformats.org/officeDocument/2006/relationships/tags" Target="../tags/tag1082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1089.xml"/><Relationship Id="rId3" Type="http://schemas.openxmlformats.org/officeDocument/2006/relationships/tags" Target="../tags/tag1084.xml"/><Relationship Id="rId7" Type="http://schemas.openxmlformats.org/officeDocument/2006/relationships/tags" Target="../tags/tag1088.xml"/><Relationship Id="rId12" Type="http://schemas.openxmlformats.org/officeDocument/2006/relationships/image" Target="../media/image1.emf"/><Relationship Id="rId2" Type="http://schemas.openxmlformats.org/officeDocument/2006/relationships/tags" Target="../tags/tag1083.xml"/><Relationship Id="rId1" Type="http://schemas.openxmlformats.org/officeDocument/2006/relationships/vmlDrawing" Target="../drawings/vmlDrawing136.vml"/><Relationship Id="rId6" Type="http://schemas.openxmlformats.org/officeDocument/2006/relationships/tags" Target="../tags/tag1087.xml"/><Relationship Id="rId11" Type="http://schemas.openxmlformats.org/officeDocument/2006/relationships/oleObject" Target="../embeddings/oleObject136.bin"/><Relationship Id="rId5" Type="http://schemas.openxmlformats.org/officeDocument/2006/relationships/tags" Target="../tags/tag1086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085.xml"/><Relationship Id="rId9" Type="http://schemas.openxmlformats.org/officeDocument/2006/relationships/tags" Target="../tags/tag1090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1097.xml"/><Relationship Id="rId3" Type="http://schemas.openxmlformats.org/officeDocument/2006/relationships/tags" Target="../tags/tag1092.xml"/><Relationship Id="rId7" Type="http://schemas.openxmlformats.org/officeDocument/2006/relationships/tags" Target="../tags/tag1096.xml"/><Relationship Id="rId12" Type="http://schemas.openxmlformats.org/officeDocument/2006/relationships/image" Target="../media/image1.emf"/><Relationship Id="rId2" Type="http://schemas.openxmlformats.org/officeDocument/2006/relationships/tags" Target="../tags/tag1091.xml"/><Relationship Id="rId1" Type="http://schemas.openxmlformats.org/officeDocument/2006/relationships/vmlDrawing" Target="../drawings/vmlDrawing137.vml"/><Relationship Id="rId6" Type="http://schemas.openxmlformats.org/officeDocument/2006/relationships/tags" Target="../tags/tag1095.xml"/><Relationship Id="rId11" Type="http://schemas.openxmlformats.org/officeDocument/2006/relationships/oleObject" Target="../embeddings/oleObject137.bin"/><Relationship Id="rId5" Type="http://schemas.openxmlformats.org/officeDocument/2006/relationships/tags" Target="../tags/tag1094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093.xml"/><Relationship Id="rId9" Type="http://schemas.openxmlformats.org/officeDocument/2006/relationships/tags" Target="../tags/tag1098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tags" Target="../tags/tag1105.xml"/><Relationship Id="rId3" Type="http://schemas.openxmlformats.org/officeDocument/2006/relationships/tags" Target="../tags/tag1100.xml"/><Relationship Id="rId7" Type="http://schemas.openxmlformats.org/officeDocument/2006/relationships/tags" Target="../tags/tag1104.xml"/><Relationship Id="rId12" Type="http://schemas.openxmlformats.org/officeDocument/2006/relationships/image" Target="../media/image3.emf"/><Relationship Id="rId2" Type="http://schemas.openxmlformats.org/officeDocument/2006/relationships/tags" Target="../tags/tag1099.xml"/><Relationship Id="rId1" Type="http://schemas.openxmlformats.org/officeDocument/2006/relationships/vmlDrawing" Target="../drawings/vmlDrawing138.vml"/><Relationship Id="rId6" Type="http://schemas.openxmlformats.org/officeDocument/2006/relationships/tags" Target="../tags/tag1103.xml"/><Relationship Id="rId11" Type="http://schemas.openxmlformats.org/officeDocument/2006/relationships/oleObject" Target="../embeddings/oleObject138.bin"/><Relationship Id="rId5" Type="http://schemas.openxmlformats.org/officeDocument/2006/relationships/tags" Target="../tags/tag1102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101.xml"/><Relationship Id="rId9" Type="http://schemas.openxmlformats.org/officeDocument/2006/relationships/tags" Target="../tags/tag1106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tags" Target="../tags/tag1113.xml"/><Relationship Id="rId3" Type="http://schemas.openxmlformats.org/officeDocument/2006/relationships/tags" Target="../tags/tag1108.xml"/><Relationship Id="rId7" Type="http://schemas.openxmlformats.org/officeDocument/2006/relationships/tags" Target="../tags/tag1112.xml"/><Relationship Id="rId12" Type="http://schemas.openxmlformats.org/officeDocument/2006/relationships/image" Target="../media/image1.emf"/><Relationship Id="rId2" Type="http://schemas.openxmlformats.org/officeDocument/2006/relationships/tags" Target="../tags/tag1107.xml"/><Relationship Id="rId1" Type="http://schemas.openxmlformats.org/officeDocument/2006/relationships/vmlDrawing" Target="../drawings/vmlDrawing139.vml"/><Relationship Id="rId6" Type="http://schemas.openxmlformats.org/officeDocument/2006/relationships/tags" Target="../tags/tag1111.xml"/><Relationship Id="rId11" Type="http://schemas.openxmlformats.org/officeDocument/2006/relationships/oleObject" Target="../embeddings/oleObject139.bin"/><Relationship Id="rId5" Type="http://schemas.openxmlformats.org/officeDocument/2006/relationships/tags" Target="../tags/tag1110.xml"/><Relationship Id="rId10" Type="http://schemas.openxmlformats.org/officeDocument/2006/relationships/slideMaster" Target="../slideMasters/slideMaster8.xml"/><Relationship Id="rId4" Type="http://schemas.openxmlformats.org/officeDocument/2006/relationships/tags" Target="../tags/tag1109.xml"/><Relationship Id="rId9" Type="http://schemas.openxmlformats.org/officeDocument/2006/relationships/tags" Target="../tags/tag1114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116.xml"/><Relationship Id="rId7" Type="http://schemas.openxmlformats.org/officeDocument/2006/relationships/tags" Target="../tags/tag1120.xml"/><Relationship Id="rId2" Type="http://schemas.openxmlformats.org/officeDocument/2006/relationships/tags" Target="../tags/tag1115.xml"/><Relationship Id="rId1" Type="http://schemas.openxmlformats.org/officeDocument/2006/relationships/vmlDrawing" Target="../drawings/vmlDrawing140.vml"/><Relationship Id="rId6" Type="http://schemas.openxmlformats.org/officeDocument/2006/relationships/tags" Target="../tags/tag1119.xml"/><Relationship Id="rId5" Type="http://schemas.openxmlformats.org/officeDocument/2006/relationships/tags" Target="../tags/tag1118.xml"/><Relationship Id="rId10" Type="http://schemas.openxmlformats.org/officeDocument/2006/relationships/image" Target="../media/image2.emf"/><Relationship Id="rId4" Type="http://schemas.openxmlformats.org/officeDocument/2006/relationships/tags" Target="../tags/tag1117.xml"/><Relationship Id="rId9" Type="http://schemas.openxmlformats.org/officeDocument/2006/relationships/oleObject" Target="../embeddings/oleObject140.bin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22.xml"/><Relationship Id="rId7" Type="http://schemas.openxmlformats.org/officeDocument/2006/relationships/oleObject" Target="../embeddings/oleObject141.bin"/><Relationship Id="rId2" Type="http://schemas.openxmlformats.org/officeDocument/2006/relationships/tags" Target="../tags/tag1121.xml"/><Relationship Id="rId1" Type="http://schemas.openxmlformats.org/officeDocument/2006/relationships/vmlDrawing" Target="../drawings/vmlDrawing141.vml"/><Relationship Id="rId6" Type="http://schemas.openxmlformats.org/officeDocument/2006/relationships/slideMaster" Target="../slideMasters/slideMaster8.xml"/><Relationship Id="rId5" Type="http://schemas.openxmlformats.org/officeDocument/2006/relationships/tags" Target="../tags/tag1124.xml"/><Relationship Id="rId4" Type="http://schemas.openxmlformats.org/officeDocument/2006/relationships/tags" Target="../tags/tag1123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126.xml"/><Relationship Id="rId2" Type="http://schemas.openxmlformats.org/officeDocument/2006/relationships/tags" Target="../tags/tag1125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42.bin"/><Relationship Id="rId4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27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tags" Target="../tags/tag1134.xml"/><Relationship Id="rId13" Type="http://schemas.openxmlformats.org/officeDocument/2006/relationships/oleObject" Target="../embeddings/oleObject144.bin"/><Relationship Id="rId3" Type="http://schemas.openxmlformats.org/officeDocument/2006/relationships/tags" Target="../tags/tag1129.xml"/><Relationship Id="rId7" Type="http://schemas.openxmlformats.org/officeDocument/2006/relationships/tags" Target="../tags/tag1133.xml"/><Relationship Id="rId12" Type="http://schemas.openxmlformats.org/officeDocument/2006/relationships/slideMaster" Target="../slideMasters/slideMaster8.xml"/><Relationship Id="rId2" Type="http://schemas.openxmlformats.org/officeDocument/2006/relationships/tags" Target="../tags/tag1128.xml"/><Relationship Id="rId1" Type="http://schemas.openxmlformats.org/officeDocument/2006/relationships/vmlDrawing" Target="../drawings/vmlDrawing144.vml"/><Relationship Id="rId6" Type="http://schemas.openxmlformats.org/officeDocument/2006/relationships/tags" Target="../tags/tag1132.xml"/><Relationship Id="rId11" Type="http://schemas.openxmlformats.org/officeDocument/2006/relationships/tags" Target="../tags/tag1137.xml"/><Relationship Id="rId5" Type="http://schemas.openxmlformats.org/officeDocument/2006/relationships/tags" Target="../tags/tag1131.xml"/><Relationship Id="rId10" Type="http://schemas.openxmlformats.org/officeDocument/2006/relationships/tags" Target="../tags/tag1136.xml"/><Relationship Id="rId4" Type="http://schemas.openxmlformats.org/officeDocument/2006/relationships/tags" Target="../tags/tag1130.xml"/><Relationship Id="rId9" Type="http://schemas.openxmlformats.org/officeDocument/2006/relationships/tags" Target="../tags/tag1135.xml"/><Relationship Id="rId14" Type="http://schemas.openxmlformats.org/officeDocument/2006/relationships/image" Target="../media/image1.emf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tags" Target="../tags/tag1144.xml"/><Relationship Id="rId3" Type="http://schemas.openxmlformats.org/officeDocument/2006/relationships/tags" Target="../tags/tag1139.xml"/><Relationship Id="rId7" Type="http://schemas.openxmlformats.org/officeDocument/2006/relationships/tags" Target="../tags/tag1143.xml"/><Relationship Id="rId2" Type="http://schemas.openxmlformats.org/officeDocument/2006/relationships/tags" Target="../tags/tag1138.xml"/><Relationship Id="rId1" Type="http://schemas.openxmlformats.org/officeDocument/2006/relationships/vmlDrawing" Target="../drawings/vmlDrawing145.vml"/><Relationship Id="rId6" Type="http://schemas.openxmlformats.org/officeDocument/2006/relationships/tags" Target="../tags/tag1142.xml"/><Relationship Id="rId11" Type="http://schemas.openxmlformats.org/officeDocument/2006/relationships/image" Target="../media/image1.emf"/><Relationship Id="rId5" Type="http://schemas.openxmlformats.org/officeDocument/2006/relationships/tags" Target="../tags/tag1141.xml"/><Relationship Id="rId10" Type="http://schemas.openxmlformats.org/officeDocument/2006/relationships/oleObject" Target="../embeddings/oleObject145.bin"/><Relationship Id="rId4" Type="http://schemas.openxmlformats.org/officeDocument/2006/relationships/tags" Target="../tags/tag1140.xml"/><Relationship Id="rId9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145.xml"/><Relationship Id="rId1" Type="http://schemas.openxmlformats.org/officeDocument/2006/relationships/vmlDrawing" Target="../drawings/vmlDrawing14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6.bin"/></Relationships>
</file>

<file path=ppt/slideLayouts/_rels/slideLayout1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147.xml"/><Relationship Id="rId7" Type="http://schemas.openxmlformats.org/officeDocument/2006/relationships/tags" Target="../tags/tag1151.xml"/><Relationship Id="rId2" Type="http://schemas.openxmlformats.org/officeDocument/2006/relationships/tags" Target="../tags/tag1146.xml"/><Relationship Id="rId1" Type="http://schemas.openxmlformats.org/officeDocument/2006/relationships/vmlDrawing" Target="../drawings/vmlDrawing147.vml"/><Relationship Id="rId6" Type="http://schemas.openxmlformats.org/officeDocument/2006/relationships/tags" Target="../tags/tag1150.xml"/><Relationship Id="rId5" Type="http://schemas.openxmlformats.org/officeDocument/2006/relationships/tags" Target="../tags/tag1149.xml"/><Relationship Id="rId10" Type="http://schemas.openxmlformats.org/officeDocument/2006/relationships/image" Target="../media/image1.emf"/><Relationship Id="rId4" Type="http://schemas.openxmlformats.org/officeDocument/2006/relationships/tags" Target="../tags/tag1148.xml"/><Relationship Id="rId9" Type="http://schemas.openxmlformats.org/officeDocument/2006/relationships/oleObject" Target="../embeddings/oleObject147.bin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8.xml"/><Relationship Id="rId3" Type="http://schemas.openxmlformats.org/officeDocument/2006/relationships/tags" Target="../tags/tag1153.xml"/><Relationship Id="rId7" Type="http://schemas.openxmlformats.org/officeDocument/2006/relationships/tags" Target="../tags/tag1157.xml"/><Relationship Id="rId2" Type="http://schemas.openxmlformats.org/officeDocument/2006/relationships/tags" Target="../tags/tag1152.xml"/><Relationship Id="rId1" Type="http://schemas.openxmlformats.org/officeDocument/2006/relationships/vmlDrawing" Target="../drawings/vmlDrawing148.vml"/><Relationship Id="rId6" Type="http://schemas.openxmlformats.org/officeDocument/2006/relationships/tags" Target="../tags/tag1156.xml"/><Relationship Id="rId5" Type="http://schemas.openxmlformats.org/officeDocument/2006/relationships/tags" Target="../tags/tag1155.xml"/><Relationship Id="rId10" Type="http://schemas.openxmlformats.org/officeDocument/2006/relationships/image" Target="../media/image1.emf"/><Relationship Id="rId4" Type="http://schemas.openxmlformats.org/officeDocument/2006/relationships/tags" Target="../tags/tag1154.xml"/><Relationship Id="rId9" Type="http://schemas.openxmlformats.org/officeDocument/2006/relationships/oleObject" Target="../embeddings/oleObject148.bin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0.bin"/><Relationship Id="rId3" Type="http://schemas.openxmlformats.org/officeDocument/2006/relationships/tags" Target="../tags/tag1187.xml"/><Relationship Id="rId7" Type="http://schemas.openxmlformats.org/officeDocument/2006/relationships/slideMaster" Target="../slideMasters/slideMaster9.xml"/><Relationship Id="rId2" Type="http://schemas.openxmlformats.org/officeDocument/2006/relationships/tags" Target="../tags/tag1186.xml"/><Relationship Id="rId1" Type="http://schemas.openxmlformats.org/officeDocument/2006/relationships/vmlDrawing" Target="../drawings/vmlDrawing150.vml"/><Relationship Id="rId6" Type="http://schemas.openxmlformats.org/officeDocument/2006/relationships/tags" Target="../tags/tag1190.xml"/><Relationship Id="rId5" Type="http://schemas.openxmlformats.org/officeDocument/2006/relationships/tags" Target="../tags/tag1189.xml"/><Relationship Id="rId4" Type="http://schemas.openxmlformats.org/officeDocument/2006/relationships/tags" Target="../tags/tag1188.xml"/><Relationship Id="rId9" Type="http://schemas.openxmlformats.org/officeDocument/2006/relationships/image" Target="../media/image2.emf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tags" Target="../tags/tag1197.xml"/><Relationship Id="rId3" Type="http://schemas.openxmlformats.org/officeDocument/2006/relationships/tags" Target="../tags/tag1192.xml"/><Relationship Id="rId7" Type="http://schemas.openxmlformats.org/officeDocument/2006/relationships/tags" Target="../tags/tag1196.xml"/><Relationship Id="rId2" Type="http://schemas.openxmlformats.org/officeDocument/2006/relationships/tags" Target="../tags/tag1191.xml"/><Relationship Id="rId1" Type="http://schemas.openxmlformats.org/officeDocument/2006/relationships/vmlDrawing" Target="../drawings/vmlDrawing151.vml"/><Relationship Id="rId6" Type="http://schemas.openxmlformats.org/officeDocument/2006/relationships/tags" Target="../tags/tag1195.xml"/><Relationship Id="rId11" Type="http://schemas.openxmlformats.org/officeDocument/2006/relationships/image" Target="../media/image1.emf"/><Relationship Id="rId5" Type="http://schemas.openxmlformats.org/officeDocument/2006/relationships/tags" Target="../tags/tag1194.xml"/><Relationship Id="rId10" Type="http://schemas.openxmlformats.org/officeDocument/2006/relationships/oleObject" Target="../embeddings/oleObject151.bin"/><Relationship Id="rId4" Type="http://schemas.openxmlformats.org/officeDocument/2006/relationships/tags" Target="../tags/tag1193.xml"/><Relationship Id="rId9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199.xml"/><Relationship Id="rId7" Type="http://schemas.openxmlformats.org/officeDocument/2006/relationships/tags" Target="../tags/tag1203.xml"/><Relationship Id="rId2" Type="http://schemas.openxmlformats.org/officeDocument/2006/relationships/tags" Target="../tags/tag1198.xml"/><Relationship Id="rId1" Type="http://schemas.openxmlformats.org/officeDocument/2006/relationships/vmlDrawing" Target="../drawings/vmlDrawing152.vml"/><Relationship Id="rId6" Type="http://schemas.openxmlformats.org/officeDocument/2006/relationships/tags" Target="../tags/tag1202.xml"/><Relationship Id="rId5" Type="http://schemas.openxmlformats.org/officeDocument/2006/relationships/tags" Target="../tags/tag1201.xml"/><Relationship Id="rId10" Type="http://schemas.openxmlformats.org/officeDocument/2006/relationships/image" Target="../media/image2.emf"/><Relationship Id="rId4" Type="http://schemas.openxmlformats.org/officeDocument/2006/relationships/tags" Target="../tags/tag1200.xml"/><Relationship Id="rId9" Type="http://schemas.openxmlformats.org/officeDocument/2006/relationships/oleObject" Target="../embeddings/oleObject152.bin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205.xml"/><Relationship Id="rId7" Type="http://schemas.openxmlformats.org/officeDocument/2006/relationships/tags" Target="../tags/tag1209.xml"/><Relationship Id="rId2" Type="http://schemas.openxmlformats.org/officeDocument/2006/relationships/tags" Target="../tags/tag1204.xml"/><Relationship Id="rId1" Type="http://schemas.openxmlformats.org/officeDocument/2006/relationships/vmlDrawing" Target="../drawings/vmlDrawing153.vml"/><Relationship Id="rId6" Type="http://schemas.openxmlformats.org/officeDocument/2006/relationships/tags" Target="../tags/tag1208.xml"/><Relationship Id="rId5" Type="http://schemas.openxmlformats.org/officeDocument/2006/relationships/tags" Target="../tags/tag1207.xml"/><Relationship Id="rId10" Type="http://schemas.openxmlformats.org/officeDocument/2006/relationships/image" Target="../media/image2.emf"/><Relationship Id="rId4" Type="http://schemas.openxmlformats.org/officeDocument/2006/relationships/tags" Target="../tags/tag1206.xml"/><Relationship Id="rId9" Type="http://schemas.openxmlformats.org/officeDocument/2006/relationships/oleObject" Target="../embeddings/oleObject153.bin"/></Relationships>
</file>

<file path=ppt/slideLayouts/_rels/slideLayout14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211.xml"/><Relationship Id="rId7" Type="http://schemas.openxmlformats.org/officeDocument/2006/relationships/tags" Target="../tags/tag1215.xml"/><Relationship Id="rId2" Type="http://schemas.openxmlformats.org/officeDocument/2006/relationships/tags" Target="../tags/tag1210.xml"/><Relationship Id="rId1" Type="http://schemas.openxmlformats.org/officeDocument/2006/relationships/vmlDrawing" Target="../drawings/vmlDrawing154.vml"/><Relationship Id="rId6" Type="http://schemas.openxmlformats.org/officeDocument/2006/relationships/tags" Target="../tags/tag1214.xml"/><Relationship Id="rId5" Type="http://schemas.openxmlformats.org/officeDocument/2006/relationships/tags" Target="../tags/tag1213.xml"/><Relationship Id="rId10" Type="http://schemas.openxmlformats.org/officeDocument/2006/relationships/image" Target="../media/image2.emf"/><Relationship Id="rId4" Type="http://schemas.openxmlformats.org/officeDocument/2006/relationships/tags" Target="../tags/tag1212.xml"/><Relationship Id="rId9" Type="http://schemas.openxmlformats.org/officeDocument/2006/relationships/oleObject" Target="../embeddings/oleObject15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tags" Target="../tags/tag1222.xml"/><Relationship Id="rId3" Type="http://schemas.openxmlformats.org/officeDocument/2006/relationships/tags" Target="../tags/tag1217.xml"/><Relationship Id="rId7" Type="http://schemas.openxmlformats.org/officeDocument/2006/relationships/tags" Target="../tags/tag1221.xml"/><Relationship Id="rId2" Type="http://schemas.openxmlformats.org/officeDocument/2006/relationships/tags" Target="../tags/tag1216.xml"/><Relationship Id="rId1" Type="http://schemas.openxmlformats.org/officeDocument/2006/relationships/vmlDrawing" Target="../drawings/vmlDrawing155.vml"/><Relationship Id="rId6" Type="http://schemas.openxmlformats.org/officeDocument/2006/relationships/tags" Target="../tags/tag1220.xml"/><Relationship Id="rId11" Type="http://schemas.openxmlformats.org/officeDocument/2006/relationships/image" Target="../media/image2.emf"/><Relationship Id="rId5" Type="http://schemas.openxmlformats.org/officeDocument/2006/relationships/tags" Target="../tags/tag1219.xml"/><Relationship Id="rId10" Type="http://schemas.openxmlformats.org/officeDocument/2006/relationships/oleObject" Target="../embeddings/oleObject155.bin"/><Relationship Id="rId4" Type="http://schemas.openxmlformats.org/officeDocument/2006/relationships/tags" Target="../tags/tag1218.xml"/><Relationship Id="rId9" Type="http://schemas.openxmlformats.org/officeDocument/2006/relationships/slideMaster" Target="../slideMasters/slideMaster9.xml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tags" Target="../tags/tag1229.xml"/><Relationship Id="rId3" Type="http://schemas.openxmlformats.org/officeDocument/2006/relationships/tags" Target="../tags/tag1224.xml"/><Relationship Id="rId7" Type="http://schemas.openxmlformats.org/officeDocument/2006/relationships/tags" Target="../tags/tag1228.xml"/><Relationship Id="rId12" Type="http://schemas.openxmlformats.org/officeDocument/2006/relationships/image" Target="../media/image1.emf"/><Relationship Id="rId2" Type="http://schemas.openxmlformats.org/officeDocument/2006/relationships/tags" Target="../tags/tag1223.xml"/><Relationship Id="rId1" Type="http://schemas.openxmlformats.org/officeDocument/2006/relationships/vmlDrawing" Target="../drawings/vmlDrawing156.vml"/><Relationship Id="rId6" Type="http://schemas.openxmlformats.org/officeDocument/2006/relationships/tags" Target="../tags/tag1227.xml"/><Relationship Id="rId11" Type="http://schemas.openxmlformats.org/officeDocument/2006/relationships/oleObject" Target="../embeddings/oleObject156.bin"/><Relationship Id="rId5" Type="http://schemas.openxmlformats.org/officeDocument/2006/relationships/tags" Target="../tags/tag1226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225.xml"/><Relationship Id="rId9" Type="http://schemas.openxmlformats.org/officeDocument/2006/relationships/tags" Target="../tags/tag1230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tags" Target="../tags/tag1237.xml"/><Relationship Id="rId3" Type="http://schemas.openxmlformats.org/officeDocument/2006/relationships/tags" Target="../tags/tag1232.xml"/><Relationship Id="rId7" Type="http://schemas.openxmlformats.org/officeDocument/2006/relationships/tags" Target="../tags/tag1236.xml"/><Relationship Id="rId12" Type="http://schemas.openxmlformats.org/officeDocument/2006/relationships/image" Target="../media/image1.emf"/><Relationship Id="rId2" Type="http://schemas.openxmlformats.org/officeDocument/2006/relationships/tags" Target="../tags/tag1231.xml"/><Relationship Id="rId1" Type="http://schemas.openxmlformats.org/officeDocument/2006/relationships/vmlDrawing" Target="../drawings/vmlDrawing157.vml"/><Relationship Id="rId6" Type="http://schemas.openxmlformats.org/officeDocument/2006/relationships/tags" Target="../tags/tag1235.xml"/><Relationship Id="rId11" Type="http://schemas.openxmlformats.org/officeDocument/2006/relationships/oleObject" Target="../embeddings/oleObject157.bin"/><Relationship Id="rId5" Type="http://schemas.openxmlformats.org/officeDocument/2006/relationships/tags" Target="../tags/tag1234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233.xml"/><Relationship Id="rId9" Type="http://schemas.openxmlformats.org/officeDocument/2006/relationships/tags" Target="../tags/tag1238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tags" Target="../tags/tag1245.xml"/><Relationship Id="rId3" Type="http://schemas.openxmlformats.org/officeDocument/2006/relationships/tags" Target="../tags/tag1240.xml"/><Relationship Id="rId7" Type="http://schemas.openxmlformats.org/officeDocument/2006/relationships/tags" Target="../tags/tag1244.xml"/><Relationship Id="rId12" Type="http://schemas.openxmlformats.org/officeDocument/2006/relationships/image" Target="../media/image1.emf"/><Relationship Id="rId2" Type="http://schemas.openxmlformats.org/officeDocument/2006/relationships/tags" Target="../tags/tag1239.xml"/><Relationship Id="rId1" Type="http://schemas.openxmlformats.org/officeDocument/2006/relationships/vmlDrawing" Target="../drawings/vmlDrawing158.vml"/><Relationship Id="rId6" Type="http://schemas.openxmlformats.org/officeDocument/2006/relationships/tags" Target="../tags/tag1243.xml"/><Relationship Id="rId11" Type="http://schemas.openxmlformats.org/officeDocument/2006/relationships/oleObject" Target="../embeddings/oleObject158.bin"/><Relationship Id="rId5" Type="http://schemas.openxmlformats.org/officeDocument/2006/relationships/tags" Target="../tags/tag1242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241.xml"/><Relationship Id="rId9" Type="http://schemas.openxmlformats.org/officeDocument/2006/relationships/tags" Target="../tags/tag1246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tags" Target="../tags/tag1253.xml"/><Relationship Id="rId3" Type="http://schemas.openxmlformats.org/officeDocument/2006/relationships/tags" Target="../tags/tag1248.xml"/><Relationship Id="rId7" Type="http://schemas.openxmlformats.org/officeDocument/2006/relationships/tags" Target="../tags/tag1252.xml"/><Relationship Id="rId12" Type="http://schemas.openxmlformats.org/officeDocument/2006/relationships/image" Target="../media/image3.emf"/><Relationship Id="rId2" Type="http://schemas.openxmlformats.org/officeDocument/2006/relationships/tags" Target="../tags/tag1247.xml"/><Relationship Id="rId1" Type="http://schemas.openxmlformats.org/officeDocument/2006/relationships/vmlDrawing" Target="../drawings/vmlDrawing159.vml"/><Relationship Id="rId6" Type="http://schemas.openxmlformats.org/officeDocument/2006/relationships/tags" Target="../tags/tag1251.xml"/><Relationship Id="rId11" Type="http://schemas.openxmlformats.org/officeDocument/2006/relationships/oleObject" Target="../embeddings/oleObject159.bin"/><Relationship Id="rId5" Type="http://schemas.openxmlformats.org/officeDocument/2006/relationships/tags" Target="../tags/tag1250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249.xml"/><Relationship Id="rId9" Type="http://schemas.openxmlformats.org/officeDocument/2006/relationships/tags" Target="../tags/tag1254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tags" Target="../tags/tag1261.xml"/><Relationship Id="rId3" Type="http://schemas.openxmlformats.org/officeDocument/2006/relationships/tags" Target="../tags/tag1256.xml"/><Relationship Id="rId7" Type="http://schemas.openxmlformats.org/officeDocument/2006/relationships/tags" Target="../tags/tag1260.xml"/><Relationship Id="rId12" Type="http://schemas.openxmlformats.org/officeDocument/2006/relationships/image" Target="../media/image1.emf"/><Relationship Id="rId2" Type="http://schemas.openxmlformats.org/officeDocument/2006/relationships/tags" Target="../tags/tag1255.xml"/><Relationship Id="rId1" Type="http://schemas.openxmlformats.org/officeDocument/2006/relationships/vmlDrawing" Target="../drawings/vmlDrawing160.vml"/><Relationship Id="rId6" Type="http://schemas.openxmlformats.org/officeDocument/2006/relationships/tags" Target="../tags/tag1259.xml"/><Relationship Id="rId11" Type="http://schemas.openxmlformats.org/officeDocument/2006/relationships/oleObject" Target="../embeddings/oleObject160.bin"/><Relationship Id="rId5" Type="http://schemas.openxmlformats.org/officeDocument/2006/relationships/tags" Target="../tags/tag1258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257.xml"/><Relationship Id="rId9" Type="http://schemas.openxmlformats.org/officeDocument/2006/relationships/tags" Target="../tags/tag1262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9.xml"/><Relationship Id="rId3" Type="http://schemas.openxmlformats.org/officeDocument/2006/relationships/tags" Target="../tags/tag1264.xml"/><Relationship Id="rId7" Type="http://schemas.openxmlformats.org/officeDocument/2006/relationships/tags" Target="../tags/tag1268.xml"/><Relationship Id="rId2" Type="http://schemas.openxmlformats.org/officeDocument/2006/relationships/tags" Target="../tags/tag1263.xml"/><Relationship Id="rId1" Type="http://schemas.openxmlformats.org/officeDocument/2006/relationships/vmlDrawing" Target="../drawings/vmlDrawing161.vml"/><Relationship Id="rId6" Type="http://schemas.openxmlformats.org/officeDocument/2006/relationships/tags" Target="../tags/tag1267.xml"/><Relationship Id="rId5" Type="http://schemas.openxmlformats.org/officeDocument/2006/relationships/tags" Target="../tags/tag1266.xml"/><Relationship Id="rId10" Type="http://schemas.openxmlformats.org/officeDocument/2006/relationships/image" Target="../media/image2.emf"/><Relationship Id="rId4" Type="http://schemas.openxmlformats.org/officeDocument/2006/relationships/tags" Target="../tags/tag1265.xml"/><Relationship Id="rId9" Type="http://schemas.openxmlformats.org/officeDocument/2006/relationships/oleObject" Target="../embeddings/oleObject161.bin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270.xml"/><Relationship Id="rId7" Type="http://schemas.openxmlformats.org/officeDocument/2006/relationships/oleObject" Target="../embeddings/oleObject162.bin"/><Relationship Id="rId2" Type="http://schemas.openxmlformats.org/officeDocument/2006/relationships/tags" Target="../tags/tag1269.xml"/><Relationship Id="rId1" Type="http://schemas.openxmlformats.org/officeDocument/2006/relationships/vmlDrawing" Target="../drawings/vmlDrawing162.vml"/><Relationship Id="rId6" Type="http://schemas.openxmlformats.org/officeDocument/2006/relationships/slideMaster" Target="../slideMasters/slideMaster9.xml"/><Relationship Id="rId5" Type="http://schemas.openxmlformats.org/officeDocument/2006/relationships/tags" Target="../tags/tag1272.xml"/><Relationship Id="rId4" Type="http://schemas.openxmlformats.org/officeDocument/2006/relationships/tags" Target="../tags/tag127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274.xml"/><Relationship Id="rId2" Type="http://schemas.openxmlformats.org/officeDocument/2006/relationships/tags" Target="../tags/tag1273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9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tags" Target="../tags/tag1281.xml"/><Relationship Id="rId3" Type="http://schemas.openxmlformats.org/officeDocument/2006/relationships/tags" Target="../tags/tag1276.xml"/><Relationship Id="rId7" Type="http://schemas.openxmlformats.org/officeDocument/2006/relationships/tags" Target="../tags/tag1280.xml"/><Relationship Id="rId12" Type="http://schemas.openxmlformats.org/officeDocument/2006/relationships/image" Target="../media/image1.emf"/><Relationship Id="rId2" Type="http://schemas.openxmlformats.org/officeDocument/2006/relationships/tags" Target="../tags/tag1275.xml"/><Relationship Id="rId1" Type="http://schemas.openxmlformats.org/officeDocument/2006/relationships/vmlDrawing" Target="../drawings/vmlDrawing164.vml"/><Relationship Id="rId6" Type="http://schemas.openxmlformats.org/officeDocument/2006/relationships/tags" Target="../tags/tag1279.xml"/><Relationship Id="rId11" Type="http://schemas.openxmlformats.org/officeDocument/2006/relationships/oleObject" Target="../embeddings/oleObject164.bin"/><Relationship Id="rId5" Type="http://schemas.openxmlformats.org/officeDocument/2006/relationships/tags" Target="../tags/tag1278.xml"/><Relationship Id="rId10" Type="http://schemas.openxmlformats.org/officeDocument/2006/relationships/slideMaster" Target="../slideMasters/slideMaster9.xml"/><Relationship Id="rId4" Type="http://schemas.openxmlformats.org/officeDocument/2006/relationships/tags" Target="../tags/tag1277.xml"/><Relationship Id="rId9" Type="http://schemas.openxmlformats.org/officeDocument/2006/relationships/tags" Target="../tags/tag128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25.xml"/><Relationship Id="rId13" Type="http://schemas.openxmlformats.org/officeDocument/2006/relationships/oleObject" Target="../embeddings/oleObject16.bin"/><Relationship Id="rId3" Type="http://schemas.openxmlformats.org/officeDocument/2006/relationships/tags" Target="../tags/tag120.xml"/><Relationship Id="rId7" Type="http://schemas.openxmlformats.org/officeDocument/2006/relationships/tags" Target="../tags/tag124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23.xml"/><Relationship Id="rId11" Type="http://schemas.openxmlformats.org/officeDocument/2006/relationships/tags" Target="../tags/tag128.xml"/><Relationship Id="rId5" Type="http://schemas.openxmlformats.org/officeDocument/2006/relationships/tags" Target="../tags/tag122.xml"/><Relationship Id="rId10" Type="http://schemas.openxmlformats.org/officeDocument/2006/relationships/tags" Target="../tags/tag127.xml"/><Relationship Id="rId4" Type="http://schemas.openxmlformats.org/officeDocument/2006/relationships/tags" Target="../tags/tag121.xml"/><Relationship Id="rId9" Type="http://schemas.openxmlformats.org/officeDocument/2006/relationships/tags" Target="../tags/tag126.xml"/><Relationship Id="rId14" Type="http://schemas.openxmlformats.org/officeDocument/2006/relationships/image" Target="../media/image1.emf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tags" Target="../tags/tag1289.xml"/><Relationship Id="rId3" Type="http://schemas.openxmlformats.org/officeDocument/2006/relationships/tags" Target="../tags/tag1284.xml"/><Relationship Id="rId7" Type="http://schemas.openxmlformats.org/officeDocument/2006/relationships/tags" Target="../tags/tag1288.xml"/><Relationship Id="rId2" Type="http://schemas.openxmlformats.org/officeDocument/2006/relationships/tags" Target="../tags/tag1283.xml"/><Relationship Id="rId1" Type="http://schemas.openxmlformats.org/officeDocument/2006/relationships/vmlDrawing" Target="../drawings/vmlDrawing165.vml"/><Relationship Id="rId6" Type="http://schemas.openxmlformats.org/officeDocument/2006/relationships/tags" Target="../tags/tag1287.xml"/><Relationship Id="rId11" Type="http://schemas.openxmlformats.org/officeDocument/2006/relationships/image" Target="../media/image1.emf"/><Relationship Id="rId5" Type="http://schemas.openxmlformats.org/officeDocument/2006/relationships/tags" Target="../tags/tag1286.xml"/><Relationship Id="rId10" Type="http://schemas.openxmlformats.org/officeDocument/2006/relationships/oleObject" Target="../embeddings/oleObject165.bin"/><Relationship Id="rId4" Type="http://schemas.openxmlformats.org/officeDocument/2006/relationships/tags" Target="../tags/tag1285.xml"/><Relationship Id="rId9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tags" Target="../tags/tag1296.xml"/><Relationship Id="rId3" Type="http://schemas.openxmlformats.org/officeDocument/2006/relationships/tags" Target="../tags/tag1291.xml"/><Relationship Id="rId7" Type="http://schemas.openxmlformats.org/officeDocument/2006/relationships/tags" Target="../tags/tag1295.xml"/><Relationship Id="rId2" Type="http://schemas.openxmlformats.org/officeDocument/2006/relationships/tags" Target="../tags/tag1290.xml"/><Relationship Id="rId1" Type="http://schemas.openxmlformats.org/officeDocument/2006/relationships/vmlDrawing" Target="../drawings/vmlDrawing166.vml"/><Relationship Id="rId6" Type="http://schemas.openxmlformats.org/officeDocument/2006/relationships/tags" Target="../tags/tag1294.xml"/><Relationship Id="rId11" Type="http://schemas.openxmlformats.org/officeDocument/2006/relationships/image" Target="../media/image1.emf"/><Relationship Id="rId5" Type="http://schemas.openxmlformats.org/officeDocument/2006/relationships/tags" Target="../tags/tag1293.xml"/><Relationship Id="rId10" Type="http://schemas.openxmlformats.org/officeDocument/2006/relationships/oleObject" Target="../embeddings/oleObject166.bin"/><Relationship Id="rId4" Type="http://schemas.openxmlformats.org/officeDocument/2006/relationships/tags" Target="../tags/tag1292.xml"/><Relationship Id="rId9" Type="http://schemas.openxmlformats.org/officeDocument/2006/relationships/slideMaster" Target="../slideMasters/slideMaster9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8.bin"/><Relationship Id="rId3" Type="http://schemas.openxmlformats.org/officeDocument/2006/relationships/tags" Target="../tags/tag1326.xml"/><Relationship Id="rId7" Type="http://schemas.openxmlformats.org/officeDocument/2006/relationships/slideMaster" Target="../slideMasters/slideMaster10.xml"/><Relationship Id="rId2" Type="http://schemas.openxmlformats.org/officeDocument/2006/relationships/tags" Target="../tags/tag1325.xml"/><Relationship Id="rId1" Type="http://schemas.openxmlformats.org/officeDocument/2006/relationships/vmlDrawing" Target="../drawings/vmlDrawing168.vml"/><Relationship Id="rId6" Type="http://schemas.openxmlformats.org/officeDocument/2006/relationships/tags" Target="../tags/tag1329.xml"/><Relationship Id="rId5" Type="http://schemas.openxmlformats.org/officeDocument/2006/relationships/tags" Target="../tags/tag1328.xml"/><Relationship Id="rId4" Type="http://schemas.openxmlformats.org/officeDocument/2006/relationships/tags" Target="../tags/tag1327.xml"/><Relationship Id="rId9" Type="http://schemas.openxmlformats.org/officeDocument/2006/relationships/image" Target="../media/image2.emf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tags" Target="../tags/tag1336.xml"/><Relationship Id="rId3" Type="http://schemas.openxmlformats.org/officeDocument/2006/relationships/tags" Target="../tags/tag1331.xml"/><Relationship Id="rId7" Type="http://schemas.openxmlformats.org/officeDocument/2006/relationships/tags" Target="../tags/tag1335.xml"/><Relationship Id="rId2" Type="http://schemas.openxmlformats.org/officeDocument/2006/relationships/tags" Target="../tags/tag1330.xml"/><Relationship Id="rId1" Type="http://schemas.openxmlformats.org/officeDocument/2006/relationships/vmlDrawing" Target="../drawings/vmlDrawing169.vml"/><Relationship Id="rId6" Type="http://schemas.openxmlformats.org/officeDocument/2006/relationships/tags" Target="../tags/tag1334.xml"/><Relationship Id="rId11" Type="http://schemas.openxmlformats.org/officeDocument/2006/relationships/image" Target="../media/image1.emf"/><Relationship Id="rId5" Type="http://schemas.openxmlformats.org/officeDocument/2006/relationships/tags" Target="../tags/tag1333.xml"/><Relationship Id="rId10" Type="http://schemas.openxmlformats.org/officeDocument/2006/relationships/oleObject" Target="../embeddings/oleObject169.bin"/><Relationship Id="rId4" Type="http://schemas.openxmlformats.org/officeDocument/2006/relationships/tags" Target="../tags/tag1332.xml"/><Relationship Id="rId9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338.xml"/><Relationship Id="rId7" Type="http://schemas.openxmlformats.org/officeDocument/2006/relationships/tags" Target="../tags/tag1342.xml"/><Relationship Id="rId2" Type="http://schemas.openxmlformats.org/officeDocument/2006/relationships/tags" Target="../tags/tag1337.xml"/><Relationship Id="rId1" Type="http://schemas.openxmlformats.org/officeDocument/2006/relationships/vmlDrawing" Target="../drawings/vmlDrawing170.vml"/><Relationship Id="rId6" Type="http://schemas.openxmlformats.org/officeDocument/2006/relationships/tags" Target="../tags/tag1341.xml"/><Relationship Id="rId5" Type="http://schemas.openxmlformats.org/officeDocument/2006/relationships/tags" Target="../tags/tag1340.xml"/><Relationship Id="rId10" Type="http://schemas.openxmlformats.org/officeDocument/2006/relationships/image" Target="../media/image2.emf"/><Relationship Id="rId4" Type="http://schemas.openxmlformats.org/officeDocument/2006/relationships/tags" Target="../tags/tag1339.xml"/><Relationship Id="rId9" Type="http://schemas.openxmlformats.org/officeDocument/2006/relationships/oleObject" Target="../embeddings/oleObject170.bin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344.xml"/><Relationship Id="rId7" Type="http://schemas.openxmlformats.org/officeDocument/2006/relationships/tags" Target="../tags/tag1348.xml"/><Relationship Id="rId2" Type="http://schemas.openxmlformats.org/officeDocument/2006/relationships/tags" Target="../tags/tag1343.xml"/><Relationship Id="rId1" Type="http://schemas.openxmlformats.org/officeDocument/2006/relationships/vmlDrawing" Target="../drawings/vmlDrawing171.vml"/><Relationship Id="rId6" Type="http://schemas.openxmlformats.org/officeDocument/2006/relationships/tags" Target="../tags/tag1347.xml"/><Relationship Id="rId5" Type="http://schemas.openxmlformats.org/officeDocument/2006/relationships/tags" Target="../tags/tag1346.xml"/><Relationship Id="rId10" Type="http://schemas.openxmlformats.org/officeDocument/2006/relationships/image" Target="../media/image2.emf"/><Relationship Id="rId4" Type="http://schemas.openxmlformats.org/officeDocument/2006/relationships/tags" Target="../tags/tag1345.xml"/><Relationship Id="rId9" Type="http://schemas.openxmlformats.org/officeDocument/2006/relationships/oleObject" Target="../embeddings/oleObject171.bin"/></Relationships>
</file>

<file path=ppt/slideLayouts/_rels/slideLayout16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350.xml"/><Relationship Id="rId7" Type="http://schemas.openxmlformats.org/officeDocument/2006/relationships/tags" Target="../tags/tag1354.xml"/><Relationship Id="rId2" Type="http://schemas.openxmlformats.org/officeDocument/2006/relationships/tags" Target="../tags/tag1349.xml"/><Relationship Id="rId1" Type="http://schemas.openxmlformats.org/officeDocument/2006/relationships/vmlDrawing" Target="../drawings/vmlDrawing172.vml"/><Relationship Id="rId6" Type="http://schemas.openxmlformats.org/officeDocument/2006/relationships/tags" Target="../tags/tag1353.xml"/><Relationship Id="rId5" Type="http://schemas.openxmlformats.org/officeDocument/2006/relationships/tags" Target="../tags/tag1352.xml"/><Relationship Id="rId10" Type="http://schemas.openxmlformats.org/officeDocument/2006/relationships/image" Target="../media/image2.emf"/><Relationship Id="rId4" Type="http://schemas.openxmlformats.org/officeDocument/2006/relationships/tags" Target="../tags/tag1351.xml"/><Relationship Id="rId9" Type="http://schemas.openxmlformats.org/officeDocument/2006/relationships/oleObject" Target="../embeddings/oleObject172.bin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tags" Target="../tags/tag1361.xml"/><Relationship Id="rId3" Type="http://schemas.openxmlformats.org/officeDocument/2006/relationships/tags" Target="../tags/tag1356.xml"/><Relationship Id="rId7" Type="http://schemas.openxmlformats.org/officeDocument/2006/relationships/tags" Target="../tags/tag1360.xml"/><Relationship Id="rId2" Type="http://schemas.openxmlformats.org/officeDocument/2006/relationships/tags" Target="../tags/tag1355.xml"/><Relationship Id="rId1" Type="http://schemas.openxmlformats.org/officeDocument/2006/relationships/vmlDrawing" Target="../drawings/vmlDrawing173.vml"/><Relationship Id="rId6" Type="http://schemas.openxmlformats.org/officeDocument/2006/relationships/tags" Target="../tags/tag1359.xml"/><Relationship Id="rId11" Type="http://schemas.openxmlformats.org/officeDocument/2006/relationships/image" Target="../media/image2.emf"/><Relationship Id="rId5" Type="http://schemas.openxmlformats.org/officeDocument/2006/relationships/tags" Target="../tags/tag1358.xml"/><Relationship Id="rId10" Type="http://schemas.openxmlformats.org/officeDocument/2006/relationships/oleObject" Target="../embeddings/oleObject173.bin"/><Relationship Id="rId4" Type="http://schemas.openxmlformats.org/officeDocument/2006/relationships/tags" Target="../tags/tag1357.xml"/><Relationship Id="rId9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tags" Target="../tags/tag1368.xml"/><Relationship Id="rId3" Type="http://schemas.openxmlformats.org/officeDocument/2006/relationships/tags" Target="../tags/tag1363.xml"/><Relationship Id="rId7" Type="http://schemas.openxmlformats.org/officeDocument/2006/relationships/tags" Target="../tags/tag1367.xml"/><Relationship Id="rId12" Type="http://schemas.openxmlformats.org/officeDocument/2006/relationships/image" Target="../media/image1.emf"/><Relationship Id="rId2" Type="http://schemas.openxmlformats.org/officeDocument/2006/relationships/tags" Target="../tags/tag1362.xml"/><Relationship Id="rId1" Type="http://schemas.openxmlformats.org/officeDocument/2006/relationships/vmlDrawing" Target="../drawings/vmlDrawing174.vml"/><Relationship Id="rId6" Type="http://schemas.openxmlformats.org/officeDocument/2006/relationships/tags" Target="../tags/tag1366.xml"/><Relationship Id="rId11" Type="http://schemas.openxmlformats.org/officeDocument/2006/relationships/oleObject" Target="../embeddings/oleObject174.bin"/><Relationship Id="rId5" Type="http://schemas.openxmlformats.org/officeDocument/2006/relationships/tags" Target="../tags/tag1365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364.xml"/><Relationship Id="rId9" Type="http://schemas.openxmlformats.org/officeDocument/2006/relationships/tags" Target="../tags/tag1369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tags" Target="../tags/tag1376.xml"/><Relationship Id="rId3" Type="http://schemas.openxmlformats.org/officeDocument/2006/relationships/tags" Target="../tags/tag1371.xml"/><Relationship Id="rId7" Type="http://schemas.openxmlformats.org/officeDocument/2006/relationships/tags" Target="../tags/tag1375.xml"/><Relationship Id="rId12" Type="http://schemas.openxmlformats.org/officeDocument/2006/relationships/image" Target="../media/image1.emf"/><Relationship Id="rId2" Type="http://schemas.openxmlformats.org/officeDocument/2006/relationships/tags" Target="../tags/tag1370.xml"/><Relationship Id="rId1" Type="http://schemas.openxmlformats.org/officeDocument/2006/relationships/vmlDrawing" Target="../drawings/vmlDrawing175.vml"/><Relationship Id="rId6" Type="http://schemas.openxmlformats.org/officeDocument/2006/relationships/tags" Target="../tags/tag1374.xml"/><Relationship Id="rId11" Type="http://schemas.openxmlformats.org/officeDocument/2006/relationships/oleObject" Target="../embeddings/oleObject175.bin"/><Relationship Id="rId5" Type="http://schemas.openxmlformats.org/officeDocument/2006/relationships/tags" Target="../tags/tag1373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372.xml"/><Relationship Id="rId9" Type="http://schemas.openxmlformats.org/officeDocument/2006/relationships/tags" Target="../tags/tag1377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35.xml"/><Relationship Id="rId3" Type="http://schemas.openxmlformats.org/officeDocument/2006/relationships/tags" Target="../tags/tag130.xml"/><Relationship Id="rId7" Type="http://schemas.openxmlformats.org/officeDocument/2006/relationships/tags" Target="../tags/tag134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33.xml"/><Relationship Id="rId11" Type="http://schemas.openxmlformats.org/officeDocument/2006/relationships/image" Target="../media/image1.emf"/><Relationship Id="rId5" Type="http://schemas.openxmlformats.org/officeDocument/2006/relationships/tags" Target="../tags/tag132.xml"/><Relationship Id="rId10" Type="http://schemas.openxmlformats.org/officeDocument/2006/relationships/oleObject" Target="../embeddings/oleObject17.bin"/><Relationship Id="rId4" Type="http://schemas.openxmlformats.org/officeDocument/2006/relationships/tags" Target="../tags/tag131.xml"/><Relationship Id="rId9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tags" Target="../tags/tag1384.xml"/><Relationship Id="rId3" Type="http://schemas.openxmlformats.org/officeDocument/2006/relationships/tags" Target="../tags/tag1379.xml"/><Relationship Id="rId7" Type="http://schemas.openxmlformats.org/officeDocument/2006/relationships/tags" Target="../tags/tag1383.xml"/><Relationship Id="rId12" Type="http://schemas.openxmlformats.org/officeDocument/2006/relationships/image" Target="../media/image1.emf"/><Relationship Id="rId2" Type="http://schemas.openxmlformats.org/officeDocument/2006/relationships/tags" Target="../tags/tag1378.xml"/><Relationship Id="rId1" Type="http://schemas.openxmlformats.org/officeDocument/2006/relationships/vmlDrawing" Target="../drawings/vmlDrawing176.vml"/><Relationship Id="rId6" Type="http://schemas.openxmlformats.org/officeDocument/2006/relationships/tags" Target="../tags/tag1382.xml"/><Relationship Id="rId11" Type="http://schemas.openxmlformats.org/officeDocument/2006/relationships/oleObject" Target="../embeddings/oleObject176.bin"/><Relationship Id="rId5" Type="http://schemas.openxmlformats.org/officeDocument/2006/relationships/tags" Target="../tags/tag1381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380.xml"/><Relationship Id="rId9" Type="http://schemas.openxmlformats.org/officeDocument/2006/relationships/tags" Target="../tags/tag1385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tags" Target="../tags/tag1392.xml"/><Relationship Id="rId3" Type="http://schemas.openxmlformats.org/officeDocument/2006/relationships/tags" Target="../tags/tag1387.xml"/><Relationship Id="rId7" Type="http://schemas.openxmlformats.org/officeDocument/2006/relationships/tags" Target="../tags/tag1391.xml"/><Relationship Id="rId12" Type="http://schemas.openxmlformats.org/officeDocument/2006/relationships/image" Target="../media/image3.emf"/><Relationship Id="rId2" Type="http://schemas.openxmlformats.org/officeDocument/2006/relationships/tags" Target="../tags/tag1386.xml"/><Relationship Id="rId1" Type="http://schemas.openxmlformats.org/officeDocument/2006/relationships/vmlDrawing" Target="../drawings/vmlDrawing177.vml"/><Relationship Id="rId6" Type="http://schemas.openxmlformats.org/officeDocument/2006/relationships/tags" Target="../tags/tag1390.xml"/><Relationship Id="rId11" Type="http://schemas.openxmlformats.org/officeDocument/2006/relationships/oleObject" Target="../embeddings/oleObject177.bin"/><Relationship Id="rId5" Type="http://schemas.openxmlformats.org/officeDocument/2006/relationships/tags" Target="../tags/tag1389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388.xml"/><Relationship Id="rId9" Type="http://schemas.openxmlformats.org/officeDocument/2006/relationships/tags" Target="../tags/tag1393.xml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tags" Target="../tags/tag1400.xml"/><Relationship Id="rId3" Type="http://schemas.openxmlformats.org/officeDocument/2006/relationships/tags" Target="../tags/tag1395.xml"/><Relationship Id="rId7" Type="http://schemas.openxmlformats.org/officeDocument/2006/relationships/tags" Target="../tags/tag1399.xml"/><Relationship Id="rId12" Type="http://schemas.openxmlformats.org/officeDocument/2006/relationships/image" Target="../media/image1.emf"/><Relationship Id="rId2" Type="http://schemas.openxmlformats.org/officeDocument/2006/relationships/tags" Target="../tags/tag1394.xml"/><Relationship Id="rId1" Type="http://schemas.openxmlformats.org/officeDocument/2006/relationships/vmlDrawing" Target="../drawings/vmlDrawing178.vml"/><Relationship Id="rId6" Type="http://schemas.openxmlformats.org/officeDocument/2006/relationships/tags" Target="../tags/tag1398.xml"/><Relationship Id="rId11" Type="http://schemas.openxmlformats.org/officeDocument/2006/relationships/oleObject" Target="../embeddings/oleObject178.bin"/><Relationship Id="rId5" Type="http://schemas.openxmlformats.org/officeDocument/2006/relationships/tags" Target="../tags/tag1397.xml"/><Relationship Id="rId10" Type="http://schemas.openxmlformats.org/officeDocument/2006/relationships/slideMaster" Target="../slideMasters/slideMaster10.xml"/><Relationship Id="rId4" Type="http://schemas.openxmlformats.org/officeDocument/2006/relationships/tags" Target="../tags/tag1396.xml"/><Relationship Id="rId9" Type="http://schemas.openxmlformats.org/officeDocument/2006/relationships/tags" Target="../tags/tag1401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0.xml"/><Relationship Id="rId3" Type="http://schemas.openxmlformats.org/officeDocument/2006/relationships/tags" Target="../tags/tag1403.xml"/><Relationship Id="rId7" Type="http://schemas.openxmlformats.org/officeDocument/2006/relationships/tags" Target="../tags/tag1407.xml"/><Relationship Id="rId2" Type="http://schemas.openxmlformats.org/officeDocument/2006/relationships/tags" Target="../tags/tag1402.xml"/><Relationship Id="rId1" Type="http://schemas.openxmlformats.org/officeDocument/2006/relationships/vmlDrawing" Target="../drawings/vmlDrawing179.vml"/><Relationship Id="rId6" Type="http://schemas.openxmlformats.org/officeDocument/2006/relationships/tags" Target="../tags/tag1406.xml"/><Relationship Id="rId5" Type="http://schemas.openxmlformats.org/officeDocument/2006/relationships/tags" Target="../tags/tag1405.xml"/><Relationship Id="rId10" Type="http://schemas.openxmlformats.org/officeDocument/2006/relationships/image" Target="../media/image2.emf"/><Relationship Id="rId4" Type="http://schemas.openxmlformats.org/officeDocument/2006/relationships/tags" Target="../tags/tag1404.xml"/><Relationship Id="rId9" Type="http://schemas.openxmlformats.org/officeDocument/2006/relationships/oleObject" Target="../embeddings/oleObject179.bin"/></Relationships>
</file>

<file path=ppt/slideLayouts/_rels/slideLayout1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409.xml"/><Relationship Id="rId7" Type="http://schemas.openxmlformats.org/officeDocument/2006/relationships/oleObject" Target="../embeddings/oleObject180.bin"/><Relationship Id="rId2" Type="http://schemas.openxmlformats.org/officeDocument/2006/relationships/tags" Target="../tags/tag1408.xml"/><Relationship Id="rId1" Type="http://schemas.openxmlformats.org/officeDocument/2006/relationships/vmlDrawing" Target="../drawings/vmlDrawing180.vml"/><Relationship Id="rId6" Type="http://schemas.openxmlformats.org/officeDocument/2006/relationships/slideMaster" Target="../slideMasters/slideMaster10.xml"/><Relationship Id="rId5" Type="http://schemas.openxmlformats.org/officeDocument/2006/relationships/tags" Target="../tags/tag1411.xml"/><Relationship Id="rId4" Type="http://schemas.openxmlformats.org/officeDocument/2006/relationships/tags" Target="../tags/tag1410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1413.xml"/><Relationship Id="rId2" Type="http://schemas.openxmlformats.org/officeDocument/2006/relationships/tags" Target="../tags/tag1412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1.bin"/><Relationship Id="rId4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414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2.bin"/></Relationships>
</file>

<file path=ppt/slideLayouts/_rels/slideLayout177.xml.rels><?xml version="1.0" encoding="UTF-8" standalone="yes"?>
<Relationships xmlns="http://schemas.openxmlformats.org/package/2006/relationships"><Relationship Id="rId8" Type="http://schemas.openxmlformats.org/officeDocument/2006/relationships/tags" Target="../tags/tag1421.xml"/><Relationship Id="rId13" Type="http://schemas.openxmlformats.org/officeDocument/2006/relationships/oleObject" Target="../embeddings/oleObject183.bin"/><Relationship Id="rId3" Type="http://schemas.openxmlformats.org/officeDocument/2006/relationships/tags" Target="../tags/tag1416.xml"/><Relationship Id="rId7" Type="http://schemas.openxmlformats.org/officeDocument/2006/relationships/tags" Target="../tags/tag1420.xml"/><Relationship Id="rId12" Type="http://schemas.openxmlformats.org/officeDocument/2006/relationships/slideMaster" Target="../slideMasters/slideMaster10.xml"/><Relationship Id="rId2" Type="http://schemas.openxmlformats.org/officeDocument/2006/relationships/tags" Target="../tags/tag1415.xml"/><Relationship Id="rId1" Type="http://schemas.openxmlformats.org/officeDocument/2006/relationships/vmlDrawing" Target="../drawings/vmlDrawing183.vml"/><Relationship Id="rId6" Type="http://schemas.openxmlformats.org/officeDocument/2006/relationships/tags" Target="../tags/tag1419.xml"/><Relationship Id="rId11" Type="http://schemas.openxmlformats.org/officeDocument/2006/relationships/tags" Target="../tags/tag1424.xml"/><Relationship Id="rId5" Type="http://schemas.openxmlformats.org/officeDocument/2006/relationships/tags" Target="../tags/tag1418.xml"/><Relationship Id="rId10" Type="http://schemas.openxmlformats.org/officeDocument/2006/relationships/tags" Target="../tags/tag1423.xml"/><Relationship Id="rId4" Type="http://schemas.openxmlformats.org/officeDocument/2006/relationships/tags" Target="../tags/tag1417.xml"/><Relationship Id="rId9" Type="http://schemas.openxmlformats.org/officeDocument/2006/relationships/tags" Target="../tags/tag1422.xml"/><Relationship Id="rId14" Type="http://schemas.openxmlformats.org/officeDocument/2006/relationships/image" Target="../media/image1.emf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tags" Target="../tags/tag1431.xml"/><Relationship Id="rId3" Type="http://schemas.openxmlformats.org/officeDocument/2006/relationships/tags" Target="../tags/tag1426.xml"/><Relationship Id="rId7" Type="http://schemas.openxmlformats.org/officeDocument/2006/relationships/tags" Target="../tags/tag1430.xml"/><Relationship Id="rId2" Type="http://schemas.openxmlformats.org/officeDocument/2006/relationships/tags" Target="../tags/tag1425.xml"/><Relationship Id="rId1" Type="http://schemas.openxmlformats.org/officeDocument/2006/relationships/vmlDrawing" Target="../drawings/vmlDrawing184.vml"/><Relationship Id="rId6" Type="http://schemas.openxmlformats.org/officeDocument/2006/relationships/tags" Target="../tags/tag1429.xml"/><Relationship Id="rId11" Type="http://schemas.openxmlformats.org/officeDocument/2006/relationships/image" Target="../media/image1.emf"/><Relationship Id="rId5" Type="http://schemas.openxmlformats.org/officeDocument/2006/relationships/tags" Target="../tags/tag1428.xml"/><Relationship Id="rId10" Type="http://schemas.openxmlformats.org/officeDocument/2006/relationships/oleObject" Target="../embeddings/oleObject184.bin"/><Relationship Id="rId4" Type="http://schemas.openxmlformats.org/officeDocument/2006/relationships/tags" Target="../tags/tag1427.xml"/><Relationship Id="rId9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432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7.bin"/><Relationship Id="rId3" Type="http://schemas.openxmlformats.org/officeDocument/2006/relationships/tags" Target="../tags/tag1462.xml"/><Relationship Id="rId7" Type="http://schemas.openxmlformats.org/officeDocument/2006/relationships/slideMaster" Target="../slideMasters/slideMaster11.xml"/><Relationship Id="rId2" Type="http://schemas.openxmlformats.org/officeDocument/2006/relationships/tags" Target="../tags/tag1461.xml"/><Relationship Id="rId1" Type="http://schemas.openxmlformats.org/officeDocument/2006/relationships/vmlDrawing" Target="../drawings/vmlDrawing187.vml"/><Relationship Id="rId6" Type="http://schemas.openxmlformats.org/officeDocument/2006/relationships/tags" Target="../tags/tag1465.xml"/><Relationship Id="rId5" Type="http://schemas.openxmlformats.org/officeDocument/2006/relationships/tags" Target="../tags/tag1464.xml"/><Relationship Id="rId4" Type="http://schemas.openxmlformats.org/officeDocument/2006/relationships/tags" Target="../tags/tag1463.xml"/><Relationship Id="rId9" Type="http://schemas.openxmlformats.org/officeDocument/2006/relationships/image" Target="../media/image2.emf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tags" Target="../tags/tag1472.xml"/><Relationship Id="rId3" Type="http://schemas.openxmlformats.org/officeDocument/2006/relationships/tags" Target="../tags/tag1467.xml"/><Relationship Id="rId7" Type="http://schemas.openxmlformats.org/officeDocument/2006/relationships/tags" Target="../tags/tag1471.xml"/><Relationship Id="rId2" Type="http://schemas.openxmlformats.org/officeDocument/2006/relationships/tags" Target="../tags/tag1466.xml"/><Relationship Id="rId1" Type="http://schemas.openxmlformats.org/officeDocument/2006/relationships/vmlDrawing" Target="../drawings/vmlDrawing188.vml"/><Relationship Id="rId6" Type="http://schemas.openxmlformats.org/officeDocument/2006/relationships/tags" Target="../tags/tag1470.xml"/><Relationship Id="rId11" Type="http://schemas.openxmlformats.org/officeDocument/2006/relationships/image" Target="../media/image1.emf"/><Relationship Id="rId5" Type="http://schemas.openxmlformats.org/officeDocument/2006/relationships/tags" Target="../tags/tag1469.xml"/><Relationship Id="rId10" Type="http://schemas.openxmlformats.org/officeDocument/2006/relationships/oleObject" Target="../embeddings/oleObject188.bin"/><Relationship Id="rId4" Type="http://schemas.openxmlformats.org/officeDocument/2006/relationships/tags" Target="../tags/tag1468.xml"/><Relationship Id="rId9" Type="http://schemas.openxmlformats.org/officeDocument/2006/relationships/slideMaster" Target="../slideMasters/slideMaster11.xml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474.xml"/><Relationship Id="rId7" Type="http://schemas.openxmlformats.org/officeDocument/2006/relationships/tags" Target="../tags/tag1478.xml"/><Relationship Id="rId2" Type="http://schemas.openxmlformats.org/officeDocument/2006/relationships/tags" Target="../tags/tag1473.xml"/><Relationship Id="rId1" Type="http://schemas.openxmlformats.org/officeDocument/2006/relationships/vmlDrawing" Target="../drawings/vmlDrawing189.vml"/><Relationship Id="rId6" Type="http://schemas.openxmlformats.org/officeDocument/2006/relationships/tags" Target="../tags/tag1477.xml"/><Relationship Id="rId5" Type="http://schemas.openxmlformats.org/officeDocument/2006/relationships/tags" Target="../tags/tag1476.xml"/><Relationship Id="rId10" Type="http://schemas.openxmlformats.org/officeDocument/2006/relationships/image" Target="../media/image2.emf"/><Relationship Id="rId4" Type="http://schemas.openxmlformats.org/officeDocument/2006/relationships/tags" Target="../tags/tag1475.xml"/><Relationship Id="rId9" Type="http://schemas.openxmlformats.org/officeDocument/2006/relationships/oleObject" Target="../embeddings/oleObject189.bin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480.xml"/><Relationship Id="rId7" Type="http://schemas.openxmlformats.org/officeDocument/2006/relationships/tags" Target="../tags/tag1484.xml"/><Relationship Id="rId2" Type="http://schemas.openxmlformats.org/officeDocument/2006/relationships/tags" Target="../tags/tag1479.xml"/><Relationship Id="rId1" Type="http://schemas.openxmlformats.org/officeDocument/2006/relationships/vmlDrawing" Target="../drawings/vmlDrawing190.vml"/><Relationship Id="rId6" Type="http://schemas.openxmlformats.org/officeDocument/2006/relationships/tags" Target="../tags/tag1483.xml"/><Relationship Id="rId5" Type="http://schemas.openxmlformats.org/officeDocument/2006/relationships/tags" Target="../tags/tag1482.xml"/><Relationship Id="rId10" Type="http://schemas.openxmlformats.org/officeDocument/2006/relationships/image" Target="../media/image2.emf"/><Relationship Id="rId4" Type="http://schemas.openxmlformats.org/officeDocument/2006/relationships/tags" Target="../tags/tag1481.xml"/><Relationship Id="rId9" Type="http://schemas.openxmlformats.org/officeDocument/2006/relationships/oleObject" Target="../embeddings/oleObject190.bin"/></Relationships>
</file>

<file path=ppt/slideLayouts/_rels/slideLayout18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486.xml"/><Relationship Id="rId7" Type="http://schemas.openxmlformats.org/officeDocument/2006/relationships/tags" Target="../tags/tag1490.xml"/><Relationship Id="rId2" Type="http://schemas.openxmlformats.org/officeDocument/2006/relationships/tags" Target="../tags/tag1485.xml"/><Relationship Id="rId1" Type="http://schemas.openxmlformats.org/officeDocument/2006/relationships/vmlDrawing" Target="../drawings/vmlDrawing191.vml"/><Relationship Id="rId6" Type="http://schemas.openxmlformats.org/officeDocument/2006/relationships/tags" Target="../tags/tag1489.xml"/><Relationship Id="rId5" Type="http://schemas.openxmlformats.org/officeDocument/2006/relationships/tags" Target="../tags/tag1488.xml"/><Relationship Id="rId10" Type="http://schemas.openxmlformats.org/officeDocument/2006/relationships/image" Target="../media/image2.emf"/><Relationship Id="rId4" Type="http://schemas.openxmlformats.org/officeDocument/2006/relationships/tags" Target="../tags/tag1487.xml"/><Relationship Id="rId9" Type="http://schemas.openxmlformats.org/officeDocument/2006/relationships/oleObject" Target="../embeddings/oleObject191.bin"/></Relationships>
</file>

<file path=ppt/slideLayouts/_rels/slideLayout185.xml.rels><?xml version="1.0" encoding="UTF-8" standalone="yes"?>
<Relationships xmlns="http://schemas.openxmlformats.org/package/2006/relationships"><Relationship Id="rId8" Type="http://schemas.openxmlformats.org/officeDocument/2006/relationships/tags" Target="../tags/tag1497.xml"/><Relationship Id="rId3" Type="http://schemas.openxmlformats.org/officeDocument/2006/relationships/tags" Target="../tags/tag1492.xml"/><Relationship Id="rId7" Type="http://schemas.openxmlformats.org/officeDocument/2006/relationships/tags" Target="../tags/tag1496.xml"/><Relationship Id="rId2" Type="http://schemas.openxmlformats.org/officeDocument/2006/relationships/tags" Target="../tags/tag1491.xml"/><Relationship Id="rId1" Type="http://schemas.openxmlformats.org/officeDocument/2006/relationships/vmlDrawing" Target="../drawings/vmlDrawing192.vml"/><Relationship Id="rId6" Type="http://schemas.openxmlformats.org/officeDocument/2006/relationships/tags" Target="../tags/tag1495.xml"/><Relationship Id="rId11" Type="http://schemas.openxmlformats.org/officeDocument/2006/relationships/image" Target="../media/image2.emf"/><Relationship Id="rId5" Type="http://schemas.openxmlformats.org/officeDocument/2006/relationships/tags" Target="../tags/tag1494.xml"/><Relationship Id="rId10" Type="http://schemas.openxmlformats.org/officeDocument/2006/relationships/oleObject" Target="../embeddings/oleObject192.bin"/><Relationship Id="rId4" Type="http://schemas.openxmlformats.org/officeDocument/2006/relationships/tags" Target="../tags/tag1493.xml"/><Relationship Id="rId9" Type="http://schemas.openxmlformats.org/officeDocument/2006/relationships/slideMaster" Target="../slideMasters/slideMaster11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tags" Target="../tags/tag1504.xml"/><Relationship Id="rId3" Type="http://schemas.openxmlformats.org/officeDocument/2006/relationships/tags" Target="../tags/tag1499.xml"/><Relationship Id="rId7" Type="http://schemas.openxmlformats.org/officeDocument/2006/relationships/tags" Target="../tags/tag1503.xml"/><Relationship Id="rId12" Type="http://schemas.openxmlformats.org/officeDocument/2006/relationships/image" Target="../media/image1.emf"/><Relationship Id="rId2" Type="http://schemas.openxmlformats.org/officeDocument/2006/relationships/tags" Target="../tags/tag1498.xml"/><Relationship Id="rId1" Type="http://schemas.openxmlformats.org/officeDocument/2006/relationships/vmlDrawing" Target="../drawings/vmlDrawing193.vml"/><Relationship Id="rId6" Type="http://schemas.openxmlformats.org/officeDocument/2006/relationships/tags" Target="../tags/tag1502.xml"/><Relationship Id="rId11" Type="http://schemas.openxmlformats.org/officeDocument/2006/relationships/oleObject" Target="../embeddings/oleObject193.bin"/><Relationship Id="rId5" Type="http://schemas.openxmlformats.org/officeDocument/2006/relationships/tags" Target="../tags/tag1501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1500.xml"/><Relationship Id="rId9" Type="http://schemas.openxmlformats.org/officeDocument/2006/relationships/tags" Target="../tags/tag1505.xml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tags" Target="../tags/tag1512.xml"/><Relationship Id="rId3" Type="http://schemas.openxmlformats.org/officeDocument/2006/relationships/tags" Target="../tags/tag1507.xml"/><Relationship Id="rId7" Type="http://schemas.openxmlformats.org/officeDocument/2006/relationships/tags" Target="../tags/tag1511.xml"/><Relationship Id="rId12" Type="http://schemas.openxmlformats.org/officeDocument/2006/relationships/image" Target="../media/image1.emf"/><Relationship Id="rId2" Type="http://schemas.openxmlformats.org/officeDocument/2006/relationships/tags" Target="../tags/tag1506.xml"/><Relationship Id="rId1" Type="http://schemas.openxmlformats.org/officeDocument/2006/relationships/vmlDrawing" Target="../drawings/vmlDrawing194.vml"/><Relationship Id="rId6" Type="http://schemas.openxmlformats.org/officeDocument/2006/relationships/tags" Target="../tags/tag1510.xml"/><Relationship Id="rId11" Type="http://schemas.openxmlformats.org/officeDocument/2006/relationships/oleObject" Target="../embeddings/oleObject194.bin"/><Relationship Id="rId5" Type="http://schemas.openxmlformats.org/officeDocument/2006/relationships/tags" Target="../tags/tag1509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1508.xml"/><Relationship Id="rId9" Type="http://schemas.openxmlformats.org/officeDocument/2006/relationships/tags" Target="../tags/tag1513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tags" Target="../tags/tag1520.xml"/><Relationship Id="rId3" Type="http://schemas.openxmlformats.org/officeDocument/2006/relationships/tags" Target="../tags/tag1515.xml"/><Relationship Id="rId7" Type="http://schemas.openxmlformats.org/officeDocument/2006/relationships/tags" Target="../tags/tag1519.xml"/><Relationship Id="rId12" Type="http://schemas.openxmlformats.org/officeDocument/2006/relationships/image" Target="../media/image1.emf"/><Relationship Id="rId2" Type="http://schemas.openxmlformats.org/officeDocument/2006/relationships/tags" Target="../tags/tag1514.xml"/><Relationship Id="rId1" Type="http://schemas.openxmlformats.org/officeDocument/2006/relationships/vmlDrawing" Target="../drawings/vmlDrawing195.vml"/><Relationship Id="rId6" Type="http://schemas.openxmlformats.org/officeDocument/2006/relationships/tags" Target="../tags/tag1518.xml"/><Relationship Id="rId11" Type="http://schemas.openxmlformats.org/officeDocument/2006/relationships/oleObject" Target="../embeddings/oleObject195.bin"/><Relationship Id="rId5" Type="http://schemas.openxmlformats.org/officeDocument/2006/relationships/tags" Target="../tags/tag1517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1516.xml"/><Relationship Id="rId9" Type="http://schemas.openxmlformats.org/officeDocument/2006/relationships/tags" Target="../tags/tag1521.xml"/></Relationships>
</file>

<file path=ppt/slideLayouts/_rels/slideLayout189.xml.rels><?xml version="1.0" encoding="UTF-8" standalone="yes"?>
<Relationships xmlns="http://schemas.openxmlformats.org/package/2006/relationships"><Relationship Id="rId8" Type="http://schemas.openxmlformats.org/officeDocument/2006/relationships/tags" Target="../tags/tag1528.xml"/><Relationship Id="rId3" Type="http://schemas.openxmlformats.org/officeDocument/2006/relationships/tags" Target="../tags/tag1523.xml"/><Relationship Id="rId7" Type="http://schemas.openxmlformats.org/officeDocument/2006/relationships/tags" Target="../tags/tag1527.xml"/><Relationship Id="rId12" Type="http://schemas.openxmlformats.org/officeDocument/2006/relationships/image" Target="../media/image3.emf"/><Relationship Id="rId2" Type="http://schemas.openxmlformats.org/officeDocument/2006/relationships/tags" Target="../tags/tag1522.xml"/><Relationship Id="rId1" Type="http://schemas.openxmlformats.org/officeDocument/2006/relationships/vmlDrawing" Target="../drawings/vmlDrawing196.vml"/><Relationship Id="rId6" Type="http://schemas.openxmlformats.org/officeDocument/2006/relationships/tags" Target="../tags/tag1526.xml"/><Relationship Id="rId11" Type="http://schemas.openxmlformats.org/officeDocument/2006/relationships/oleObject" Target="../embeddings/oleObject196.bin"/><Relationship Id="rId5" Type="http://schemas.openxmlformats.org/officeDocument/2006/relationships/tags" Target="../tags/tag1525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1524.xml"/><Relationship Id="rId9" Type="http://schemas.openxmlformats.org/officeDocument/2006/relationships/tags" Target="../tags/tag1529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7.xml"/><Relationship Id="rId7" Type="http://schemas.openxmlformats.org/officeDocument/2006/relationships/tags" Target="../tags/tag141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10" Type="http://schemas.openxmlformats.org/officeDocument/2006/relationships/image" Target="../media/image1.emf"/><Relationship Id="rId4" Type="http://schemas.openxmlformats.org/officeDocument/2006/relationships/tags" Target="../tags/tag138.xml"/><Relationship Id="rId9" Type="http://schemas.openxmlformats.org/officeDocument/2006/relationships/oleObject" Target="../embeddings/oleObject18.bin"/></Relationships>
</file>

<file path=ppt/slideLayouts/_rels/slideLayout190.xml.rels><?xml version="1.0" encoding="UTF-8" standalone="yes"?>
<Relationships xmlns="http://schemas.openxmlformats.org/package/2006/relationships"><Relationship Id="rId8" Type="http://schemas.openxmlformats.org/officeDocument/2006/relationships/tags" Target="../tags/tag1536.xml"/><Relationship Id="rId3" Type="http://schemas.openxmlformats.org/officeDocument/2006/relationships/tags" Target="../tags/tag1531.xml"/><Relationship Id="rId7" Type="http://schemas.openxmlformats.org/officeDocument/2006/relationships/tags" Target="../tags/tag1535.xml"/><Relationship Id="rId12" Type="http://schemas.openxmlformats.org/officeDocument/2006/relationships/image" Target="../media/image1.emf"/><Relationship Id="rId2" Type="http://schemas.openxmlformats.org/officeDocument/2006/relationships/tags" Target="../tags/tag1530.xml"/><Relationship Id="rId1" Type="http://schemas.openxmlformats.org/officeDocument/2006/relationships/vmlDrawing" Target="../drawings/vmlDrawing197.vml"/><Relationship Id="rId6" Type="http://schemas.openxmlformats.org/officeDocument/2006/relationships/tags" Target="../tags/tag1534.xml"/><Relationship Id="rId11" Type="http://schemas.openxmlformats.org/officeDocument/2006/relationships/oleObject" Target="../embeddings/oleObject197.bin"/><Relationship Id="rId5" Type="http://schemas.openxmlformats.org/officeDocument/2006/relationships/tags" Target="../tags/tag1533.xml"/><Relationship Id="rId10" Type="http://schemas.openxmlformats.org/officeDocument/2006/relationships/slideMaster" Target="../slideMasters/slideMaster11.xml"/><Relationship Id="rId4" Type="http://schemas.openxmlformats.org/officeDocument/2006/relationships/tags" Target="../tags/tag1532.xml"/><Relationship Id="rId9" Type="http://schemas.openxmlformats.org/officeDocument/2006/relationships/tags" Target="../tags/tag1537.xml"/></Relationships>
</file>

<file path=ppt/slideLayouts/_rels/slideLayout19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539.xml"/><Relationship Id="rId7" Type="http://schemas.openxmlformats.org/officeDocument/2006/relationships/tags" Target="../tags/tag1543.xml"/><Relationship Id="rId2" Type="http://schemas.openxmlformats.org/officeDocument/2006/relationships/tags" Target="../tags/tag1538.xml"/><Relationship Id="rId1" Type="http://schemas.openxmlformats.org/officeDocument/2006/relationships/vmlDrawing" Target="../drawings/vmlDrawing198.vml"/><Relationship Id="rId6" Type="http://schemas.openxmlformats.org/officeDocument/2006/relationships/tags" Target="../tags/tag1542.xml"/><Relationship Id="rId5" Type="http://schemas.openxmlformats.org/officeDocument/2006/relationships/tags" Target="../tags/tag1541.xml"/><Relationship Id="rId10" Type="http://schemas.openxmlformats.org/officeDocument/2006/relationships/image" Target="../media/image2.emf"/><Relationship Id="rId4" Type="http://schemas.openxmlformats.org/officeDocument/2006/relationships/tags" Target="../tags/tag1540.xml"/><Relationship Id="rId9" Type="http://schemas.openxmlformats.org/officeDocument/2006/relationships/oleObject" Target="../embeddings/oleObject198.bin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545.xml"/><Relationship Id="rId7" Type="http://schemas.openxmlformats.org/officeDocument/2006/relationships/oleObject" Target="../embeddings/oleObject199.bin"/><Relationship Id="rId2" Type="http://schemas.openxmlformats.org/officeDocument/2006/relationships/tags" Target="../tags/tag1544.xml"/><Relationship Id="rId1" Type="http://schemas.openxmlformats.org/officeDocument/2006/relationships/vmlDrawing" Target="../drawings/vmlDrawing199.vml"/><Relationship Id="rId6" Type="http://schemas.openxmlformats.org/officeDocument/2006/relationships/slideMaster" Target="../slideMasters/slideMaster11.xml"/><Relationship Id="rId5" Type="http://schemas.openxmlformats.org/officeDocument/2006/relationships/tags" Target="../tags/tag1547.xml"/><Relationship Id="rId4" Type="http://schemas.openxmlformats.org/officeDocument/2006/relationships/tags" Target="../tags/tag154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tags" Target="../tags/tag1549.xml"/><Relationship Id="rId2" Type="http://schemas.openxmlformats.org/officeDocument/2006/relationships/tags" Target="../tags/tag1548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00.bin"/><Relationship Id="rId4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50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1.bin"/></Relationships>
</file>

<file path=ppt/slideLayouts/_rels/slideLayout195.xml.rels><?xml version="1.0" encoding="UTF-8" standalone="yes"?>
<Relationships xmlns="http://schemas.openxmlformats.org/package/2006/relationships"><Relationship Id="rId8" Type="http://schemas.openxmlformats.org/officeDocument/2006/relationships/tags" Target="../tags/tag1557.xml"/><Relationship Id="rId13" Type="http://schemas.openxmlformats.org/officeDocument/2006/relationships/oleObject" Target="../embeddings/oleObject202.bin"/><Relationship Id="rId3" Type="http://schemas.openxmlformats.org/officeDocument/2006/relationships/tags" Target="../tags/tag1552.xml"/><Relationship Id="rId7" Type="http://schemas.openxmlformats.org/officeDocument/2006/relationships/tags" Target="../tags/tag1556.xml"/><Relationship Id="rId12" Type="http://schemas.openxmlformats.org/officeDocument/2006/relationships/slideMaster" Target="../slideMasters/slideMaster11.xml"/><Relationship Id="rId2" Type="http://schemas.openxmlformats.org/officeDocument/2006/relationships/tags" Target="../tags/tag1551.xml"/><Relationship Id="rId1" Type="http://schemas.openxmlformats.org/officeDocument/2006/relationships/vmlDrawing" Target="../drawings/vmlDrawing202.vml"/><Relationship Id="rId6" Type="http://schemas.openxmlformats.org/officeDocument/2006/relationships/tags" Target="../tags/tag1555.xml"/><Relationship Id="rId11" Type="http://schemas.openxmlformats.org/officeDocument/2006/relationships/tags" Target="../tags/tag1560.xml"/><Relationship Id="rId5" Type="http://schemas.openxmlformats.org/officeDocument/2006/relationships/tags" Target="../tags/tag1554.xml"/><Relationship Id="rId10" Type="http://schemas.openxmlformats.org/officeDocument/2006/relationships/tags" Target="../tags/tag1559.xml"/><Relationship Id="rId4" Type="http://schemas.openxmlformats.org/officeDocument/2006/relationships/tags" Target="../tags/tag1553.xml"/><Relationship Id="rId9" Type="http://schemas.openxmlformats.org/officeDocument/2006/relationships/tags" Target="../tags/tag1558.xml"/><Relationship Id="rId14" Type="http://schemas.openxmlformats.org/officeDocument/2006/relationships/image" Target="../media/image1.emf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tags" Target="../tags/tag1567.xml"/><Relationship Id="rId3" Type="http://schemas.openxmlformats.org/officeDocument/2006/relationships/tags" Target="../tags/tag1562.xml"/><Relationship Id="rId7" Type="http://schemas.openxmlformats.org/officeDocument/2006/relationships/tags" Target="../tags/tag1566.xml"/><Relationship Id="rId2" Type="http://schemas.openxmlformats.org/officeDocument/2006/relationships/tags" Target="../tags/tag1561.xml"/><Relationship Id="rId1" Type="http://schemas.openxmlformats.org/officeDocument/2006/relationships/vmlDrawing" Target="../drawings/vmlDrawing203.vml"/><Relationship Id="rId6" Type="http://schemas.openxmlformats.org/officeDocument/2006/relationships/tags" Target="../tags/tag1565.xml"/><Relationship Id="rId11" Type="http://schemas.openxmlformats.org/officeDocument/2006/relationships/image" Target="../media/image1.emf"/><Relationship Id="rId5" Type="http://schemas.openxmlformats.org/officeDocument/2006/relationships/tags" Target="../tags/tag1564.xml"/><Relationship Id="rId10" Type="http://schemas.openxmlformats.org/officeDocument/2006/relationships/oleObject" Target="../embeddings/oleObject203.bin"/><Relationship Id="rId4" Type="http://schemas.openxmlformats.org/officeDocument/2006/relationships/tags" Target="../tags/tag1563.xml"/><Relationship Id="rId9" Type="http://schemas.openxmlformats.org/officeDocument/2006/relationships/slideMaster" Target="../slideMasters/slideMaster1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568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04.bin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570.xml"/><Relationship Id="rId7" Type="http://schemas.openxmlformats.org/officeDocument/2006/relationships/tags" Target="../tags/tag1574.xml"/><Relationship Id="rId2" Type="http://schemas.openxmlformats.org/officeDocument/2006/relationships/tags" Target="../tags/tag1569.xml"/><Relationship Id="rId1" Type="http://schemas.openxmlformats.org/officeDocument/2006/relationships/vmlDrawing" Target="../drawings/vmlDrawing205.vml"/><Relationship Id="rId6" Type="http://schemas.openxmlformats.org/officeDocument/2006/relationships/tags" Target="../tags/tag1573.xml"/><Relationship Id="rId5" Type="http://schemas.openxmlformats.org/officeDocument/2006/relationships/tags" Target="../tags/tag1572.xml"/><Relationship Id="rId10" Type="http://schemas.openxmlformats.org/officeDocument/2006/relationships/image" Target="../media/image1.emf"/><Relationship Id="rId4" Type="http://schemas.openxmlformats.org/officeDocument/2006/relationships/tags" Target="../tags/tag1571.xml"/><Relationship Id="rId9" Type="http://schemas.openxmlformats.org/officeDocument/2006/relationships/oleObject" Target="../embeddings/oleObject205.bin"/></Relationships>
</file>

<file path=ppt/slideLayouts/_rels/slideLayout19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1.xml"/><Relationship Id="rId3" Type="http://schemas.openxmlformats.org/officeDocument/2006/relationships/tags" Target="../tags/tag1576.xml"/><Relationship Id="rId7" Type="http://schemas.openxmlformats.org/officeDocument/2006/relationships/tags" Target="../tags/tag1580.xml"/><Relationship Id="rId2" Type="http://schemas.openxmlformats.org/officeDocument/2006/relationships/tags" Target="../tags/tag1575.xml"/><Relationship Id="rId1" Type="http://schemas.openxmlformats.org/officeDocument/2006/relationships/vmlDrawing" Target="../drawings/vmlDrawing206.vml"/><Relationship Id="rId6" Type="http://schemas.openxmlformats.org/officeDocument/2006/relationships/tags" Target="../tags/tag1579.xml"/><Relationship Id="rId5" Type="http://schemas.openxmlformats.org/officeDocument/2006/relationships/tags" Target="../tags/tag1578.xml"/><Relationship Id="rId10" Type="http://schemas.openxmlformats.org/officeDocument/2006/relationships/image" Target="../media/image1.emf"/><Relationship Id="rId4" Type="http://schemas.openxmlformats.org/officeDocument/2006/relationships/tags" Target="../tags/tag1577.xml"/><Relationship Id="rId9" Type="http://schemas.openxmlformats.org/officeDocument/2006/relationships/oleObject" Target="../embeddings/oleObject206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.vml"/><Relationship Id="rId6" Type="http://schemas.openxmlformats.org/officeDocument/2006/relationships/tags" Target="../tags/tag39.xml"/><Relationship Id="rId11" Type="http://schemas.openxmlformats.org/officeDocument/2006/relationships/image" Target="../media/image1.emf"/><Relationship Id="rId5" Type="http://schemas.openxmlformats.org/officeDocument/2006/relationships/tags" Target="../tags/tag38.xml"/><Relationship Id="rId10" Type="http://schemas.openxmlformats.org/officeDocument/2006/relationships/oleObject" Target="../embeddings/oleObject3.bin"/><Relationship Id="rId4" Type="http://schemas.openxmlformats.org/officeDocument/2006/relationships/tags" Target="../tags/tag37.xml"/><Relationship Id="rId9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6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4" Type="http://schemas.openxmlformats.org/officeDocument/2006/relationships/tags" Target="../tags/tag165.xml"/><Relationship Id="rId9" Type="http://schemas.openxmlformats.org/officeDocument/2006/relationships/image" Target="../media/image2.emf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8.bin"/><Relationship Id="rId3" Type="http://schemas.openxmlformats.org/officeDocument/2006/relationships/tags" Target="../tags/tag1610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609.xml"/><Relationship Id="rId1" Type="http://schemas.openxmlformats.org/officeDocument/2006/relationships/vmlDrawing" Target="../drawings/vmlDrawing208.vml"/><Relationship Id="rId6" Type="http://schemas.openxmlformats.org/officeDocument/2006/relationships/tags" Target="../tags/tag1613.xml"/><Relationship Id="rId5" Type="http://schemas.openxmlformats.org/officeDocument/2006/relationships/tags" Target="../tags/tag1612.xml"/><Relationship Id="rId4" Type="http://schemas.openxmlformats.org/officeDocument/2006/relationships/tags" Target="../tags/tag1611.xml"/><Relationship Id="rId9" Type="http://schemas.openxmlformats.org/officeDocument/2006/relationships/image" Target="../media/image2.emf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9.bin"/><Relationship Id="rId3" Type="http://schemas.openxmlformats.org/officeDocument/2006/relationships/tags" Target="../tags/tag1615.xml"/><Relationship Id="rId7" Type="http://schemas.openxmlformats.org/officeDocument/2006/relationships/slideMaster" Target="../slideMasters/slideMaster12.xml"/><Relationship Id="rId2" Type="http://schemas.openxmlformats.org/officeDocument/2006/relationships/tags" Target="../tags/tag1614.xml"/><Relationship Id="rId1" Type="http://schemas.openxmlformats.org/officeDocument/2006/relationships/vmlDrawing" Target="../drawings/vmlDrawing209.vml"/><Relationship Id="rId6" Type="http://schemas.openxmlformats.org/officeDocument/2006/relationships/tags" Target="../tags/tag1618.xml"/><Relationship Id="rId5" Type="http://schemas.openxmlformats.org/officeDocument/2006/relationships/tags" Target="../tags/tag1617.xml"/><Relationship Id="rId4" Type="http://schemas.openxmlformats.org/officeDocument/2006/relationships/tags" Target="../tags/tag1616.xml"/><Relationship Id="rId9" Type="http://schemas.openxmlformats.org/officeDocument/2006/relationships/image" Target="../media/image2.emf"/></Relationships>
</file>

<file path=ppt/slideLayouts/_rels/slideLayout202.xml.rels><?xml version="1.0" encoding="UTF-8" standalone="yes"?>
<Relationships xmlns="http://schemas.openxmlformats.org/package/2006/relationships"><Relationship Id="rId8" Type="http://schemas.openxmlformats.org/officeDocument/2006/relationships/tags" Target="../tags/tag1625.xml"/><Relationship Id="rId3" Type="http://schemas.openxmlformats.org/officeDocument/2006/relationships/tags" Target="../tags/tag1620.xml"/><Relationship Id="rId7" Type="http://schemas.openxmlformats.org/officeDocument/2006/relationships/tags" Target="../tags/tag1624.xml"/><Relationship Id="rId2" Type="http://schemas.openxmlformats.org/officeDocument/2006/relationships/tags" Target="../tags/tag1619.xml"/><Relationship Id="rId1" Type="http://schemas.openxmlformats.org/officeDocument/2006/relationships/vmlDrawing" Target="../drawings/vmlDrawing210.vml"/><Relationship Id="rId6" Type="http://schemas.openxmlformats.org/officeDocument/2006/relationships/tags" Target="../tags/tag1623.xml"/><Relationship Id="rId11" Type="http://schemas.openxmlformats.org/officeDocument/2006/relationships/image" Target="../media/image1.emf"/><Relationship Id="rId5" Type="http://schemas.openxmlformats.org/officeDocument/2006/relationships/tags" Target="../tags/tag1622.xml"/><Relationship Id="rId10" Type="http://schemas.openxmlformats.org/officeDocument/2006/relationships/oleObject" Target="../embeddings/oleObject210.bin"/><Relationship Id="rId4" Type="http://schemas.openxmlformats.org/officeDocument/2006/relationships/tags" Target="../tags/tag1621.xml"/><Relationship Id="rId9" Type="http://schemas.openxmlformats.org/officeDocument/2006/relationships/slideMaster" Target="../slideMasters/slideMaster12.xml"/></Relationships>
</file>

<file path=ppt/slideLayouts/_rels/slideLayout20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627.xml"/><Relationship Id="rId7" Type="http://schemas.openxmlformats.org/officeDocument/2006/relationships/tags" Target="../tags/tag1631.xml"/><Relationship Id="rId2" Type="http://schemas.openxmlformats.org/officeDocument/2006/relationships/tags" Target="../tags/tag1626.xml"/><Relationship Id="rId1" Type="http://schemas.openxmlformats.org/officeDocument/2006/relationships/vmlDrawing" Target="../drawings/vmlDrawing211.vml"/><Relationship Id="rId6" Type="http://schemas.openxmlformats.org/officeDocument/2006/relationships/tags" Target="../tags/tag1630.xml"/><Relationship Id="rId5" Type="http://schemas.openxmlformats.org/officeDocument/2006/relationships/tags" Target="../tags/tag1629.xml"/><Relationship Id="rId10" Type="http://schemas.openxmlformats.org/officeDocument/2006/relationships/image" Target="../media/image2.emf"/><Relationship Id="rId4" Type="http://schemas.openxmlformats.org/officeDocument/2006/relationships/tags" Target="../tags/tag1628.xml"/><Relationship Id="rId9" Type="http://schemas.openxmlformats.org/officeDocument/2006/relationships/oleObject" Target="../embeddings/oleObject211.bin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633.xml"/><Relationship Id="rId7" Type="http://schemas.openxmlformats.org/officeDocument/2006/relationships/tags" Target="../tags/tag1637.xml"/><Relationship Id="rId2" Type="http://schemas.openxmlformats.org/officeDocument/2006/relationships/tags" Target="../tags/tag1632.xml"/><Relationship Id="rId1" Type="http://schemas.openxmlformats.org/officeDocument/2006/relationships/vmlDrawing" Target="../drawings/vmlDrawing212.vml"/><Relationship Id="rId6" Type="http://schemas.openxmlformats.org/officeDocument/2006/relationships/tags" Target="../tags/tag1636.xml"/><Relationship Id="rId5" Type="http://schemas.openxmlformats.org/officeDocument/2006/relationships/tags" Target="../tags/tag1635.xml"/><Relationship Id="rId10" Type="http://schemas.openxmlformats.org/officeDocument/2006/relationships/image" Target="../media/image2.emf"/><Relationship Id="rId4" Type="http://schemas.openxmlformats.org/officeDocument/2006/relationships/tags" Target="../tags/tag1634.xml"/><Relationship Id="rId9" Type="http://schemas.openxmlformats.org/officeDocument/2006/relationships/oleObject" Target="../embeddings/oleObject212.bin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639.xml"/><Relationship Id="rId7" Type="http://schemas.openxmlformats.org/officeDocument/2006/relationships/tags" Target="../tags/tag1643.xml"/><Relationship Id="rId2" Type="http://schemas.openxmlformats.org/officeDocument/2006/relationships/tags" Target="../tags/tag1638.xml"/><Relationship Id="rId1" Type="http://schemas.openxmlformats.org/officeDocument/2006/relationships/vmlDrawing" Target="../drawings/vmlDrawing213.vml"/><Relationship Id="rId6" Type="http://schemas.openxmlformats.org/officeDocument/2006/relationships/tags" Target="../tags/tag1642.xml"/><Relationship Id="rId5" Type="http://schemas.openxmlformats.org/officeDocument/2006/relationships/tags" Target="../tags/tag1641.xml"/><Relationship Id="rId10" Type="http://schemas.openxmlformats.org/officeDocument/2006/relationships/image" Target="../media/image2.emf"/><Relationship Id="rId4" Type="http://schemas.openxmlformats.org/officeDocument/2006/relationships/tags" Target="../tags/tag1640.xml"/><Relationship Id="rId9" Type="http://schemas.openxmlformats.org/officeDocument/2006/relationships/oleObject" Target="../embeddings/oleObject213.bin"/></Relationships>
</file>

<file path=ppt/slideLayouts/_rels/slideLayout206.xml.rels><?xml version="1.0" encoding="UTF-8" standalone="yes"?>
<Relationships xmlns="http://schemas.openxmlformats.org/package/2006/relationships"><Relationship Id="rId8" Type="http://schemas.openxmlformats.org/officeDocument/2006/relationships/tags" Target="../tags/tag1650.xml"/><Relationship Id="rId3" Type="http://schemas.openxmlformats.org/officeDocument/2006/relationships/tags" Target="../tags/tag1645.xml"/><Relationship Id="rId7" Type="http://schemas.openxmlformats.org/officeDocument/2006/relationships/tags" Target="../tags/tag1649.xml"/><Relationship Id="rId2" Type="http://schemas.openxmlformats.org/officeDocument/2006/relationships/tags" Target="../tags/tag1644.xml"/><Relationship Id="rId1" Type="http://schemas.openxmlformats.org/officeDocument/2006/relationships/vmlDrawing" Target="../drawings/vmlDrawing214.vml"/><Relationship Id="rId6" Type="http://schemas.openxmlformats.org/officeDocument/2006/relationships/tags" Target="../tags/tag1648.xml"/><Relationship Id="rId11" Type="http://schemas.openxmlformats.org/officeDocument/2006/relationships/image" Target="../media/image2.emf"/><Relationship Id="rId5" Type="http://schemas.openxmlformats.org/officeDocument/2006/relationships/tags" Target="../tags/tag1647.xml"/><Relationship Id="rId10" Type="http://schemas.openxmlformats.org/officeDocument/2006/relationships/oleObject" Target="../embeddings/oleObject214.bin"/><Relationship Id="rId4" Type="http://schemas.openxmlformats.org/officeDocument/2006/relationships/tags" Target="../tags/tag1646.xml"/><Relationship Id="rId9" Type="http://schemas.openxmlformats.org/officeDocument/2006/relationships/slideMaster" Target="../slideMasters/slideMaster12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tags" Target="../tags/tag1657.xml"/><Relationship Id="rId3" Type="http://schemas.openxmlformats.org/officeDocument/2006/relationships/tags" Target="../tags/tag1652.xml"/><Relationship Id="rId7" Type="http://schemas.openxmlformats.org/officeDocument/2006/relationships/tags" Target="../tags/tag1656.xml"/><Relationship Id="rId12" Type="http://schemas.openxmlformats.org/officeDocument/2006/relationships/image" Target="../media/image1.emf"/><Relationship Id="rId2" Type="http://schemas.openxmlformats.org/officeDocument/2006/relationships/tags" Target="../tags/tag1651.xml"/><Relationship Id="rId1" Type="http://schemas.openxmlformats.org/officeDocument/2006/relationships/vmlDrawing" Target="../drawings/vmlDrawing215.vml"/><Relationship Id="rId6" Type="http://schemas.openxmlformats.org/officeDocument/2006/relationships/tags" Target="../tags/tag1655.xml"/><Relationship Id="rId11" Type="http://schemas.openxmlformats.org/officeDocument/2006/relationships/oleObject" Target="../embeddings/oleObject215.bin"/><Relationship Id="rId5" Type="http://schemas.openxmlformats.org/officeDocument/2006/relationships/tags" Target="../tags/tag1654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653.xml"/><Relationship Id="rId9" Type="http://schemas.openxmlformats.org/officeDocument/2006/relationships/tags" Target="../tags/tag1658.xml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tags" Target="../tags/tag1665.xml"/><Relationship Id="rId3" Type="http://schemas.openxmlformats.org/officeDocument/2006/relationships/tags" Target="../tags/tag1660.xml"/><Relationship Id="rId7" Type="http://schemas.openxmlformats.org/officeDocument/2006/relationships/tags" Target="../tags/tag1664.xml"/><Relationship Id="rId12" Type="http://schemas.openxmlformats.org/officeDocument/2006/relationships/image" Target="../media/image1.emf"/><Relationship Id="rId2" Type="http://schemas.openxmlformats.org/officeDocument/2006/relationships/tags" Target="../tags/tag1659.xml"/><Relationship Id="rId1" Type="http://schemas.openxmlformats.org/officeDocument/2006/relationships/vmlDrawing" Target="../drawings/vmlDrawing216.vml"/><Relationship Id="rId6" Type="http://schemas.openxmlformats.org/officeDocument/2006/relationships/tags" Target="../tags/tag1663.xml"/><Relationship Id="rId11" Type="http://schemas.openxmlformats.org/officeDocument/2006/relationships/oleObject" Target="../embeddings/oleObject216.bin"/><Relationship Id="rId5" Type="http://schemas.openxmlformats.org/officeDocument/2006/relationships/tags" Target="../tags/tag1662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661.xml"/><Relationship Id="rId9" Type="http://schemas.openxmlformats.org/officeDocument/2006/relationships/tags" Target="../tags/tag1666.xml"/></Relationships>
</file>

<file path=ppt/slideLayouts/_rels/slideLayout209.xml.rels><?xml version="1.0" encoding="UTF-8" standalone="yes"?>
<Relationships xmlns="http://schemas.openxmlformats.org/package/2006/relationships"><Relationship Id="rId8" Type="http://schemas.openxmlformats.org/officeDocument/2006/relationships/tags" Target="../tags/tag1673.xml"/><Relationship Id="rId3" Type="http://schemas.openxmlformats.org/officeDocument/2006/relationships/tags" Target="../tags/tag1668.xml"/><Relationship Id="rId7" Type="http://schemas.openxmlformats.org/officeDocument/2006/relationships/tags" Target="../tags/tag1672.xml"/><Relationship Id="rId12" Type="http://schemas.openxmlformats.org/officeDocument/2006/relationships/image" Target="../media/image1.emf"/><Relationship Id="rId2" Type="http://schemas.openxmlformats.org/officeDocument/2006/relationships/tags" Target="../tags/tag1667.xml"/><Relationship Id="rId1" Type="http://schemas.openxmlformats.org/officeDocument/2006/relationships/vmlDrawing" Target="../drawings/vmlDrawing217.vml"/><Relationship Id="rId6" Type="http://schemas.openxmlformats.org/officeDocument/2006/relationships/tags" Target="../tags/tag1671.xml"/><Relationship Id="rId11" Type="http://schemas.openxmlformats.org/officeDocument/2006/relationships/oleObject" Target="../embeddings/oleObject217.bin"/><Relationship Id="rId5" Type="http://schemas.openxmlformats.org/officeDocument/2006/relationships/tags" Target="../tags/tag1670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669.xml"/><Relationship Id="rId9" Type="http://schemas.openxmlformats.org/officeDocument/2006/relationships/tags" Target="../tags/tag1674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174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72.xml"/><Relationship Id="rId11" Type="http://schemas.openxmlformats.org/officeDocument/2006/relationships/image" Target="../media/image1.emf"/><Relationship Id="rId5" Type="http://schemas.openxmlformats.org/officeDocument/2006/relationships/tags" Target="../tags/tag171.xml"/><Relationship Id="rId10" Type="http://schemas.openxmlformats.org/officeDocument/2006/relationships/oleObject" Target="../embeddings/oleObject21.bin"/><Relationship Id="rId4" Type="http://schemas.openxmlformats.org/officeDocument/2006/relationships/tags" Target="../tags/tag170.xml"/><Relationship Id="rId9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8" Type="http://schemas.openxmlformats.org/officeDocument/2006/relationships/tags" Target="../tags/tag1681.xml"/><Relationship Id="rId3" Type="http://schemas.openxmlformats.org/officeDocument/2006/relationships/tags" Target="../tags/tag1676.xml"/><Relationship Id="rId7" Type="http://schemas.openxmlformats.org/officeDocument/2006/relationships/tags" Target="../tags/tag1680.xml"/><Relationship Id="rId12" Type="http://schemas.openxmlformats.org/officeDocument/2006/relationships/image" Target="../media/image3.emf"/><Relationship Id="rId2" Type="http://schemas.openxmlformats.org/officeDocument/2006/relationships/tags" Target="../tags/tag1675.xml"/><Relationship Id="rId1" Type="http://schemas.openxmlformats.org/officeDocument/2006/relationships/vmlDrawing" Target="../drawings/vmlDrawing218.vml"/><Relationship Id="rId6" Type="http://schemas.openxmlformats.org/officeDocument/2006/relationships/tags" Target="../tags/tag1679.xml"/><Relationship Id="rId11" Type="http://schemas.openxmlformats.org/officeDocument/2006/relationships/oleObject" Target="../embeddings/oleObject218.bin"/><Relationship Id="rId5" Type="http://schemas.openxmlformats.org/officeDocument/2006/relationships/tags" Target="../tags/tag1678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677.xml"/><Relationship Id="rId9" Type="http://schemas.openxmlformats.org/officeDocument/2006/relationships/tags" Target="../tags/tag1682.xml"/></Relationships>
</file>

<file path=ppt/slideLayouts/_rels/slideLayout211.xml.rels><?xml version="1.0" encoding="UTF-8" standalone="yes"?>
<Relationships xmlns="http://schemas.openxmlformats.org/package/2006/relationships"><Relationship Id="rId8" Type="http://schemas.openxmlformats.org/officeDocument/2006/relationships/tags" Target="../tags/tag1689.xml"/><Relationship Id="rId3" Type="http://schemas.openxmlformats.org/officeDocument/2006/relationships/tags" Target="../tags/tag1684.xml"/><Relationship Id="rId7" Type="http://schemas.openxmlformats.org/officeDocument/2006/relationships/tags" Target="../tags/tag1688.xml"/><Relationship Id="rId12" Type="http://schemas.openxmlformats.org/officeDocument/2006/relationships/image" Target="../media/image1.emf"/><Relationship Id="rId2" Type="http://schemas.openxmlformats.org/officeDocument/2006/relationships/tags" Target="../tags/tag1683.xml"/><Relationship Id="rId1" Type="http://schemas.openxmlformats.org/officeDocument/2006/relationships/vmlDrawing" Target="../drawings/vmlDrawing219.vml"/><Relationship Id="rId6" Type="http://schemas.openxmlformats.org/officeDocument/2006/relationships/tags" Target="../tags/tag1687.xml"/><Relationship Id="rId11" Type="http://schemas.openxmlformats.org/officeDocument/2006/relationships/oleObject" Target="../embeddings/oleObject219.bin"/><Relationship Id="rId5" Type="http://schemas.openxmlformats.org/officeDocument/2006/relationships/tags" Target="../tags/tag1686.xml"/><Relationship Id="rId10" Type="http://schemas.openxmlformats.org/officeDocument/2006/relationships/slideMaster" Target="../slideMasters/slideMaster12.xml"/><Relationship Id="rId4" Type="http://schemas.openxmlformats.org/officeDocument/2006/relationships/tags" Target="../tags/tag1685.xml"/><Relationship Id="rId9" Type="http://schemas.openxmlformats.org/officeDocument/2006/relationships/tags" Target="../tags/tag1690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692.xml"/><Relationship Id="rId7" Type="http://schemas.openxmlformats.org/officeDocument/2006/relationships/tags" Target="../tags/tag1696.xml"/><Relationship Id="rId2" Type="http://schemas.openxmlformats.org/officeDocument/2006/relationships/tags" Target="../tags/tag1691.xml"/><Relationship Id="rId1" Type="http://schemas.openxmlformats.org/officeDocument/2006/relationships/vmlDrawing" Target="../drawings/vmlDrawing220.vml"/><Relationship Id="rId6" Type="http://schemas.openxmlformats.org/officeDocument/2006/relationships/tags" Target="../tags/tag1695.xml"/><Relationship Id="rId5" Type="http://schemas.openxmlformats.org/officeDocument/2006/relationships/tags" Target="../tags/tag1694.xml"/><Relationship Id="rId10" Type="http://schemas.openxmlformats.org/officeDocument/2006/relationships/image" Target="../media/image2.emf"/><Relationship Id="rId4" Type="http://schemas.openxmlformats.org/officeDocument/2006/relationships/tags" Target="../tags/tag1693.xml"/><Relationship Id="rId9" Type="http://schemas.openxmlformats.org/officeDocument/2006/relationships/oleObject" Target="../embeddings/oleObject220.bin"/></Relationships>
</file>

<file path=ppt/slideLayouts/_rels/slideLayout2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698.xml"/><Relationship Id="rId7" Type="http://schemas.openxmlformats.org/officeDocument/2006/relationships/oleObject" Target="../embeddings/oleObject221.bin"/><Relationship Id="rId2" Type="http://schemas.openxmlformats.org/officeDocument/2006/relationships/tags" Target="../tags/tag1697.xml"/><Relationship Id="rId1" Type="http://schemas.openxmlformats.org/officeDocument/2006/relationships/vmlDrawing" Target="../drawings/vmlDrawing221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1700.xml"/><Relationship Id="rId4" Type="http://schemas.openxmlformats.org/officeDocument/2006/relationships/tags" Target="../tags/tag1699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1702.xml"/><Relationship Id="rId2" Type="http://schemas.openxmlformats.org/officeDocument/2006/relationships/tags" Target="../tags/tag1701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22.bin"/><Relationship Id="rId4" Type="http://schemas.openxmlformats.org/officeDocument/2006/relationships/slideMaster" Target="../slideMasters/slideMaster12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tags" Target="../tags/tag1709.xml"/><Relationship Id="rId13" Type="http://schemas.openxmlformats.org/officeDocument/2006/relationships/oleObject" Target="../embeddings/oleObject223.bin"/><Relationship Id="rId3" Type="http://schemas.openxmlformats.org/officeDocument/2006/relationships/tags" Target="../tags/tag1704.xml"/><Relationship Id="rId7" Type="http://schemas.openxmlformats.org/officeDocument/2006/relationships/tags" Target="../tags/tag1708.xml"/><Relationship Id="rId12" Type="http://schemas.openxmlformats.org/officeDocument/2006/relationships/slideMaster" Target="../slideMasters/slideMaster12.xml"/><Relationship Id="rId2" Type="http://schemas.openxmlformats.org/officeDocument/2006/relationships/tags" Target="../tags/tag1703.xml"/><Relationship Id="rId1" Type="http://schemas.openxmlformats.org/officeDocument/2006/relationships/vmlDrawing" Target="../drawings/vmlDrawing223.vml"/><Relationship Id="rId6" Type="http://schemas.openxmlformats.org/officeDocument/2006/relationships/tags" Target="../tags/tag1707.xml"/><Relationship Id="rId11" Type="http://schemas.openxmlformats.org/officeDocument/2006/relationships/tags" Target="../tags/tag1712.xml"/><Relationship Id="rId5" Type="http://schemas.openxmlformats.org/officeDocument/2006/relationships/tags" Target="../tags/tag1706.xml"/><Relationship Id="rId10" Type="http://schemas.openxmlformats.org/officeDocument/2006/relationships/tags" Target="../tags/tag1711.xml"/><Relationship Id="rId4" Type="http://schemas.openxmlformats.org/officeDocument/2006/relationships/tags" Target="../tags/tag1705.xml"/><Relationship Id="rId9" Type="http://schemas.openxmlformats.org/officeDocument/2006/relationships/tags" Target="../tags/tag1710.xml"/><Relationship Id="rId14" Type="http://schemas.openxmlformats.org/officeDocument/2006/relationships/image" Target="../media/image1.emf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tags" Target="../tags/tag1719.xml"/><Relationship Id="rId3" Type="http://schemas.openxmlformats.org/officeDocument/2006/relationships/tags" Target="../tags/tag1714.xml"/><Relationship Id="rId7" Type="http://schemas.openxmlformats.org/officeDocument/2006/relationships/tags" Target="../tags/tag1718.xml"/><Relationship Id="rId2" Type="http://schemas.openxmlformats.org/officeDocument/2006/relationships/tags" Target="../tags/tag1713.xml"/><Relationship Id="rId1" Type="http://schemas.openxmlformats.org/officeDocument/2006/relationships/vmlDrawing" Target="../drawings/vmlDrawing224.vml"/><Relationship Id="rId6" Type="http://schemas.openxmlformats.org/officeDocument/2006/relationships/tags" Target="../tags/tag1717.xml"/><Relationship Id="rId11" Type="http://schemas.openxmlformats.org/officeDocument/2006/relationships/image" Target="../media/image1.emf"/><Relationship Id="rId5" Type="http://schemas.openxmlformats.org/officeDocument/2006/relationships/tags" Target="../tags/tag1716.xml"/><Relationship Id="rId10" Type="http://schemas.openxmlformats.org/officeDocument/2006/relationships/oleObject" Target="../embeddings/oleObject224.bin"/><Relationship Id="rId4" Type="http://schemas.openxmlformats.org/officeDocument/2006/relationships/tags" Target="../tags/tag1715.xml"/><Relationship Id="rId9" Type="http://schemas.openxmlformats.org/officeDocument/2006/relationships/slideMaster" Target="../slideMasters/slideMaster12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2.xml"/><Relationship Id="rId3" Type="http://schemas.openxmlformats.org/officeDocument/2006/relationships/tags" Target="../tags/tag1721.xml"/><Relationship Id="rId7" Type="http://schemas.openxmlformats.org/officeDocument/2006/relationships/tags" Target="../tags/tag1725.xml"/><Relationship Id="rId2" Type="http://schemas.openxmlformats.org/officeDocument/2006/relationships/tags" Target="../tags/tag1720.xml"/><Relationship Id="rId1" Type="http://schemas.openxmlformats.org/officeDocument/2006/relationships/vmlDrawing" Target="../drawings/vmlDrawing225.vml"/><Relationship Id="rId6" Type="http://schemas.openxmlformats.org/officeDocument/2006/relationships/tags" Target="../tags/tag1724.xml"/><Relationship Id="rId5" Type="http://schemas.openxmlformats.org/officeDocument/2006/relationships/tags" Target="../tags/tag1723.xml"/><Relationship Id="rId10" Type="http://schemas.openxmlformats.org/officeDocument/2006/relationships/image" Target="../media/image1.emf"/><Relationship Id="rId4" Type="http://schemas.openxmlformats.org/officeDocument/2006/relationships/tags" Target="../tags/tag1722.xml"/><Relationship Id="rId9" Type="http://schemas.openxmlformats.org/officeDocument/2006/relationships/oleObject" Target="../embeddings/oleObject225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10" Type="http://schemas.openxmlformats.org/officeDocument/2006/relationships/image" Target="../media/image2.emf"/><Relationship Id="rId4" Type="http://schemas.openxmlformats.org/officeDocument/2006/relationships/tags" Target="../tags/tag177.xml"/><Relationship Id="rId9" Type="http://schemas.openxmlformats.org/officeDocument/2006/relationships/oleObject" Target="../embeddings/oleObject22.bin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7.bin"/><Relationship Id="rId3" Type="http://schemas.openxmlformats.org/officeDocument/2006/relationships/tags" Target="../tags/tag1755.xml"/><Relationship Id="rId7" Type="http://schemas.openxmlformats.org/officeDocument/2006/relationships/slideMaster" Target="../slideMasters/slideMaster13.xml"/><Relationship Id="rId2" Type="http://schemas.openxmlformats.org/officeDocument/2006/relationships/tags" Target="../tags/tag1754.xml"/><Relationship Id="rId1" Type="http://schemas.openxmlformats.org/officeDocument/2006/relationships/vmlDrawing" Target="../drawings/vmlDrawing227.vml"/><Relationship Id="rId6" Type="http://schemas.openxmlformats.org/officeDocument/2006/relationships/tags" Target="../tags/tag1758.xml"/><Relationship Id="rId5" Type="http://schemas.openxmlformats.org/officeDocument/2006/relationships/tags" Target="../tags/tag1757.xml"/><Relationship Id="rId4" Type="http://schemas.openxmlformats.org/officeDocument/2006/relationships/tags" Target="../tags/tag1756.xml"/><Relationship Id="rId9" Type="http://schemas.openxmlformats.org/officeDocument/2006/relationships/image" Target="../media/image2.emf"/></Relationships>
</file>

<file path=ppt/slideLayouts/_rels/slideLayout221.xml.rels><?xml version="1.0" encoding="UTF-8" standalone="yes"?>
<Relationships xmlns="http://schemas.openxmlformats.org/package/2006/relationships"><Relationship Id="rId8" Type="http://schemas.openxmlformats.org/officeDocument/2006/relationships/tags" Target="../tags/tag1765.xml"/><Relationship Id="rId3" Type="http://schemas.openxmlformats.org/officeDocument/2006/relationships/tags" Target="../tags/tag1760.xml"/><Relationship Id="rId7" Type="http://schemas.openxmlformats.org/officeDocument/2006/relationships/tags" Target="../tags/tag1764.xml"/><Relationship Id="rId2" Type="http://schemas.openxmlformats.org/officeDocument/2006/relationships/tags" Target="../tags/tag1759.xml"/><Relationship Id="rId1" Type="http://schemas.openxmlformats.org/officeDocument/2006/relationships/vmlDrawing" Target="../drawings/vmlDrawing228.vml"/><Relationship Id="rId6" Type="http://schemas.openxmlformats.org/officeDocument/2006/relationships/tags" Target="../tags/tag1763.xml"/><Relationship Id="rId11" Type="http://schemas.openxmlformats.org/officeDocument/2006/relationships/image" Target="../media/image1.emf"/><Relationship Id="rId5" Type="http://schemas.openxmlformats.org/officeDocument/2006/relationships/tags" Target="../tags/tag1762.xml"/><Relationship Id="rId10" Type="http://schemas.openxmlformats.org/officeDocument/2006/relationships/oleObject" Target="../embeddings/oleObject228.bin"/><Relationship Id="rId4" Type="http://schemas.openxmlformats.org/officeDocument/2006/relationships/tags" Target="../tags/tag1761.xml"/><Relationship Id="rId9" Type="http://schemas.openxmlformats.org/officeDocument/2006/relationships/slideMaster" Target="../slideMasters/slideMaster13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767.xml"/><Relationship Id="rId7" Type="http://schemas.openxmlformats.org/officeDocument/2006/relationships/tags" Target="../tags/tag1771.xml"/><Relationship Id="rId2" Type="http://schemas.openxmlformats.org/officeDocument/2006/relationships/tags" Target="../tags/tag1766.xml"/><Relationship Id="rId1" Type="http://schemas.openxmlformats.org/officeDocument/2006/relationships/vmlDrawing" Target="../drawings/vmlDrawing229.vml"/><Relationship Id="rId6" Type="http://schemas.openxmlformats.org/officeDocument/2006/relationships/tags" Target="../tags/tag1770.xml"/><Relationship Id="rId5" Type="http://schemas.openxmlformats.org/officeDocument/2006/relationships/tags" Target="../tags/tag1769.xml"/><Relationship Id="rId10" Type="http://schemas.openxmlformats.org/officeDocument/2006/relationships/image" Target="../media/image2.emf"/><Relationship Id="rId4" Type="http://schemas.openxmlformats.org/officeDocument/2006/relationships/tags" Target="../tags/tag1768.xml"/><Relationship Id="rId9" Type="http://schemas.openxmlformats.org/officeDocument/2006/relationships/oleObject" Target="../embeddings/oleObject229.bin"/></Relationships>
</file>

<file path=ppt/slideLayouts/_rels/slideLayout2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773.xml"/><Relationship Id="rId7" Type="http://schemas.openxmlformats.org/officeDocument/2006/relationships/tags" Target="../tags/tag1777.xml"/><Relationship Id="rId2" Type="http://schemas.openxmlformats.org/officeDocument/2006/relationships/tags" Target="../tags/tag1772.xml"/><Relationship Id="rId1" Type="http://schemas.openxmlformats.org/officeDocument/2006/relationships/vmlDrawing" Target="../drawings/vmlDrawing230.vml"/><Relationship Id="rId6" Type="http://schemas.openxmlformats.org/officeDocument/2006/relationships/tags" Target="../tags/tag1776.xml"/><Relationship Id="rId5" Type="http://schemas.openxmlformats.org/officeDocument/2006/relationships/tags" Target="../tags/tag1775.xml"/><Relationship Id="rId10" Type="http://schemas.openxmlformats.org/officeDocument/2006/relationships/image" Target="../media/image2.emf"/><Relationship Id="rId4" Type="http://schemas.openxmlformats.org/officeDocument/2006/relationships/tags" Target="../tags/tag1774.xml"/><Relationship Id="rId9" Type="http://schemas.openxmlformats.org/officeDocument/2006/relationships/oleObject" Target="../embeddings/oleObject230.bin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779.xml"/><Relationship Id="rId7" Type="http://schemas.openxmlformats.org/officeDocument/2006/relationships/tags" Target="../tags/tag1783.xml"/><Relationship Id="rId2" Type="http://schemas.openxmlformats.org/officeDocument/2006/relationships/tags" Target="../tags/tag1778.xml"/><Relationship Id="rId1" Type="http://schemas.openxmlformats.org/officeDocument/2006/relationships/vmlDrawing" Target="../drawings/vmlDrawing231.vml"/><Relationship Id="rId6" Type="http://schemas.openxmlformats.org/officeDocument/2006/relationships/tags" Target="../tags/tag1782.xml"/><Relationship Id="rId5" Type="http://schemas.openxmlformats.org/officeDocument/2006/relationships/tags" Target="../tags/tag1781.xml"/><Relationship Id="rId10" Type="http://schemas.openxmlformats.org/officeDocument/2006/relationships/image" Target="../media/image2.emf"/><Relationship Id="rId4" Type="http://schemas.openxmlformats.org/officeDocument/2006/relationships/tags" Target="../tags/tag1780.xml"/><Relationship Id="rId9" Type="http://schemas.openxmlformats.org/officeDocument/2006/relationships/oleObject" Target="../embeddings/oleObject231.bin"/></Relationships>
</file>

<file path=ppt/slideLayouts/_rels/slideLayout225.xml.rels><?xml version="1.0" encoding="UTF-8" standalone="yes"?>
<Relationships xmlns="http://schemas.openxmlformats.org/package/2006/relationships"><Relationship Id="rId8" Type="http://schemas.openxmlformats.org/officeDocument/2006/relationships/tags" Target="../tags/tag1790.xml"/><Relationship Id="rId3" Type="http://schemas.openxmlformats.org/officeDocument/2006/relationships/tags" Target="../tags/tag1785.xml"/><Relationship Id="rId7" Type="http://schemas.openxmlformats.org/officeDocument/2006/relationships/tags" Target="../tags/tag1789.xml"/><Relationship Id="rId2" Type="http://schemas.openxmlformats.org/officeDocument/2006/relationships/tags" Target="../tags/tag1784.xml"/><Relationship Id="rId1" Type="http://schemas.openxmlformats.org/officeDocument/2006/relationships/vmlDrawing" Target="../drawings/vmlDrawing232.vml"/><Relationship Id="rId6" Type="http://schemas.openxmlformats.org/officeDocument/2006/relationships/tags" Target="../tags/tag1788.xml"/><Relationship Id="rId11" Type="http://schemas.openxmlformats.org/officeDocument/2006/relationships/image" Target="../media/image2.emf"/><Relationship Id="rId5" Type="http://schemas.openxmlformats.org/officeDocument/2006/relationships/tags" Target="../tags/tag1787.xml"/><Relationship Id="rId10" Type="http://schemas.openxmlformats.org/officeDocument/2006/relationships/oleObject" Target="../embeddings/oleObject232.bin"/><Relationship Id="rId4" Type="http://schemas.openxmlformats.org/officeDocument/2006/relationships/tags" Target="../tags/tag1786.xml"/><Relationship Id="rId9" Type="http://schemas.openxmlformats.org/officeDocument/2006/relationships/slideMaster" Target="../slideMasters/slideMaster13.xml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tags" Target="../tags/tag1797.xml"/><Relationship Id="rId3" Type="http://schemas.openxmlformats.org/officeDocument/2006/relationships/tags" Target="../tags/tag1792.xml"/><Relationship Id="rId7" Type="http://schemas.openxmlformats.org/officeDocument/2006/relationships/tags" Target="../tags/tag1796.xml"/><Relationship Id="rId12" Type="http://schemas.openxmlformats.org/officeDocument/2006/relationships/image" Target="../media/image1.emf"/><Relationship Id="rId2" Type="http://schemas.openxmlformats.org/officeDocument/2006/relationships/tags" Target="../tags/tag1791.xml"/><Relationship Id="rId1" Type="http://schemas.openxmlformats.org/officeDocument/2006/relationships/vmlDrawing" Target="../drawings/vmlDrawing233.vml"/><Relationship Id="rId6" Type="http://schemas.openxmlformats.org/officeDocument/2006/relationships/tags" Target="../tags/tag1795.xml"/><Relationship Id="rId11" Type="http://schemas.openxmlformats.org/officeDocument/2006/relationships/oleObject" Target="../embeddings/oleObject233.bin"/><Relationship Id="rId5" Type="http://schemas.openxmlformats.org/officeDocument/2006/relationships/tags" Target="../tags/tag1794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1793.xml"/><Relationship Id="rId9" Type="http://schemas.openxmlformats.org/officeDocument/2006/relationships/tags" Target="../tags/tag1798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tags" Target="../tags/tag1805.xml"/><Relationship Id="rId3" Type="http://schemas.openxmlformats.org/officeDocument/2006/relationships/tags" Target="../tags/tag1800.xml"/><Relationship Id="rId7" Type="http://schemas.openxmlformats.org/officeDocument/2006/relationships/tags" Target="../tags/tag1804.xml"/><Relationship Id="rId12" Type="http://schemas.openxmlformats.org/officeDocument/2006/relationships/image" Target="../media/image1.emf"/><Relationship Id="rId2" Type="http://schemas.openxmlformats.org/officeDocument/2006/relationships/tags" Target="../tags/tag1799.xml"/><Relationship Id="rId1" Type="http://schemas.openxmlformats.org/officeDocument/2006/relationships/vmlDrawing" Target="../drawings/vmlDrawing234.vml"/><Relationship Id="rId6" Type="http://schemas.openxmlformats.org/officeDocument/2006/relationships/tags" Target="../tags/tag1803.xml"/><Relationship Id="rId11" Type="http://schemas.openxmlformats.org/officeDocument/2006/relationships/oleObject" Target="../embeddings/oleObject234.bin"/><Relationship Id="rId5" Type="http://schemas.openxmlformats.org/officeDocument/2006/relationships/tags" Target="../tags/tag1802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1801.xml"/><Relationship Id="rId9" Type="http://schemas.openxmlformats.org/officeDocument/2006/relationships/tags" Target="../tags/tag1806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tags" Target="../tags/tag1813.xml"/><Relationship Id="rId3" Type="http://schemas.openxmlformats.org/officeDocument/2006/relationships/tags" Target="../tags/tag1808.xml"/><Relationship Id="rId7" Type="http://schemas.openxmlformats.org/officeDocument/2006/relationships/tags" Target="../tags/tag1812.xml"/><Relationship Id="rId12" Type="http://schemas.openxmlformats.org/officeDocument/2006/relationships/image" Target="../media/image1.emf"/><Relationship Id="rId2" Type="http://schemas.openxmlformats.org/officeDocument/2006/relationships/tags" Target="../tags/tag1807.xml"/><Relationship Id="rId1" Type="http://schemas.openxmlformats.org/officeDocument/2006/relationships/vmlDrawing" Target="../drawings/vmlDrawing235.vml"/><Relationship Id="rId6" Type="http://schemas.openxmlformats.org/officeDocument/2006/relationships/tags" Target="../tags/tag1811.xml"/><Relationship Id="rId11" Type="http://schemas.openxmlformats.org/officeDocument/2006/relationships/oleObject" Target="../embeddings/oleObject235.bin"/><Relationship Id="rId5" Type="http://schemas.openxmlformats.org/officeDocument/2006/relationships/tags" Target="../tags/tag1810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1809.xml"/><Relationship Id="rId9" Type="http://schemas.openxmlformats.org/officeDocument/2006/relationships/tags" Target="../tags/tag1814.xml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tags" Target="../tags/tag1821.xml"/><Relationship Id="rId3" Type="http://schemas.openxmlformats.org/officeDocument/2006/relationships/tags" Target="../tags/tag1816.xml"/><Relationship Id="rId7" Type="http://schemas.openxmlformats.org/officeDocument/2006/relationships/tags" Target="../tags/tag1820.xml"/><Relationship Id="rId12" Type="http://schemas.openxmlformats.org/officeDocument/2006/relationships/image" Target="../media/image3.emf"/><Relationship Id="rId2" Type="http://schemas.openxmlformats.org/officeDocument/2006/relationships/tags" Target="../tags/tag1815.xml"/><Relationship Id="rId1" Type="http://schemas.openxmlformats.org/officeDocument/2006/relationships/vmlDrawing" Target="../drawings/vmlDrawing236.vml"/><Relationship Id="rId6" Type="http://schemas.openxmlformats.org/officeDocument/2006/relationships/tags" Target="../tags/tag1819.xml"/><Relationship Id="rId11" Type="http://schemas.openxmlformats.org/officeDocument/2006/relationships/oleObject" Target="../embeddings/oleObject236.bin"/><Relationship Id="rId5" Type="http://schemas.openxmlformats.org/officeDocument/2006/relationships/tags" Target="../tags/tag1818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1817.xml"/><Relationship Id="rId9" Type="http://schemas.openxmlformats.org/officeDocument/2006/relationships/tags" Target="../tags/tag182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2.xml"/><Relationship Id="rId7" Type="http://schemas.openxmlformats.org/officeDocument/2006/relationships/tags" Target="../tags/tag186.xml"/><Relationship Id="rId2" Type="http://schemas.openxmlformats.org/officeDocument/2006/relationships/tags" Target="../tags/tag18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85.xml"/><Relationship Id="rId5" Type="http://schemas.openxmlformats.org/officeDocument/2006/relationships/tags" Target="../tags/tag184.xml"/><Relationship Id="rId10" Type="http://schemas.openxmlformats.org/officeDocument/2006/relationships/image" Target="../media/image2.emf"/><Relationship Id="rId4" Type="http://schemas.openxmlformats.org/officeDocument/2006/relationships/tags" Target="../tags/tag183.xml"/><Relationship Id="rId9" Type="http://schemas.openxmlformats.org/officeDocument/2006/relationships/oleObject" Target="../embeddings/oleObject23.bin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tags" Target="../tags/tag1829.xml"/><Relationship Id="rId3" Type="http://schemas.openxmlformats.org/officeDocument/2006/relationships/tags" Target="../tags/tag1824.xml"/><Relationship Id="rId7" Type="http://schemas.openxmlformats.org/officeDocument/2006/relationships/tags" Target="../tags/tag1828.xml"/><Relationship Id="rId12" Type="http://schemas.openxmlformats.org/officeDocument/2006/relationships/image" Target="../media/image1.emf"/><Relationship Id="rId2" Type="http://schemas.openxmlformats.org/officeDocument/2006/relationships/tags" Target="../tags/tag1823.xml"/><Relationship Id="rId1" Type="http://schemas.openxmlformats.org/officeDocument/2006/relationships/vmlDrawing" Target="../drawings/vmlDrawing237.vml"/><Relationship Id="rId6" Type="http://schemas.openxmlformats.org/officeDocument/2006/relationships/tags" Target="../tags/tag1827.xml"/><Relationship Id="rId11" Type="http://schemas.openxmlformats.org/officeDocument/2006/relationships/oleObject" Target="../embeddings/oleObject237.bin"/><Relationship Id="rId5" Type="http://schemas.openxmlformats.org/officeDocument/2006/relationships/tags" Target="../tags/tag1826.xml"/><Relationship Id="rId10" Type="http://schemas.openxmlformats.org/officeDocument/2006/relationships/slideMaster" Target="../slideMasters/slideMaster13.xml"/><Relationship Id="rId4" Type="http://schemas.openxmlformats.org/officeDocument/2006/relationships/tags" Target="../tags/tag1825.xml"/><Relationship Id="rId9" Type="http://schemas.openxmlformats.org/officeDocument/2006/relationships/tags" Target="../tags/tag1830.xml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832.xml"/><Relationship Id="rId7" Type="http://schemas.openxmlformats.org/officeDocument/2006/relationships/tags" Target="../tags/tag1836.xml"/><Relationship Id="rId2" Type="http://schemas.openxmlformats.org/officeDocument/2006/relationships/tags" Target="../tags/tag1831.xml"/><Relationship Id="rId1" Type="http://schemas.openxmlformats.org/officeDocument/2006/relationships/vmlDrawing" Target="../drawings/vmlDrawing238.vml"/><Relationship Id="rId6" Type="http://schemas.openxmlformats.org/officeDocument/2006/relationships/tags" Target="../tags/tag1835.xml"/><Relationship Id="rId5" Type="http://schemas.openxmlformats.org/officeDocument/2006/relationships/tags" Target="../tags/tag1834.xml"/><Relationship Id="rId10" Type="http://schemas.openxmlformats.org/officeDocument/2006/relationships/image" Target="../media/image2.emf"/><Relationship Id="rId4" Type="http://schemas.openxmlformats.org/officeDocument/2006/relationships/tags" Target="../tags/tag1833.xml"/><Relationship Id="rId9" Type="http://schemas.openxmlformats.org/officeDocument/2006/relationships/oleObject" Target="../embeddings/oleObject238.bin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38.xml"/><Relationship Id="rId7" Type="http://schemas.openxmlformats.org/officeDocument/2006/relationships/oleObject" Target="../embeddings/oleObject239.bin"/><Relationship Id="rId2" Type="http://schemas.openxmlformats.org/officeDocument/2006/relationships/tags" Target="../tags/tag1837.xml"/><Relationship Id="rId1" Type="http://schemas.openxmlformats.org/officeDocument/2006/relationships/vmlDrawing" Target="../drawings/vmlDrawing239.vml"/><Relationship Id="rId6" Type="http://schemas.openxmlformats.org/officeDocument/2006/relationships/slideMaster" Target="../slideMasters/slideMaster13.xml"/><Relationship Id="rId5" Type="http://schemas.openxmlformats.org/officeDocument/2006/relationships/tags" Target="../tags/tag1840.xml"/><Relationship Id="rId4" Type="http://schemas.openxmlformats.org/officeDocument/2006/relationships/tags" Target="../tags/tag1839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1842.xml"/><Relationship Id="rId2" Type="http://schemas.openxmlformats.org/officeDocument/2006/relationships/tags" Target="../tags/tag1841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40.bin"/><Relationship Id="rId4" Type="http://schemas.openxmlformats.org/officeDocument/2006/relationships/slideMaster" Target="../slideMasters/slideMaster13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43.xml"/><Relationship Id="rId1" Type="http://schemas.openxmlformats.org/officeDocument/2006/relationships/vmlDrawing" Target="../drawings/vmlDrawing24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1.bin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tags" Target="../tags/tag1850.xml"/><Relationship Id="rId13" Type="http://schemas.openxmlformats.org/officeDocument/2006/relationships/oleObject" Target="../embeddings/oleObject242.bin"/><Relationship Id="rId3" Type="http://schemas.openxmlformats.org/officeDocument/2006/relationships/tags" Target="../tags/tag1845.xml"/><Relationship Id="rId7" Type="http://schemas.openxmlformats.org/officeDocument/2006/relationships/tags" Target="../tags/tag1849.xml"/><Relationship Id="rId12" Type="http://schemas.openxmlformats.org/officeDocument/2006/relationships/slideMaster" Target="../slideMasters/slideMaster13.xml"/><Relationship Id="rId2" Type="http://schemas.openxmlformats.org/officeDocument/2006/relationships/tags" Target="../tags/tag1844.xml"/><Relationship Id="rId1" Type="http://schemas.openxmlformats.org/officeDocument/2006/relationships/vmlDrawing" Target="../drawings/vmlDrawing242.vml"/><Relationship Id="rId6" Type="http://schemas.openxmlformats.org/officeDocument/2006/relationships/tags" Target="../tags/tag1848.xml"/><Relationship Id="rId11" Type="http://schemas.openxmlformats.org/officeDocument/2006/relationships/tags" Target="../tags/tag1853.xml"/><Relationship Id="rId5" Type="http://schemas.openxmlformats.org/officeDocument/2006/relationships/tags" Target="../tags/tag1847.xml"/><Relationship Id="rId10" Type="http://schemas.openxmlformats.org/officeDocument/2006/relationships/tags" Target="../tags/tag1852.xml"/><Relationship Id="rId4" Type="http://schemas.openxmlformats.org/officeDocument/2006/relationships/tags" Target="../tags/tag1846.xml"/><Relationship Id="rId9" Type="http://schemas.openxmlformats.org/officeDocument/2006/relationships/tags" Target="../tags/tag1851.xml"/><Relationship Id="rId14" Type="http://schemas.openxmlformats.org/officeDocument/2006/relationships/image" Target="../media/image1.emf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tags" Target="../tags/tag1860.xml"/><Relationship Id="rId3" Type="http://schemas.openxmlformats.org/officeDocument/2006/relationships/tags" Target="../tags/tag1855.xml"/><Relationship Id="rId7" Type="http://schemas.openxmlformats.org/officeDocument/2006/relationships/tags" Target="../tags/tag1859.xml"/><Relationship Id="rId2" Type="http://schemas.openxmlformats.org/officeDocument/2006/relationships/tags" Target="../tags/tag1854.xml"/><Relationship Id="rId1" Type="http://schemas.openxmlformats.org/officeDocument/2006/relationships/vmlDrawing" Target="../drawings/vmlDrawing243.vml"/><Relationship Id="rId6" Type="http://schemas.openxmlformats.org/officeDocument/2006/relationships/tags" Target="../tags/tag1858.xml"/><Relationship Id="rId11" Type="http://schemas.openxmlformats.org/officeDocument/2006/relationships/image" Target="../media/image1.emf"/><Relationship Id="rId5" Type="http://schemas.openxmlformats.org/officeDocument/2006/relationships/tags" Target="../tags/tag1857.xml"/><Relationship Id="rId10" Type="http://schemas.openxmlformats.org/officeDocument/2006/relationships/oleObject" Target="../embeddings/oleObject243.bin"/><Relationship Id="rId4" Type="http://schemas.openxmlformats.org/officeDocument/2006/relationships/tags" Target="../tags/tag1856.xml"/><Relationship Id="rId9" Type="http://schemas.openxmlformats.org/officeDocument/2006/relationships/slideMaster" Target="../slideMasters/slideMaster13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861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44.bin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863.xml"/><Relationship Id="rId7" Type="http://schemas.openxmlformats.org/officeDocument/2006/relationships/tags" Target="../tags/tag1867.xml"/><Relationship Id="rId2" Type="http://schemas.openxmlformats.org/officeDocument/2006/relationships/tags" Target="../tags/tag1862.xml"/><Relationship Id="rId1" Type="http://schemas.openxmlformats.org/officeDocument/2006/relationships/vmlDrawing" Target="../drawings/vmlDrawing245.vml"/><Relationship Id="rId6" Type="http://schemas.openxmlformats.org/officeDocument/2006/relationships/tags" Target="../tags/tag1866.xml"/><Relationship Id="rId5" Type="http://schemas.openxmlformats.org/officeDocument/2006/relationships/tags" Target="../tags/tag1865.xml"/><Relationship Id="rId10" Type="http://schemas.openxmlformats.org/officeDocument/2006/relationships/image" Target="../media/image1.emf"/><Relationship Id="rId4" Type="http://schemas.openxmlformats.org/officeDocument/2006/relationships/tags" Target="../tags/tag1864.xml"/><Relationship Id="rId9" Type="http://schemas.openxmlformats.org/officeDocument/2006/relationships/oleObject" Target="../embeddings/oleObject245.bin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869.xml"/><Relationship Id="rId7" Type="http://schemas.openxmlformats.org/officeDocument/2006/relationships/tags" Target="../tags/tag1873.xml"/><Relationship Id="rId2" Type="http://schemas.openxmlformats.org/officeDocument/2006/relationships/tags" Target="../tags/tag1868.xml"/><Relationship Id="rId1" Type="http://schemas.openxmlformats.org/officeDocument/2006/relationships/vmlDrawing" Target="../drawings/vmlDrawing246.vml"/><Relationship Id="rId6" Type="http://schemas.openxmlformats.org/officeDocument/2006/relationships/tags" Target="../tags/tag1872.xml"/><Relationship Id="rId5" Type="http://schemas.openxmlformats.org/officeDocument/2006/relationships/tags" Target="../tags/tag1871.xml"/><Relationship Id="rId10" Type="http://schemas.openxmlformats.org/officeDocument/2006/relationships/image" Target="../media/image1.emf"/><Relationship Id="rId4" Type="http://schemas.openxmlformats.org/officeDocument/2006/relationships/tags" Target="../tags/tag1870.xml"/><Relationship Id="rId9" Type="http://schemas.openxmlformats.org/officeDocument/2006/relationships/oleObject" Target="../embeddings/oleObject246.bin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88.xml"/><Relationship Id="rId7" Type="http://schemas.openxmlformats.org/officeDocument/2006/relationships/tags" Target="../tags/tag192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91.xml"/><Relationship Id="rId5" Type="http://schemas.openxmlformats.org/officeDocument/2006/relationships/tags" Target="../tags/tag190.xml"/><Relationship Id="rId10" Type="http://schemas.openxmlformats.org/officeDocument/2006/relationships/image" Target="../media/image2.emf"/><Relationship Id="rId4" Type="http://schemas.openxmlformats.org/officeDocument/2006/relationships/tags" Target="../tags/tag189.xml"/><Relationship Id="rId9" Type="http://schemas.openxmlformats.org/officeDocument/2006/relationships/oleObject" Target="../embeddings/oleObject24.bin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3.xml"/><Relationship Id="rId3" Type="http://schemas.openxmlformats.org/officeDocument/2006/relationships/tags" Target="../tags/tag1875.xml"/><Relationship Id="rId7" Type="http://schemas.openxmlformats.org/officeDocument/2006/relationships/tags" Target="../tags/tag1879.xml"/><Relationship Id="rId2" Type="http://schemas.openxmlformats.org/officeDocument/2006/relationships/tags" Target="../tags/tag1874.xml"/><Relationship Id="rId1" Type="http://schemas.openxmlformats.org/officeDocument/2006/relationships/vmlDrawing" Target="../drawings/vmlDrawing247.vml"/><Relationship Id="rId6" Type="http://schemas.openxmlformats.org/officeDocument/2006/relationships/tags" Target="../tags/tag1878.xml"/><Relationship Id="rId5" Type="http://schemas.openxmlformats.org/officeDocument/2006/relationships/tags" Target="../tags/tag1877.xml"/><Relationship Id="rId10" Type="http://schemas.openxmlformats.org/officeDocument/2006/relationships/image" Target="../media/image2.emf"/><Relationship Id="rId4" Type="http://schemas.openxmlformats.org/officeDocument/2006/relationships/tags" Target="../tags/tag1876.xml"/><Relationship Id="rId9" Type="http://schemas.openxmlformats.org/officeDocument/2006/relationships/oleObject" Target="../embeddings/oleObject247.bin"/></Relationships>
</file>

<file path=ppt/slideLayouts/_rels/slideLayout2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9.bin"/><Relationship Id="rId3" Type="http://schemas.openxmlformats.org/officeDocument/2006/relationships/tags" Target="../tags/tag1909.xml"/><Relationship Id="rId7" Type="http://schemas.openxmlformats.org/officeDocument/2006/relationships/slideMaster" Target="../slideMasters/slideMaster14.xml"/><Relationship Id="rId2" Type="http://schemas.openxmlformats.org/officeDocument/2006/relationships/tags" Target="../tags/tag1908.xml"/><Relationship Id="rId1" Type="http://schemas.openxmlformats.org/officeDocument/2006/relationships/vmlDrawing" Target="../drawings/vmlDrawing249.vml"/><Relationship Id="rId6" Type="http://schemas.openxmlformats.org/officeDocument/2006/relationships/tags" Target="../tags/tag1912.xml"/><Relationship Id="rId5" Type="http://schemas.openxmlformats.org/officeDocument/2006/relationships/tags" Target="../tags/tag1911.xml"/><Relationship Id="rId4" Type="http://schemas.openxmlformats.org/officeDocument/2006/relationships/tags" Target="../tags/tag1910.xml"/><Relationship Id="rId9" Type="http://schemas.openxmlformats.org/officeDocument/2006/relationships/image" Target="../media/image2.emf"/></Relationships>
</file>

<file path=ppt/slideLayouts/_rels/slideLayout242.xml.rels><?xml version="1.0" encoding="UTF-8" standalone="yes"?>
<Relationships xmlns="http://schemas.openxmlformats.org/package/2006/relationships"><Relationship Id="rId8" Type="http://schemas.openxmlformats.org/officeDocument/2006/relationships/tags" Target="../tags/tag1919.xml"/><Relationship Id="rId3" Type="http://schemas.openxmlformats.org/officeDocument/2006/relationships/tags" Target="../tags/tag1914.xml"/><Relationship Id="rId7" Type="http://schemas.openxmlformats.org/officeDocument/2006/relationships/tags" Target="../tags/tag1918.xml"/><Relationship Id="rId2" Type="http://schemas.openxmlformats.org/officeDocument/2006/relationships/tags" Target="../tags/tag1913.xml"/><Relationship Id="rId1" Type="http://schemas.openxmlformats.org/officeDocument/2006/relationships/vmlDrawing" Target="../drawings/vmlDrawing250.vml"/><Relationship Id="rId6" Type="http://schemas.openxmlformats.org/officeDocument/2006/relationships/tags" Target="../tags/tag1917.xml"/><Relationship Id="rId11" Type="http://schemas.openxmlformats.org/officeDocument/2006/relationships/image" Target="../media/image1.emf"/><Relationship Id="rId5" Type="http://schemas.openxmlformats.org/officeDocument/2006/relationships/tags" Target="../tags/tag1916.xml"/><Relationship Id="rId10" Type="http://schemas.openxmlformats.org/officeDocument/2006/relationships/oleObject" Target="../embeddings/oleObject250.bin"/><Relationship Id="rId4" Type="http://schemas.openxmlformats.org/officeDocument/2006/relationships/tags" Target="../tags/tag1915.xml"/><Relationship Id="rId9" Type="http://schemas.openxmlformats.org/officeDocument/2006/relationships/slideMaster" Target="../slideMasters/slideMaster14.xml"/></Relationships>
</file>

<file path=ppt/slideLayouts/_rels/slideLayout24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1921.xml"/><Relationship Id="rId7" Type="http://schemas.openxmlformats.org/officeDocument/2006/relationships/tags" Target="../tags/tag1925.xml"/><Relationship Id="rId2" Type="http://schemas.openxmlformats.org/officeDocument/2006/relationships/tags" Target="../tags/tag1920.xml"/><Relationship Id="rId1" Type="http://schemas.openxmlformats.org/officeDocument/2006/relationships/vmlDrawing" Target="../drawings/vmlDrawing251.vml"/><Relationship Id="rId6" Type="http://schemas.openxmlformats.org/officeDocument/2006/relationships/tags" Target="../tags/tag1924.xml"/><Relationship Id="rId5" Type="http://schemas.openxmlformats.org/officeDocument/2006/relationships/tags" Target="../tags/tag1923.xml"/><Relationship Id="rId10" Type="http://schemas.openxmlformats.org/officeDocument/2006/relationships/image" Target="../media/image2.emf"/><Relationship Id="rId4" Type="http://schemas.openxmlformats.org/officeDocument/2006/relationships/tags" Target="../tags/tag1922.xml"/><Relationship Id="rId9" Type="http://schemas.openxmlformats.org/officeDocument/2006/relationships/oleObject" Target="../embeddings/oleObject251.bin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1927.xml"/><Relationship Id="rId7" Type="http://schemas.openxmlformats.org/officeDocument/2006/relationships/tags" Target="../tags/tag1931.xml"/><Relationship Id="rId2" Type="http://schemas.openxmlformats.org/officeDocument/2006/relationships/tags" Target="../tags/tag1926.xml"/><Relationship Id="rId1" Type="http://schemas.openxmlformats.org/officeDocument/2006/relationships/vmlDrawing" Target="../drawings/vmlDrawing252.vml"/><Relationship Id="rId6" Type="http://schemas.openxmlformats.org/officeDocument/2006/relationships/tags" Target="../tags/tag1930.xml"/><Relationship Id="rId5" Type="http://schemas.openxmlformats.org/officeDocument/2006/relationships/tags" Target="../tags/tag1929.xml"/><Relationship Id="rId10" Type="http://schemas.openxmlformats.org/officeDocument/2006/relationships/image" Target="../media/image2.emf"/><Relationship Id="rId4" Type="http://schemas.openxmlformats.org/officeDocument/2006/relationships/tags" Target="../tags/tag1928.xml"/><Relationship Id="rId9" Type="http://schemas.openxmlformats.org/officeDocument/2006/relationships/oleObject" Target="../embeddings/oleObject252.bin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1933.xml"/><Relationship Id="rId7" Type="http://schemas.openxmlformats.org/officeDocument/2006/relationships/tags" Target="../tags/tag1937.xml"/><Relationship Id="rId2" Type="http://schemas.openxmlformats.org/officeDocument/2006/relationships/tags" Target="../tags/tag1932.xml"/><Relationship Id="rId1" Type="http://schemas.openxmlformats.org/officeDocument/2006/relationships/vmlDrawing" Target="../drawings/vmlDrawing253.vml"/><Relationship Id="rId6" Type="http://schemas.openxmlformats.org/officeDocument/2006/relationships/tags" Target="../tags/tag1936.xml"/><Relationship Id="rId5" Type="http://schemas.openxmlformats.org/officeDocument/2006/relationships/tags" Target="../tags/tag1935.xml"/><Relationship Id="rId10" Type="http://schemas.openxmlformats.org/officeDocument/2006/relationships/image" Target="../media/image2.emf"/><Relationship Id="rId4" Type="http://schemas.openxmlformats.org/officeDocument/2006/relationships/tags" Target="../tags/tag1934.xml"/><Relationship Id="rId9" Type="http://schemas.openxmlformats.org/officeDocument/2006/relationships/oleObject" Target="../embeddings/oleObject253.bin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tags" Target="../tags/tag1944.xml"/><Relationship Id="rId3" Type="http://schemas.openxmlformats.org/officeDocument/2006/relationships/tags" Target="../tags/tag1939.xml"/><Relationship Id="rId7" Type="http://schemas.openxmlformats.org/officeDocument/2006/relationships/tags" Target="../tags/tag1943.xml"/><Relationship Id="rId2" Type="http://schemas.openxmlformats.org/officeDocument/2006/relationships/tags" Target="../tags/tag1938.xml"/><Relationship Id="rId1" Type="http://schemas.openxmlformats.org/officeDocument/2006/relationships/vmlDrawing" Target="../drawings/vmlDrawing254.vml"/><Relationship Id="rId6" Type="http://schemas.openxmlformats.org/officeDocument/2006/relationships/tags" Target="../tags/tag1942.xml"/><Relationship Id="rId11" Type="http://schemas.openxmlformats.org/officeDocument/2006/relationships/image" Target="../media/image2.emf"/><Relationship Id="rId5" Type="http://schemas.openxmlformats.org/officeDocument/2006/relationships/tags" Target="../tags/tag1941.xml"/><Relationship Id="rId10" Type="http://schemas.openxmlformats.org/officeDocument/2006/relationships/oleObject" Target="../embeddings/oleObject254.bin"/><Relationship Id="rId4" Type="http://schemas.openxmlformats.org/officeDocument/2006/relationships/tags" Target="../tags/tag1940.xml"/><Relationship Id="rId9" Type="http://schemas.openxmlformats.org/officeDocument/2006/relationships/slideMaster" Target="../slideMasters/slideMaster14.xml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tags" Target="../tags/tag1951.xml"/><Relationship Id="rId3" Type="http://schemas.openxmlformats.org/officeDocument/2006/relationships/tags" Target="../tags/tag1946.xml"/><Relationship Id="rId7" Type="http://schemas.openxmlformats.org/officeDocument/2006/relationships/tags" Target="../tags/tag1950.xml"/><Relationship Id="rId12" Type="http://schemas.openxmlformats.org/officeDocument/2006/relationships/image" Target="../media/image1.emf"/><Relationship Id="rId2" Type="http://schemas.openxmlformats.org/officeDocument/2006/relationships/tags" Target="../tags/tag1945.xml"/><Relationship Id="rId1" Type="http://schemas.openxmlformats.org/officeDocument/2006/relationships/vmlDrawing" Target="../drawings/vmlDrawing255.vml"/><Relationship Id="rId6" Type="http://schemas.openxmlformats.org/officeDocument/2006/relationships/tags" Target="../tags/tag1949.xml"/><Relationship Id="rId11" Type="http://schemas.openxmlformats.org/officeDocument/2006/relationships/oleObject" Target="../embeddings/oleObject255.bin"/><Relationship Id="rId5" Type="http://schemas.openxmlformats.org/officeDocument/2006/relationships/tags" Target="../tags/tag1948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947.xml"/><Relationship Id="rId9" Type="http://schemas.openxmlformats.org/officeDocument/2006/relationships/tags" Target="../tags/tag1952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tags" Target="../tags/tag1959.xml"/><Relationship Id="rId3" Type="http://schemas.openxmlformats.org/officeDocument/2006/relationships/tags" Target="../tags/tag1954.xml"/><Relationship Id="rId7" Type="http://schemas.openxmlformats.org/officeDocument/2006/relationships/tags" Target="../tags/tag1958.xml"/><Relationship Id="rId12" Type="http://schemas.openxmlformats.org/officeDocument/2006/relationships/image" Target="../media/image1.emf"/><Relationship Id="rId2" Type="http://schemas.openxmlformats.org/officeDocument/2006/relationships/tags" Target="../tags/tag1953.xml"/><Relationship Id="rId1" Type="http://schemas.openxmlformats.org/officeDocument/2006/relationships/vmlDrawing" Target="../drawings/vmlDrawing256.vml"/><Relationship Id="rId6" Type="http://schemas.openxmlformats.org/officeDocument/2006/relationships/tags" Target="../tags/tag1957.xml"/><Relationship Id="rId11" Type="http://schemas.openxmlformats.org/officeDocument/2006/relationships/oleObject" Target="../embeddings/oleObject256.bin"/><Relationship Id="rId5" Type="http://schemas.openxmlformats.org/officeDocument/2006/relationships/tags" Target="../tags/tag1956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955.xml"/><Relationship Id="rId9" Type="http://schemas.openxmlformats.org/officeDocument/2006/relationships/tags" Target="../tags/tag1960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tags" Target="../tags/tag1967.xml"/><Relationship Id="rId3" Type="http://schemas.openxmlformats.org/officeDocument/2006/relationships/tags" Target="../tags/tag1962.xml"/><Relationship Id="rId7" Type="http://schemas.openxmlformats.org/officeDocument/2006/relationships/tags" Target="../tags/tag1966.xml"/><Relationship Id="rId12" Type="http://schemas.openxmlformats.org/officeDocument/2006/relationships/image" Target="../media/image1.emf"/><Relationship Id="rId2" Type="http://schemas.openxmlformats.org/officeDocument/2006/relationships/tags" Target="../tags/tag1961.xml"/><Relationship Id="rId1" Type="http://schemas.openxmlformats.org/officeDocument/2006/relationships/vmlDrawing" Target="../drawings/vmlDrawing257.vml"/><Relationship Id="rId6" Type="http://schemas.openxmlformats.org/officeDocument/2006/relationships/tags" Target="../tags/tag1965.xml"/><Relationship Id="rId11" Type="http://schemas.openxmlformats.org/officeDocument/2006/relationships/oleObject" Target="../embeddings/oleObject257.bin"/><Relationship Id="rId5" Type="http://schemas.openxmlformats.org/officeDocument/2006/relationships/tags" Target="../tags/tag1964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963.xml"/><Relationship Id="rId9" Type="http://schemas.openxmlformats.org/officeDocument/2006/relationships/tags" Target="../tags/tag1968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97.xml"/><Relationship Id="rId11" Type="http://schemas.openxmlformats.org/officeDocument/2006/relationships/image" Target="../media/image2.emf"/><Relationship Id="rId5" Type="http://schemas.openxmlformats.org/officeDocument/2006/relationships/tags" Target="../tags/tag196.xml"/><Relationship Id="rId10" Type="http://schemas.openxmlformats.org/officeDocument/2006/relationships/oleObject" Target="../embeddings/oleObject25.bin"/><Relationship Id="rId4" Type="http://schemas.openxmlformats.org/officeDocument/2006/relationships/tags" Target="../tags/tag195.xml"/><Relationship Id="rId9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8" Type="http://schemas.openxmlformats.org/officeDocument/2006/relationships/tags" Target="../tags/tag1975.xml"/><Relationship Id="rId3" Type="http://schemas.openxmlformats.org/officeDocument/2006/relationships/tags" Target="../tags/tag1970.xml"/><Relationship Id="rId7" Type="http://schemas.openxmlformats.org/officeDocument/2006/relationships/tags" Target="../tags/tag1974.xml"/><Relationship Id="rId12" Type="http://schemas.openxmlformats.org/officeDocument/2006/relationships/image" Target="../media/image3.emf"/><Relationship Id="rId2" Type="http://schemas.openxmlformats.org/officeDocument/2006/relationships/tags" Target="../tags/tag1969.xml"/><Relationship Id="rId1" Type="http://schemas.openxmlformats.org/officeDocument/2006/relationships/vmlDrawing" Target="../drawings/vmlDrawing258.vml"/><Relationship Id="rId6" Type="http://schemas.openxmlformats.org/officeDocument/2006/relationships/tags" Target="../tags/tag1973.xml"/><Relationship Id="rId11" Type="http://schemas.openxmlformats.org/officeDocument/2006/relationships/oleObject" Target="../embeddings/oleObject258.bin"/><Relationship Id="rId5" Type="http://schemas.openxmlformats.org/officeDocument/2006/relationships/tags" Target="../tags/tag1972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971.xml"/><Relationship Id="rId9" Type="http://schemas.openxmlformats.org/officeDocument/2006/relationships/tags" Target="../tags/tag1976.xml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tags" Target="../tags/tag1983.xml"/><Relationship Id="rId3" Type="http://schemas.openxmlformats.org/officeDocument/2006/relationships/tags" Target="../tags/tag1978.xml"/><Relationship Id="rId7" Type="http://schemas.openxmlformats.org/officeDocument/2006/relationships/tags" Target="../tags/tag1982.xml"/><Relationship Id="rId12" Type="http://schemas.openxmlformats.org/officeDocument/2006/relationships/image" Target="../media/image1.emf"/><Relationship Id="rId2" Type="http://schemas.openxmlformats.org/officeDocument/2006/relationships/tags" Target="../tags/tag1977.xml"/><Relationship Id="rId1" Type="http://schemas.openxmlformats.org/officeDocument/2006/relationships/vmlDrawing" Target="../drawings/vmlDrawing259.vml"/><Relationship Id="rId6" Type="http://schemas.openxmlformats.org/officeDocument/2006/relationships/tags" Target="../tags/tag1981.xml"/><Relationship Id="rId11" Type="http://schemas.openxmlformats.org/officeDocument/2006/relationships/oleObject" Target="../embeddings/oleObject259.bin"/><Relationship Id="rId5" Type="http://schemas.openxmlformats.org/officeDocument/2006/relationships/tags" Target="../tags/tag1980.xml"/><Relationship Id="rId10" Type="http://schemas.openxmlformats.org/officeDocument/2006/relationships/slideMaster" Target="../slideMasters/slideMaster14.xml"/><Relationship Id="rId4" Type="http://schemas.openxmlformats.org/officeDocument/2006/relationships/tags" Target="../tags/tag1979.xml"/><Relationship Id="rId9" Type="http://schemas.openxmlformats.org/officeDocument/2006/relationships/tags" Target="../tags/tag1984.xml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1986.xml"/><Relationship Id="rId7" Type="http://schemas.openxmlformats.org/officeDocument/2006/relationships/tags" Target="../tags/tag1990.xml"/><Relationship Id="rId2" Type="http://schemas.openxmlformats.org/officeDocument/2006/relationships/tags" Target="../tags/tag1985.xml"/><Relationship Id="rId1" Type="http://schemas.openxmlformats.org/officeDocument/2006/relationships/vmlDrawing" Target="../drawings/vmlDrawing260.vml"/><Relationship Id="rId6" Type="http://schemas.openxmlformats.org/officeDocument/2006/relationships/tags" Target="../tags/tag1989.xml"/><Relationship Id="rId5" Type="http://schemas.openxmlformats.org/officeDocument/2006/relationships/tags" Target="../tags/tag1988.xml"/><Relationship Id="rId10" Type="http://schemas.openxmlformats.org/officeDocument/2006/relationships/image" Target="../media/image2.emf"/><Relationship Id="rId4" Type="http://schemas.openxmlformats.org/officeDocument/2006/relationships/tags" Target="../tags/tag1987.xml"/><Relationship Id="rId9" Type="http://schemas.openxmlformats.org/officeDocument/2006/relationships/oleObject" Target="../embeddings/oleObject260.bin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992.xml"/><Relationship Id="rId7" Type="http://schemas.openxmlformats.org/officeDocument/2006/relationships/oleObject" Target="../embeddings/oleObject261.bin"/><Relationship Id="rId2" Type="http://schemas.openxmlformats.org/officeDocument/2006/relationships/tags" Target="../tags/tag1991.xml"/><Relationship Id="rId1" Type="http://schemas.openxmlformats.org/officeDocument/2006/relationships/vmlDrawing" Target="../drawings/vmlDrawing261.vml"/><Relationship Id="rId6" Type="http://schemas.openxmlformats.org/officeDocument/2006/relationships/slideMaster" Target="../slideMasters/slideMaster14.xml"/><Relationship Id="rId5" Type="http://schemas.openxmlformats.org/officeDocument/2006/relationships/tags" Target="../tags/tag1994.xml"/><Relationship Id="rId4" Type="http://schemas.openxmlformats.org/officeDocument/2006/relationships/tags" Target="../tags/tag1993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tags" Target="../tags/tag1996.xml"/><Relationship Id="rId2" Type="http://schemas.openxmlformats.org/officeDocument/2006/relationships/tags" Target="../tags/tag1995.xml"/><Relationship Id="rId1" Type="http://schemas.openxmlformats.org/officeDocument/2006/relationships/vmlDrawing" Target="../drawings/vmlDrawing26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62.bin"/><Relationship Id="rId4" Type="http://schemas.openxmlformats.org/officeDocument/2006/relationships/slideMaster" Target="../slideMasters/slideMaster14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tags" Target="../tags/tag2003.xml"/><Relationship Id="rId13" Type="http://schemas.openxmlformats.org/officeDocument/2006/relationships/oleObject" Target="../embeddings/oleObject263.bin"/><Relationship Id="rId3" Type="http://schemas.openxmlformats.org/officeDocument/2006/relationships/tags" Target="../tags/tag1998.xml"/><Relationship Id="rId7" Type="http://schemas.openxmlformats.org/officeDocument/2006/relationships/tags" Target="../tags/tag2002.xml"/><Relationship Id="rId12" Type="http://schemas.openxmlformats.org/officeDocument/2006/relationships/slideMaster" Target="../slideMasters/slideMaster14.xml"/><Relationship Id="rId2" Type="http://schemas.openxmlformats.org/officeDocument/2006/relationships/tags" Target="../tags/tag1997.xml"/><Relationship Id="rId1" Type="http://schemas.openxmlformats.org/officeDocument/2006/relationships/vmlDrawing" Target="../drawings/vmlDrawing263.vml"/><Relationship Id="rId6" Type="http://schemas.openxmlformats.org/officeDocument/2006/relationships/tags" Target="../tags/tag2001.xml"/><Relationship Id="rId11" Type="http://schemas.openxmlformats.org/officeDocument/2006/relationships/tags" Target="../tags/tag2006.xml"/><Relationship Id="rId5" Type="http://schemas.openxmlformats.org/officeDocument/2006/relationships/tags" Target="../tags/tag2000.xml"/><Relationship Id="rId10" Type="http://schemas.openxmlformats.org/officeDocument/2006/relationships/tags" Target="../tags/tag2005.xml"/><Relationship Id="rId4" Type="http://schemas.openxmlformats.org/officeDocument/2006/relationships/tags" Target="../tags/tag1999.xml"/><Relationship Id="rId9" Type="http://schemas.openxmlformats.org/officeDocument/2006/relationships/tags" Target="../tags/tag2004.xml"/><Relationship Id="rId14" Type="http://schemas.openxmlformats.org/officeDocument/2006/relationships/image" Target="../media/image1.emf"/></Relationships>
</file>

<file path=ppt/slideLayouts/_rels/slideLayout257.xml.rels><?xml version="1.0" encoding="UTF-8" standalone="yes"?>
<Relationships xmlns="http://schemas.openxmlformats.org/package/2006/relationships"><Relationship Id="rId8" Type="http://schemas.openxmlformats.org/officeDocument/2006/relationships/tags" Target="../tags/tag2013.xml"/><Relationship Id="rId3" Type="http://schemas.openxmlformats.org/officeDocument/2006/relationships/tags" Target="../tags/tag2008.xml"/><Relationship Id="rId7" Type="http://schemas.openxmlformats.org/officeDocument/2006/relationships/tags" Target="../tags/tag2012.xml"/><Relationship Id="rId2" Type="http://schemas.openxmlformats.org/officeDocument/2006/relationships/tags" Target="../tags/tag2007.xml"/><Relationship Id="rId1" Type="http://schemas.openxmlformats.org/officeDocument/2006/relationships/vmlDrawing" Target="../drawings/vmlDrawing264.vml"/><Relationship Id="rId6" Type="http://schemas.openxmlformats.org/officeDocument/2006/relationships/tags" Target="../tags/tag2011.xml"/><Relationship Id="rId11" Type="http://schemas.openxmlformats.org/officeDocument/2006/relationships/image" Target="../media/image1.emf"/><Relationship Id="rId5" Type="http://schemas.openxmlformats.org/officeDocument/2006/relationships/tags" Target="../tags/tag2010.xml"/><Relationship Id="rId10" Type="http://schemas.openxmlformats.org/officeDocument/2006/relationships/oleObject" Target="../embeddings/oleObject264.bin"/><Relationship Id="rId4" Type="http://schemas.openxmlformats.org/officeDocument/2006/relationships/tags" Target="../tags/tag2009.xml"/><Relationship Id="rId9" Type="http://schemas.openxmlformats.org/officeDocument/2006/relationships/slideMaster" Target="../slideMasters/slideMaster1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4.xml"/><Relationship Id="rId3" Type="http://schemas.openxmlformats.org/officeDocument/2006/relationships/tags" Target="../tags/tag2015.xml"/><Relationship Id="rId7" Type="http://schemas.openxmlformats.org/officeDocument/2006/relationships/tags" Target="../tags/tag2019.xml"/><Relationship Id="rId2" Type="http://schemas.openxmlformats.org/officeDocument/2006/relationships/tags" Target="../tags/tag2014.xml"/><Relationship Id="rId1" Type="http://schemas.openxmlformats.org/officeDocument/2006/relationships/vmlDrawing" Target="../drawings/vmlDrawing265.vml"/><Relationship Id="rId6" Type="http://schemas.openxmlformats.org/officeDocument/2006/relationships/tags" Target="../tags/tag2018.xml"/><Relationship Id="rId5" Type="http://schemas.openxmlformats.org/officeDocument/2006/relationships/tags" Target="../tags/tag2017.xml"/><Relationship Id="rId10" Type="http://schemas.openxmlformats.org/officeDocument/2006/relationships/image" Target="../media/image1.emf"/><Relationship Id="rId4" Type="http://schemas.openxmlformats.org/officeDocument/2006/relationships/tags" Target="../tags/tag2016.xml"/><Relationship Id="rId9" Type="http://schemas.openxmlformats.org/officeDocument/2006/relationships/oleObject" Target="../embeddings/oleObject265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image" Target="../media/image1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04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0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2.xml"/><Relationship Id="rId9" Type="http://schemas.openxmlformats.org/officeDocument/2006/relationships/tags" Target="../tags/tag20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1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21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image" Target="../media/image2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20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1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8.xml"/><Relationship Id="rId9" Type="http://schemas.openxmlformats.org/officeDocument/2006/relationships/tags" Target="../tags/tag22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1.emf"/><Relationship Id="rId2" Type="http://schemas.openxmlformats.org/officeDocument/2006/relationships/tags" Target="../tags/tag224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28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2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.vml"/><Relationship Id="rId6" Type="http://schemas.openxmlformats.org/officeDocument/2006/relationships/tags" Target="../tags/tag46.xml"/><Relationship Id="rId5" Type="http://schemas.openxmlformats.org/officeDocument/2006/relationships/tags" Target="../tags/tag45.xml"/><Relationship Id="rId10" Type="http://schemas.openxmlformats.org/officeDocument/2006/relationships/image" Target="../media/image2.emf"/><Relationship Id="rId4" Type="http://schemas.openxmlformats.org/officeDocument/2006/relationships/tags" Target="../tags/tag44.xml"/><Relationship Id="rId9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image" Target="../media/image2.emf"/><Relationship Id="rId2" Type="http://schemas.openxmlformats.org/officeDocument/2006/relationships/tags" Target="../tags/tag232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36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3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4.xml"/><Relationship Id="rId9" Type="http://schemas.openxmlformats.org/officeDocument/2006/relationships/tags" Target="../tags/tag23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2.emf"/><Relationship Id="rId2" Type="http://schemas.openxmlformats.org/officeDocument/2006/relationships/tags" Target="../tags/tag240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44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24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2.xml"/><Relationship Id="rId9" Type="http://schemas.openxmlformats.org/officeDocument/2006/relationships/tags" Target="../tags/tag247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image" Target="../media/image1.emf"/><Relationship Id="rId2" Type="http://schemas.openxmlformats.org/officeDocument/2006/relationships/tags" Target="../tags/tag248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52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25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50.xml"/><Relationship Id="rId9" Type="http://schemas.openxmlformats.org/officeDocument/2006/relationships/tags" Target="../tags/tag255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3" Type="http://schemas.openxmlformats.org/officeDocument/2006/relationships/tags" Target="../tags/tag257.xml"/><Relationship Id="rId7" Type="http://schemas.openxmlformats.org/officeDocument/2006/relationships/tags" Target="../tags/tag261.xml"/><Relationship Id="rId12" Type="http://schemas.openxmlformats.org/officeDocument/2006/relationships/image" Target="../media/image2.emf"/><Relationship Id="rId2" Type="http://schemas.openxmlformats.org/officeDocument/2006/relationships/tags" Target="../tags/tag256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60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25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58.xml"/><Relationship Id="rId9" Type="http://schemas.openxmlformats.org/officeDocument/2006/relationships/tags" Target="../tags/tag26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65.xml"/><Relationship Id="rId7" Type="http://schemas.openxmlformats.org/officeDocument/2006/relationships/tags" Target="../tags/tag269.xml"/><Relationship Id="rId2" Type="http://schemas.openxmlformats.org/officeDocument/2006/relationships/tags" Target="../tags/tag264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68.xml"/><Relationship Id="rId5" Type="http://schemas.openxmlformats.org/officeDocument/2006/relationships/tags" Target="../tags/tag267.xml"/><Relationship Id="rId10" Type="http://schemas.openxmlformats.org/officeDocument/2006/relationships/image" Target="../media/image2.emf"/><Relationship Id="rId4" Type="http://schemas.openxmlformats.org/officeDocument/2006/relationships/tags" Target="../tags/tag266.xml"/><Relationship Id="rId9" Type="http://schemas.openxmlformats.org/officeDocument/2006/relationships/oleObject" Target="../embeddings/oleObject34.bin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71.xml"/><Relationship Id="rId7" Type="http://schemas.openxmlformats.org/officeDocument/2006/relationships/oleObject" Target="../embeddings/oleObject35.bin"/><Relationship Id="rId2" Type="http://schemas.openxmlformats.org/officeDocument/2006/relationships/tags" Target="../tags/tag270.xml"/><Relationship Id="rId1" Type="http://schemas.openxmlformats.org/officeDocument/2006/relationships/vmlDrawing" Target="../drawings/vmlDrawing3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73.xml"/><Relationship Id="rId4" Type="http://schemas.openxmlformats.org/officeDocument/2006/relationships/tags" Target="../tags/tag27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2" Type="http://schemas.openxmlformats.org/officeDocument/2006/relationships/tags" Target="../tags/tag274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82.xml"/><Relationship Id="rId3" Type="http://schemas.openxmlformats.org/officeDocument/2006/relationships/tags" Target="../tags/tag277.xml"/><Relationship Id="rId7" Type="http://schemas.openxmlformats.org/officeDocument/2006/relationships/tags" Target="../tags/tag281.xml"/><Relationship Id="rId2" Type="http://schemas.openxmlformats.org/officeDocument/2006/relationships/tags" Target="../tags/tag276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80.xml"/><Relationship Id="rId11" Type="http://schemas.openxmlformats.org/officeDocument/2006/relationships/image" Target="../media/image1.emf"/><Relationship Id="rId5" Type="http://schemas.openxmlformats.org/officeDocument/2006/relationships/tags" Target="../tags/tag279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278.xml"/><Relationship Id="rId9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12.xml"/><Relationship Id="rId13" Type="http://schemas.openxmlformats.org/officeDocument/2006/relationships/image" Target="../media/image4.emf"/><Relationship Id="rId3" Type="http://schemas.openxmlformats.org/officeDocument/2006/relationships/tags" Target="../tags/tag307.xml"/><Relationship Id="rId7" Type="http://schemas.openxmlformats.org/officeDocument/2006/relationships/tags" Target="../tags/tag311.xml"/><Relationship Id="rId12" Type="http://schemas.openxmlformats.org/officeDocument/2006/relationships/oleObject" Target="../embeddings/oleObject39.bin"/><Relationship Id="rId2" Type="http://schemas.openxmlformats.org/officeDocument/2006/relationships/tags" Target="../tags/tag306.xml"/><Relationship Id="rId1" Type="http://schemas.openxmlformats.org/officeDocument/2006/relationships/vmlDrawing" Target="../drawings/vmlDrawing39.vml"/><Relationship Id="rId6" Type="http://schemas.openxmlformats.org/officeDocument/2006/relationships/tags" Target="../tags/tag310.xml"/><Relationship Id="rId11" Type="http://schemas.openxmlformats.org/officeDocument/2006/relationships/image" Target="../media/image5.png"/><Relationship Id="rId5" Type="http://schemas.openxmlformats.org/officeDocument/2006/relationships/tags" Target="../tags/tag30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08.xml"/><Relationship Id="rId9" Type="http://schemas.openxmlformats.org/officeDocument/2006/relationships/tags" Target="../tags/tag313.xml"/><Relationship Id="rId1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tags" Target="../tags/tag320.xml"/><Relationship Id="rId3" Type="http://schemas.openxmlformats.org/officeDocument/2006/relationships/tags" Target="../tags/tag315.xml"/><Relationship Id="rId7" Type="http://schemas.openxmlformats.org/officeDocument/2006/relationships/tags" Target="../tags/tag319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40.vml"/><Relationship Id="rId6" Type="http://schemas.openxmlformats.org/officeDocument/2006/relationships/tags" Target="../tags/tag318.xml"/><Relationship Id="rId11" Type="http://schemas.openxmlformats.org/officeDocument/2006/relationships/image" Target="../media/image1.emf"/><Relationship Id="rId5" Type="http://schemas.openxmlformats.org/officeDocument/2006/relationships/tags" Target="../tags/tag317.xml"/><Relationship Id="rId10" Type="http://schemas.openxmlformats.org/officeDocument/2006/relationships/oleObject" Target="../embeddings/oleObject40.bin"/><Relationship Id="rId4" Type="http://schemas.openxmlformats.org/officeDocument/2006/relationships/tags" Target="../tags/tag316.xml"/><Relationship Id="rId9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5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10" Type="http://schemas.openxmlformats.org/officeDocument/2006/relationships/image" Target="../media/image2.emf"/><Relationship Id="rId4" Type="http://schemas.openxmlformats.org/officeDocument/2006/relationships/tags" Target="../tags/tag50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1.bin"/><Relationship Id="rId3" Type="http://schemas.openxmlformats.org/officeDocument/2006/relationships/tags" Target="../tags/tag322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25.xml"/><Relationship Id="rId5" Type="http://schemas.openxmlformats.org/officeDocument/2006/relationships/tags" Target="../tags/tag324.xml"/><Relationship Id="rId4" Type="http://schemas.openxmlformats.org/officeDocument/2006/relationships/tags" Target="../tags/tag323.xml"/><Relationship Id="rId9" Type="http://schemas.openxmlformats.org/officeDocument/2006/relationships/image" Target="../media/image7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tags" Target="../tags/tag32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30.xml"/><Relationship Id="rId5" Type="http://schemas.openxmlformats.org/officeDocument/2006/relationships/tags" Target="../tags/tag329.xml"/><Relationship Id="rId4" Type="http://schemas.openxmlformats.org/officeDocument/2006/relationships/tags" Target="../tags/tag328.xml"/><Relationship Id="rId9" Type="http://schemas.openxmlformats.org/officeDocument/2006/relationships/image" Target="../media/image7.emf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32.xml"/><Relationship Id="rId7" Type="http://schemas.openxmlformats.org/officeDocument/2006/relationships/tags" Target="../tags/tag336.xml"/><Relationship Id="rId2" Type="http://schemas.openxmlformats.org/officeDocument/2006/relationships/tags" Target="../tags/tag331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35.xml"/><Relationship Id="rId5" Type="http://schemas.openxmlformats.org/officeDocument/2006/relationships/tags" Target="../tags/tag334.xml"/><Relationship Id="rId10" Type="http://schemas.openxmlformats.org/officeDocument/2006/relationships/image" Target="../media/image7.emf"/><Relationship Id="rId4" Type="http://schemas.openxmlformats.org/officeDocument/2006/relationships/tags" Target="../tags/tag333.xml"/><Relationship Id="rId9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43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2" Type="http://schemas.openxmlformats.org/officeDocument/2006/relationships/tags" Target="../tags/tag337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41.xml"/><Relationship Id="rId11" Type="http://schemas.openxmlformats.org/officeDocument/2006/relationships/image" Target="../media/image7.emf"/><Relationship Id="rId5" Type="http://schemas.openxmlformats.org/officeDocument/2006/relationships/tags" Target="../tags/tag340.xml"/><Relationship Id="rId10" Type="http://schemas.openxmlformats.org/officeDocument/2006/relationships/oleObject" Target="../embeddings/oleObject44.bin"/><Relationship Id="rId4" Type="http://schemas.openxmlformats.org/officeDocument/2006/relationships/tags" Target="../tags/tag339.xml"/><Relationship Id="rId9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13" Type="http://schemas.openxmlformats.org/officeDocument/2006/relationships/tags" Target="../tags/tag355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12" Type="http://schemas.openxmlformats.org/officeDocument/2006/relationships/tags" Target="../tags/tag354.xml"/><Relationship Id="rId17" Type="http://schemas.openxmlformats.org/officeDocument/2006/relationships/image" Target="../media/image1.emf"/><Relationship Id="rId2" Type="http://schemas.openxmlformats.org/officeDocument/2006/relationships/tags" Target="../tags/tag344.xml"/><Relationship Id="rId16" Type="http://schemas.openxmlformats.org/officeDocument/2006/relationships/oleObject" Target="../embeddings/oleObject45.bin"/><Relationship Id="rId1" Type="http://schemas.openxmlformats.org/officeDocument/2006/relationships/vmlDrawing" Target="../drawings/vmlDrawing45.vml"/><Relationship Id="rId6" Type="http://schemas.openxmlformats.org/officeDocument/2006/relationships/tags" Target="../tags/tag348.xml"/><Relationship Id="rId11" Type="http://schemas.openxmlformats.org/officeDocument/2006/relationships/tags" Target="../tags/tag353.xml"/><Relationship Id="rId5" Type="http://schemas.openxmlformats.org/officeDocument/2006/relationships/tags" Target="../tags/tag347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52.xml"/><Relationship Id="rId4" Type="http://schemas.openxmlformats.org/officeDocument/2006/relationships/tags" Target="../tags/tag346.xml"/><Relationship Id="rId9" Type="http://schemas.openxmlformats.org/officeDocument/2006/relationships/tags" Target="../tags/tag351.xml"/><Relationship Id="rId14" Type="http://schemas.openxmlformats.org/officeDocument/2006/relationships/tags" Target="../tags/tag356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63.xml"/><Relationship Id="rId13" Type="http://schemas.openxmlformats.org/officeDocument/2006/relationships/tags" Target="../tags/tag368.xml"/><Relationship Id="rId3" Type="http://schemas.openxmlformats.org/officeDocument/2006/relationships/tags" Target="../tags/tag358.xml"/><Relationship Id="rId7" Type="http://schemas.openxmlformats.org/officeDocument/2006/relationships/tags" Target="../tags/tag362.xml"/><Relationship Id="rId12" Type="http://schemas.openxmlformats.org/officeDocument/2006/relationships/tags" Target="../tags/tag367.xml"/><Relationship Id="rId17" Type="http://schemas.openxmlformats.org/officeDocument/2006/relationships/image" Target="../media/image1.emf"/><Relationship Id="rId2" Type="http://schemas.openxmlformats.org/officeDocument/2006/relationships/tags" Target="../tags/tag357.xml"/><Relationship Id="rId16" Type="http://schemas.openxmlformats.org/officeDocument/2006/relationships/oleObject" Target="../embeddings/oleObject46.bin"/><Relationship Id="rId1" Type="http://schemas.openxmlformats.org/officeDocument/2006/relationships/vmlDrawing" Target="../drawings/vmlDrawing46.vml"/><Relationship Id="rId6" Type="http://schemas.openxmlformats.org/officeDocument/2006/relationships/tags" Target="../tags/tag361.xml"/><Relationship Id="rId11" Type="http://schemas.openxmlformats.org/officeDocument/2006/relationships/tags" Target="../tags/tag366.xml"/><Relationship Id="rId5" Type="http://schemas.openxmlformats.org/officeDocument/2006/relationships/tags" Target="../tags/tag360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65.xml"/><Relationship Id="rId4" Type="http://schemas.openxmlformats.org/officeDocument/2006/relationships/tags" Target="../tags/tag359.xml"/><Relationship Id="rId9" Type="http://schemas.openxmlformats.org/officeDocument/2006/relationships/tags" Target="../tags/tag364.xml"/><Relationship Id="rId14" Type="http://schemas.openxmlformats.org/officeDocument/2006/relationships/tags" Target="../tags/tag369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76.xml"/><Relationship Id="rId13" Type="http://schemas.openxmlformats.org/officeDocument/2006/relationships/tags" Target="../tags/tag381.xml"/><Relationship Id="rId3" Type="http://schemas.openxmlformats.org/officeDocument/2006/relationships/tags" Target="../tags/tag371.xml"/><Relationship Id="rId7" Type="http://schemas.openxmlformats.org/officeDocument/2006/relationships/tags" Target="../tags/tag375.xml"/><Relationship Id="rId12" Type="http://schemas.openxmlformats.org/officeDocument/2006/relationships/tags" Target="../tags/tag380.xml"/><Relationship Id="rId17" Type="http://schemas.openxmlformats.org/officeDocument/2006/relationships/image" Target="../media/image2.emf"/><Relationship Id="rId2" Type="http://schemas.openxmlformats.org/officeDocument/2006/relationships/tags" Target="../tags/tag370.xml"/><Relationship Id="rId16" Type="http://schemas.openxmlformats.org/officeDocument/2006/relationships/oleObject" Target="../embeddings/oleObject47.bin"/><Relationship Id="rId1" Type="http://schemas.openxmlformats.org/officeDocument/2006/relationships/vmlDrawing" Target="../drawings/vmlDrawing47.vml"/><Relationship Id="rId6" Type="http://schemas.openxmlformats.org/officeDocument/2006/relationships/tags" Target="../tags/tag374.xml"/><Relationship Id="rId11" Type="http://schemas.openxmlformats.org/officeDocument/2006/relationships/tags" Target="../tags/tag379.xml"/><Relationship Id="rId5" Type="http://schemas.openxmlformats.org/officeDocument/2006/relationships/tags" Target="../tags/tag373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78.xml"/><Relationship Id="rId4" Type="http://schemas.openxmlformats.org/officeDocument/2006/relationships/tags" Target="../tags/tag372.xml"/><Relationship Id="rId9" Type="http://schemas.openxmlformats.org/officeDocument/2006/relationships/tags" Target="../tags/tag377.xml"/><Relationship Id="rId14" Type="http://schemas.openxmlformats.org/officeDocument/2006/relationships/tags" Target="../tags/tag382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89.xml"/><Relationship Id="rId13" Type="http://schemas.openxmlformats.org/officeDocument/2006/relationships/tags" Target="../tags/tag394.xml"/><Relationship Id="rId3" Type="http://schemas.openxmlformats.org/officeDocument/2006/relationships/tags" Target="../tags/tag384.xml"/><Relationship Id="rId7" Type="http://schemas.openxmlformats.org/officeDocument/2006/relationships/tags" Target="../tags/tag388.xml"/><Relationship Id="rId12" Type="http://schemas.openxmlformats.org/officeDocument/2006/relationships/tags" Target="../tags/tag393.xml"/><Relationship Id="rId17" Type="http://schemas.openxmlformats.org/officeDocument/2006/relationships/image" Target="../media/image1.emf"/><Relationship Id="rId2" Type="http://schemas.openxmlformats.org/officeDocument/2006/relationships/tags" Target="../tags/tag383.xml"/><Relationship Id="rId16" Type="http://schemas.openxmlformats.org/officeDocument/2006/relationships/oleObject" Target="../embeddings/oleObject48.bin"/><Relationship Id="rId1" Type="http://schemas.openxmlformats.org/officeDocument/2006/relationships/vmlDrawing" Target="../drawings/vmlDrawing48.vml"/><Relationship Id="rId6" Type="http://schemas.openxmlformats.org/officeDocument/2006/relationships/tags" Target="../tags/tag387.xml"/><Relationship Id="rId11" Type="http://schemas.openxmlformats.org/officeDocument/2006/relationships/tags" Target="../tags/tag392.xml"/><Relationship Id="rId5" Type="http://schemas.openxmlformats.org/officeDocument/2006/relationships/tags" Target="../tags/tag386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391.xml"/><Relationship Id="rId4" Type="http://schemas.openxmlformats.org/officeDocument/2006/relationships/tags" Target="../tags/tag385.xml"/><Relationship Id="rId9" Type="http://schemas.openxmlformats.org/officeDocument/2006/relationships/tags" Target="../tags/tag390.xml"/><Relationship Id="rId14" Type="http://schemas.openxmlformats.org/officeDocument/2006/relationships/tags" Target="../tags/tag395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02.xml"/><Relationship Id="rId13" Type="http://schemas.openxmlformats.org/officeDocument/2006/relationships/tags" Target="../tags/tag407.xml"/><Relationship Id="rId3" Type="http://schemas.openxmlformats.org/officeDocument/2006/relationships/tags" Target="../tags/tag397.xml"/><Relationship Id="rId7" Type="http://schemas.openxmlformats.org/officeDocument/2006/relationships/tags" Target="../tags/tag401.xml"/><Relationship Id="rId12" Type="http://schemas.openxmlformats.org/officeDocument/2006/relationships/tags" Target="../tags/tag406.xml"/><Relationship Id="rId17" Type="http://schemas.openxmlformats.org/officeDocument/2006/relationships/image" Target="../media/image2.emf"/><Relationship Id="rId2" Type="http://schemas.openxmlformats.org/officeDocument/2006/relationships/tags" Target="../tags/tag396.xml"/><Relationship Id="rId16" Type="http://schemas.openxmlformats.org/officeDocument/2006/relationships/oleObject" Target="../embeddings/oleObject49.bin"/><Relationship Id="rId1" Type="http://schemas.openxmlformats.org/officeDocument/2006/relationships/vmlDrawing" Target="../drawings/vmlDrawing49.vml"/><Relationship Id="rId6" Type="http://schemas.openxmlformats.org/officeDocument/2006/relationships/tags" Target="../tags/tag400.xml"/><Relationship Id="rId11" Type="http://schemas.openxmlformats.org/officeDocument/2006/relationships/tags" Target="../tags/tag405.xml"/><Relationship Id="rId5" Type="http://schemas.openxmlformats.org/officeDocument/2006/relationships/tags" Target="../tags/tag399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04.xml"/><Relationship Id="rId4" Type="http://schemas.openxmlformats.org/officeDocument/2006/relationships/tags" Target="../tags/tag398.xml"/><Relationship Id="rId9" Type="http://schemas.openxmlformats.org/officeDocument/2006/relationships/tags" Target="../tags/tag403.xml"/><Relationship Id="rId14" Type="http://schemas.openxmlformats.org/officeDocument/2006/relationships/tags" Target="../tags/tag408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415.xml"/><Relationship Id="rId13" Type="http://schemas.openxmlformats.org/officeDocument/2006/relationships/tags" Target="../tags/tag420.xml"/><Relationship Id="rId3" Type="http://schemas.openxmlformats.org/officeDocument/2006/relationships/tags" Target="../tags/tag410.xml"/><Relationship Id="rId7" Type="http://schemas.openxmlformats.org/officeDocument/2006/relationships/tags" Target="../tags/tag414.xml"/><Relationship Id="rId12" Type="http://schemas.openxmlformats.org/officeDocument/2006/relationships/tags" Target="../tags/tag419.xml"/><Relationship Id="rId17" Type="http://schemas.openxmlformats.org/officeDocument/2006/relationships/image" Target="../media/image2.emf"/><Relationship Id="rId2" Type="http://schemas.openxmlformats.org/officeDocument/2006/relationships/tags" Target="../tags/tag409.xml"/><Relationship Id="rId16" Type="http://schemas.openxmlformats.org/officeDocument/2006/relationships/oleObject" Target="../embeddings/oleObject50.bin"/><Relationship Id="rId1" Type="http://schemas.openxmlformats.org/officeDocument/2006/relationships/vmlDrawing" Target="../drawings/vmlDrawing50.vml"/><Relationship Id="rId6" Type="http://schemas.openxmlformats.org/officeDocument/2006/relationships/tags" Target="../tags/tag413.xml"/><Relationship Id="rId11" Type="http://schemas.openxmlformats.org/officeDocument/2006/relationships/tags" Target="../tags/tag418.xml"/><Relationship Id="rId5" Type="http://schemas.openxmlformats.org/officeDocument/2006/relationships/tags" Target="../tags/tag412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17.xml"/><Relationship Id="rId4" Type="http://schemas.openxmlformats.org/officeDocument/2006/relationships/tags" Target="../tags/tag411.xml"/><Relationship Id="rId9" Type="http://schemas.openxmlformats.org/officeDocument/2006/relationships/tags" Target="../tags/tag416.xml"/><Relationship Id="rId14" Type="http://schemas.openxmlformats.org/officeDocument/2006/relationships/tags" Target="../tags/tag42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6.vml"/><Relationship Id="rId6" Type="http://schemas.openxmlformats.org/officeDocument/2006/relationships/tags" Target="../tags/tag58.xml"/><Relationship Id="rId5" Type="http://schemas.openxmlformats.org/officeDocument/2006/relationships/tags" Target="../tags/tag57.xml"/><Relationship Id="rId10" Type="http://schemas.openxmlformats.org/officeDocument/2006/relationships/image" Target="../media/image2.emf"/><Relationship Id="rId4" Type="http://schemas.openxmlformats.org/officeDocument/2006/relationships/tags" Target="../tags/tag56.xml"/><Relationship Id="rId9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428.xml"/><Relationship Id="rId13" Type="http://schemas.openxmlformats.org/officeDocument/2006/relationships/tags" Target="../tags/tag433.xml"/><Relationship Id="rId3" Type="http://schemas.openxmlformats.org/officeDocument/2006/relationships/tags" Target="../tags/tag423.xml"/><Relationship Id="rId7" Type="http://schemas.openxmlformats.org/officeDocument/2006/relationships/tags" Target="../tags/tag427.xml"/><Relationship Id="rId12" Type="http://schemas.openxmlformats.org/officeDocument/2006/relationships/tags" Target="../tags/tag432.xml"/><Relationship Id="rId17" Type="http://schemas.openxmlformats.org/officeDocument/2006/relationships/image" Target="../media/image1.emf"/><Relationship Id="rId2" Type="http://schemas.openxmlformats.org/officeDocument/2006/relationships/tags" Target="../tags/tag422.xml"/><Relationship Id="rId16" Type="http://schemas.openxmlformats.org/officeDocument/2006/relationships/oleObject" Target="../embeddings/oleObject51.bin"/><Relationship Id="rId1" Type="http://schemas.openxmlformats.org/officeDocument/2006/relationships/vmlDrawing" Target="../drawings/vmlDrawing51.vml"/><Relationship Id="rId6" Type="http://schemas.openxmlformats.org/officeDocument/2006/relationships/tags" Target="../tags/tag426.xml"/><Relationship Id="rId11" Type="http://schemas.openxmlformats.org/officeDocument/2006/relationships/tags" Target="../tags/tag431.xml"/><Relationship Id="rId5" Type="http://schemas.openxmlformats.org/officeDocument/2006/relationships/tags" Target="../tags/tag425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30.xml"/><Relationship Id="rId4" Type="http://schemas.openxmlformats.org/officeDocument/2006/relationships/tags" Target="../tags/tag424.xml"/><Relationship Id="rId9" Type="http://schemas.openxmlformats.org/officeDocument/2006/relationships/tags" Target="../tags/tag429.xml"/><Relationship Id="rId14" Type="http://schemas.openxmlformats.org/officeDocument/2006/relationships/tags" Target="../tags/tag434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13" Type="http://schemas.openxmlformats.org/officeDocument/2006/relationships/tags" Target="../tags/tag446.xml"/><Relationship Id="rId3" Type="http://schemas.openxmlformats.org/officeDocument/2006/relationships/tags" Target="../tags/tag436.xml"/><Relationship Id="rId7" Type="http://schemas.openxmlformats.org/officeDocument/2006/relationships/tags" Target="../tags/tag440.xml"/><Relationship Id="rId12" Type="http://schemas.openxmlformats.org/officeDocument/2006/relationships/tags" Target="../tags/tag445.xml"/><Relationship Id="rId17" Type="http://schemas.openxmlformats.org/officeDocument/2006/relationships/image" Target="../media/image1.emf"/><Relationship Id="rId2" Type="http://schemas.openxmlformats.org/officeDocument/2006/relationships/tags" Target="../tags/tag435.xml"/><Relationship Id="rId16" Type="http://schemas.openxmlformats.org/officeDocument/2006/relationships/oleObject" Target="../embeddings/oleObject52.bin"/><Relationship Id="rId1" Type="http://schemas.openxmlformats.org/officeDocument/2006/relationships/vmlDrawing" Target="../drawings/vmlDrawing52.vml"/><Relationship Id="rId6" Type="http://schemas.openxmlformats.org/officeDocument/2006/relationships/tags" Target="../tags/tag439.xml"/><Relationship Id="rId11" Type="http://schemas.openxmlformats.org/officeDocument/2006/relationships/tags" Target="../tags/tag444.xml"/><Relationship Id="rId5" Type="http://schemas.openxmlformats.org/officeDocument/2006/relationships/tags" Target="../tags/tag438.xml"/><Relationship Id="rId15" Type="http://schemas.openxmlformats.org/officeDocument/2006/relationships/slideMaster" Target="../slideMasters/slideMaster3.xml"/><Relationship Id="rId10" Type="http://schemas.openxmlformats.org/officeDocument/2006/relationships/tags" Target="../tags/tag443.xml"/><Relationship Id="rId4" Type="http://schemas.openxmlformats.org/officeDocument/2006/relationships/tags" Target="../tags/tag437.xml"/><Relationship Id="rId9" Type="http://schemas.openxmlformats.org/officeDocument/2006/relationships/tags" Target="../tags/tag442.xml"/><Relationship Id="rId14" Type="http://schemas.openxmlformats.org/officeDocument/2006/relationships/tags" Target="../tags/tag447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tags" Target="../tags/tag454.xml"/><Relationship Id="rId3" Type="http://schemas.openxmlformats.org/officeDocument/2006/relationships/tags" Target="../tags/tag449.xml"/><Relationship Id="rId7" Type="http://schemas.openxmlformats.org/officeDocument/2006/relationships/tags" Target="../tags/tag453.xml"/><Relationship Id="rId12" Type="http://schemas.openxmlformats.org/officeDocument/2006/relationships/image" Target="../media/image7.emf"/><Relationship Id="rId2" Type="http://schemas.openxmlformats.org/officeDocument/2006/relationships/tags" Target="../tags/tag448.xml"/><Relationship Id="rId1" Type="http://schemas.openxmlformats.org/officeDocument/2006/relationships/vmlDrawing" Target="../drawings/vmlDrawing53.vml"/><Relationship Id="rId6" Type="http://schemas.openxmlformats.org/officeDocument/2006/relationships/tags" Target="../tags/tag452.xml"/><Relationship Id="rId11" Type="http://schemas.openxmlformats.org/officeDocument/2006/relationships/oleObject" Target="../embeddings/oleObject53.bin"/><Relationship Id="rId5" Type="http://schemas.openxmlformats.org/officeDocument/2006/relationships/tags" Target="../tags/tag45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50.xml"/><Relationship Id="rId9" Type="http://schemas.openxmlformats.org/officeDocument/2006/relationships/tags" Target="../tags/tag455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4.bin"/><Relationship Id="rId3" Type="http://schemas.openxmlformats.org/officeDocument/2006/relationships/tags" Target="../tags/tag457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56.xml"/><Relationship Id="rId1" Type="http://schemas.openxmlformats.org/officeDocument/2006/relationships/vmlDrawing" Target="../drawings/vmlDrawing54.vml"/><Relationship Id="rId6" Type="http://schemas.openxmlformats.org/officeDocument/2006/relationships/tags" Target="../tags/tag460.xml"/><Relationship Id="rId5" Type="http://schemas.openxmlformats.org/officeDocument/2006/relationships/tags" Target="../tags/tag459.xml"/><Relationship Id="rId4" Type="http://schemas.openxmlformats.org/officeDocument/2006/relationships/tags" Target="../tags/tag458.xml"/><Relationship Id="rId9" Type="http://schemas.openxmlformats.org/officeDocument/2006/relationships/image" Target="../media/image7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462.xml"/><Relationship Id="rId7" Type="http://schemas.openxmlformats.org/officeDocument/2006/relationships/oleObject" Target="../embeddings/oleObject55.bin"/><Relationship Id="rId2" Type="http://schemas.openxmlformats.org/officeDocument/2006/relationships/tags" Target="../tags/tag46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5.png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463.xml"/><Relationship Id="rId9" Type="http://schemas.openxmlformats.org/officeDocument/2006/relationships/image" Target="../media/image8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tags" Target="../tags/tag470.xml"/><Relationship Id="rId3" Type="http://schemas.openxmlformats.org/officeDocument/2006/relationships/tags" Target="../tags/tag465.xml"/><Relationship Id="rId7" Type="http://schemas.openxmlformats.org/officeDocument/2006/relationships/tags" Target="../tags/tag469.xml"/><Relationship Id="rId12" Type="http://schemas.openxmlformats.org/officeDocument/2006/relationships/image" Target="../media/image7.emf"/><Relationship Id="rId2" Type="http://schemas.openxmlformats.org/officeDocument/2006/relationships/tags" Target="../tags/tag464.xml"/><Relationship Id="rId1" Type="http://schemas.openxmlformats.org/officeDocument/2006/relationships/vmlDrawing" Target="../drawings/vmlDrawing56.vml"/><Relationship Id="rId6" Type="http://schemas.openxmlformats.org/officeDocument/2006/relationships/tags" Target="../tags/tag468.xml"/><Relationship Id="rId11" Type="http://schemas.openxmlformats.org/officeDocument/2006/relationships/oleObject" Target="../embeddings/oleObject56.bin"/><Relationship Id="rId5" Type="http://schemas.openxmlformats.org/officeDocument/2006/relationships/tags" Target="../tags/tag46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66.xml"/><Relationship Id="rId9" Type="http://schemas.openxmlformats.org/officeDocument/2006/relationships/tags" Target="../tags/tag471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478.xml"/><Relationship Id="rId3" Type="http://schemas.openxmlformats.org/officeDocument/2006/relationships/tags" Target="../tags/tag473.xml"/><Relationship Id="rId7" Type="http://schemas.openxmlformats.org/officeDocument/2006/relationships/tags" Target="../tags/tag477.xml"/><Relationship Id="rId2" Type="http://schemas.openxmlformats.org/officeDocument/2006/relationships/tags" Target="../tags/tag472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76.xml"/><Relationship Id="rId11" Type="http://schemas.openxmlformats.org/officeDocument/2006/relationships/image" Target="../media/image1.emf"/><Relationship Id="rId5" Type="http://schemas.openxmlformats.org/officeDocument/2006/relationships/tags" Target="../tags/tag475.xml"/><Relationship Id="rId10" Type="http://schemas.openxmlformats.org/officeDocument/2006/relationships/oleObject" Target="../embeddings/oleObject57.bin"/><Relationship Id="rId4" Type="http://schemas.openxmlformats.org/officeDocument/2006/relationships/tags" Target="../tags/tag474.xml"/><Relationship Id="rId9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3" Type="http://schemas.openxmlformats.org/officeDocument/2006/relationships/tags" Target="../tags/tag50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507.xml"/><Relationship Id="rId1" Type="http://schemas.openxmlformats.org/officeDocument/2006/relationships/vmlDrawing" Target="../drawings/vmlDrawing59.vml"/><Relationship Id="rId6" Type="http://schemas.openxmlformats.org/officeDocument/2006/relationships/tags" Target="../tags/tag511.xml"/><Relationship Id="rId5" Type="http://schemas.openxmlformats.org/officeDocument/2006/relationships/tags" Target="../tags/tag510.xml"/><Relationship Id="rId4" Type="http://schemas.openxmlformats.org/officeDocument/2006/relationships/tags" Target="../tags/tag509.xml"/><Relationship Id="rId9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518.xml"/><Relationship Id="rId3" Type="http://schemas.openxmlformats.org/officeDocument/2006/relationships/tags" Target="../tags/tag513.xml"/><Relationship Id="rId7" Type="http://schemas.openxmlformats.org/officeDocument/2006/relationships/tags" Target="../tags/tag517.xml"/><Relationship Id="rId2" Type="http://schemas.openxmlformats.org/officeDocument/2006/relationships/tags" Target="../tags/tag512.xml"/><Relationship Id="rId1" Type="http://schemas.openxmlformats.org/officeDocument/2006/relationships/vmlDrawing" Target="../drawings/vmlDrawing60.vml"/><Relationship Id="rId6" Type="http://schemas.openxmlformats.org/officeDocument/2006/relationships/tags" Target="../tags/tag516.xml"/><Relationship Id="rId11" Type="http://schemas.openxmlformats.org/officeDocument/2006/relationships/image" Target="../media/image1.emf"/><Relationship Id="rId5" Type="http://schemas.openxmlformats.org/officeDocument/2006/relationships/tags" Target="../tags/tag515.xml"/><Relationship Id="rId10" Type="http://schemas.openxmlformats.org/officeDocument/2006/relationships/oleObject" Target="../embeddings/oleObject60.bin"/><Relationship Id="rId4" Type="http://schemas.openxmlformats.org/officeDocument/2006/relationships/tags" Target="../tags/tag514.xml"/><Relationship Id="rId9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7.vml"/><Relationship Id="rId6" Type="http://schemas.openxmlformats.org/officeDocument/2006/relationships/tags" Target="../tags/tag64.xml"/><Relationship Id="rId11" Type="http://schemas.openxmlformats.org/officeDocument/2006/relationships/image" Target="../media/image2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20.xml"/><Relationship Id="rId7" Type="http://schemas.openxmlformats.org/officeDocument/2006/relationships/tags" Target="../tags/tag524.xml"/><Relationship Id="rId2" Type="http://schemas.openxmlformats.org/officeDocument/2006/relationships/tags" Target="../tags/tag519.xml"/><Relationship Id="rId1" Type="http://schemas.openxmlformats.org/officeDocument/2006/relationships/vmlDrawing" Target="../drawings/vmlDrawing61.vml"/><Relationship Id="rId6" Type="http://schemas.openxmlformats.org/officeDocument/2006/relationships/tags" Target="../tags/tag523.xml"/><Relationship Id="rId5" Type="http://schemas.openxmlformats.org/officeDocument/2006/relationships/tags" Target="../tags/tag522.xml"/><Relationship Id="rId10" Type="http://schemas.openxmlformats.org/officeDocument/2006/relationships/image" Target="../media/image2.emf"/><Relationship Id="rId4" Type="http://schemas.openxmlformats.org/officeDocument/2006/relationships/tags" Target="../tags/tag521.xml"/><Relationship Id="rId9" Type="http://schemas.openxmlformats.org/officeDocument/2006/relationships/oleObject" Target="../embeddings/oleObject61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26.xml"/><Relationship Id="rId7" Type="http://schemas.openxmlformats.org/officeDocument/2006/relationships/tags" Target="../tags/tag530.xml"/><Relationship Id="rId2" Type="http://schemas.openxmlformats.org/officeDocument/2006/relationships/tags" Target="../tags/tag525.xml"/><Relationship Id="rId1" Type="http://schemas.openxmlformats.org/officeDocument/2006/relationships/vmlDrawing" Target="../drawings/vmlDrawing62.vml"/><Relationship Id="rId6" Type="http://schemas.openxmlformats.org/officeDocument/2006/relationships/tags" Target="../tags/tag529.xml"/><Relationship Id="rId5" Type="http://schemas.openxmlformats.org/officeDocument/2006/relationships/tags" Target="../tags/tag528.xml"/><Relationship Id="rId10" Type="http://schemas.openxmlformats.org/officeDocument/2006/relationships/image" Target="../media/image2.emf"/><Relationship Id="rId4" Type="http://schemas.openxmlformats.org/officeDocument/2006/relationships/tags" Target="../tags/tag527.xml"/><Relationship Id="rId9" Type="http://schemas.openxmlformats.org/officeDocument/2006/relationships/oleObject" Target="../embeddings/oleObject62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32.xml"/><Relationship Id="rId7" Type="http://schemas.openxmlformats.org/officeDocument/2006/relationships/tags" Target="../tags/tag536.xml"/><Relationship Id="rId2" Type="http://schemas.openxmlformats.org/officeDocument/2006/relationships/tags" Target="../tags/tag531.xml"/><Relationship Id="rId1" Type="http://schemas.openxmlformats.org/officeDocument/2006/relationships/vmlDrawing" Target="../drawings/vmlDrawing63.vml"/><Relationship Id="rId6" Type="http://schemas.openxmlformats.org/officeDocument/2006/relationships/tags" Target="../tags/tag535.xml"/><Relationship Id="rId5" Type="http://schemas.openxmlformats.org/officeDocument/2006/relationships/tags" Target="../tags/tag534.xml"/><Relationship Id="rId10" Type="http://schemas.openxmlformats.org/officeDocument/2006/relationships/image" Target="../media/image2.emf"/><Relationship Id="rId4" Type="http://schemas.openxmlformats.org/officeDocument/2006/relationships/tags" Target="../tags/tag533.xml"/><Relationship Id="rId9" Type="http://schemas.openxmlformats.org/officeDocument/2006/relationships/oleObject" Target="../embeddings/oleObject63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543.xml"/><Relationship Id="rId3" Type="http://schemas.openxmlformats.org/officeDocument/2006/relationships/tags" Target="../tags/tag538.xml"/><Relationship Id="rId7" Type="http://schemas.openxmlformats.org/officeDocument/2006/relationships/tags" Target="../tags/tag542.xml"/><Relationship Id="rId2" Type="http://schemas.openxmlformats.org/officeDocument/2006/relationships/tags" Target="../tags/tag537.xml"/><Relationship Id="rId1" Type="http://schemas.openxmlformats.org/officeDocument/2006/relationships/vmlDrawing" Target="../drawings/vmlDrawing64.vml"/><Relationship Id="rId6" Type="http://schemas.openxmlformats.org/officeDocument/2006/relationships/tags" Target="../tags/tag541.xml"/><Relationship Id="rId11" Type="http://schemas.openxmlformats.org/officeDocument/2006/relationships/image" Target="../media/image2.emf"/><Relationship Id="rId5" Type="http://schemas.openxmlformats.org/officeDocument/2006/relationships/tags" Target="../tags/tag540.xml"/><Relationship Id="rId10" Type="http://schemas.openxmlformats.org/officeDocument/2006/relationships/oleObject" Target="../embeddings/oleObject64.bin"/><Relationship Id="rId4" Type="http://schemas.openxmlformats.org/officeDocument/2006/relationships/tags" Target="../tags/tag539.xml"/><Relationship Id="rId9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550.xml"/><Relationship Id="rId3" Type="http://schemas.openxmlformats.org/officeDocument/2006/relationships/tags" Target="../tags/tag545.xml"/><Relationship Id="rId7" Type="http://schemas.openxmlformats.org/officeDocument/2006/relationships/tags" Target="../tags/tag549.xml"/><Relationship Id="rId12" Type="http://schemas.openxmlformats.org/officeDocument/2006/relationships/image" Target="../media/image1.emf"/><Relationship Id="rId2" Type="http://schemas.openxmlformats.org/officeDocument/2006/relationships/tags" Target="../tags/tag544.xml"/><Relationship Id="rId1" Type="http://schemas.openxmlformats.org/officeDocument/2006/relationships/vmlDrawing" Target="../drawings/vmlDrawing65.vml"/><Relationship Id="rId6" Type="http://schemas.openxmlformats.org/officeDocument/2006/relationships/tags" Target="../tags/tag548.xml"/><Relationship Id="rId11" Type="http://schemas.openxmlformats.org/officeDocument/2006/relationships/oleObject" Target="../embeddings/oleObject65.bin"/><Relationship Id="rId5" Type="http://schemas.openxmlformats.org/officeDocument/2006/relationships/tags" Target="../tags/tag54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46.xml"/><Relationship Id="rId9" Type="http://schemas.openxmlformats.org/officeDocument/2006/relationships/tags" Target="../tags/tag551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558.xml"/><Relationship Id="rId3" Type="http://schemas.openxmlformats.org/officeDocument/2006/relationships/tags" Target="../tags/tag553.xml"/><Relationship Id="rId7" Type="http://schemas.openxmlformats.org/officeDocument/2006/relationships/tags" Target="../tags/tag557.xml"/><Relationship Id="rId12" Type="http://schemas.openxmlformats.org/officeDocument/2006/relationships/image" Target="../media/image1.emf"/><Relationship Id="rId2" Type="http://schemas.openxmlformats.org/officeDocument/2006/relationships/tags" Target="../tags/tag552.xml"/><Relationship Id="rId1" Type="http://schemas.openxmlformats.org/officeDocument/2006/relationships/vmlDrawing" Target="../drawings/vmlDrawing66.vml"/><Relationship Id="rId6" Type="http://schemas.openxmlformats.org/officeDocument/2006/relationships/tags" Target="../tags/tag556.xml"/><Relationship Id="rId11" Type="http://schemas.openxmlformats.org/officeDocument/2006/relationships/oleObject" Target="../embeddings/oleObject66.bin"/><Relationship Id="rId5" Type="http://schemas.openxmlformats.org/officeDocument/2006/relationships/tags" Target="../tags/tag55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54.xml"/><Relationship Id="rId9" Type="http://schemas.openxmlformats.org/officeDocument/2006/relationships/tags" Target="../tags/tag559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66.xml"/><Relationship Id="rId3" Type="http://schemas.openxmlformats.org/officeDocument/2006/relationships/tags" Target="../tags/tag561.xml"/><Relationship Id="rId7" Type="http://schemas.openxmlformats.org/officeDocument/2006/relationships/tags" Target="../tags/tag565.xml"/><Relationship Id="rId12" Type="http://schemas.openxmlformats.org/officeDocument/2006/relationships/image" Target="../media/image1.emf"/><Relationship Id="rId2" Type="http://schemas.openxmlformats.org/officeDocument/2006/relationships/tags" Target="../tags/tag560.xml"/><Relationship Id="rId1" Type="http://schemas.openxmlformats.org/officeDocument/2006/relationships/vmlDrawing" Target="../drawings/vmlDrawing67.vml"/><Relationship Id="rId6" Type="http://schemas.openxmlformats.org/officeDocument/2006/relationships/tags" Target="../tags/tag564.xml"/><Relationship Id="rId11" Type="http://schemas.openxmlformats.org/officeDocument/2006/relationships/oleObject" Target="../embeddings/oleObject67.bin"/><Relationship Id="rId5" Type="http://schemas.openxmlformats.org/officeDocument/2006/relationships/tags" Target="../tags/tag56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62.xml"/><Relationship Id="rId9" Type="http://schemas.openxmlformats.org/officeDocument/2006/relationships/tags" Target="../tags/tag567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574.xml"/><Relationship Id="rId3" Type="http://schemas.openxmlformats.org/officeDocument/2006/relationships/tags" Target="../tags/tag569.xml"/><Relationship Id="rId7" Type="http://schemas.openxmlformats.org/officeDocument/2006/relationships/tags" Target="../tags/tag573.xml"/><Relationship Id="rId12" Type="http://schemas.openxmlformats.org/officeDocument/2006/relationships/image" Target="../media/image3.emf"/><Relationship Id="rId2" Type="http://schemas.openxmlformats.org/officeDocument/2006/relationships/tags" Target="../tags/tag568.xml"/><Relationship Id="rId1" Type="http://schemas.openxmlformats.org/officeDocument/2006/relationships/vmlDrawing" Target="../drawings/vmlDrawing68.vml"/><Relationship Id="rId6" Type="http://schemas.openxmlformats.org/officeDocument/2006/relationships/tags" Target="../tags/tag572.xml"/><Relationship Id="rId11" Type="http://schemas.openxmlformats.org/officeDocument/2006/relationships/oleObject" Target="../embeddings/oleObject68.bin"/><Relationship Id="rId5" Type="http://schemas.openxmlformats.org/officeDocument/2006/relationships/tags" Target="../tags/tag57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70.xml"/><Relationship Id="rId9" Type="http://schemas.openxmlformats.org/officeDocument/2006/relationships/tags" Target="../tags/tag575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582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12" Type="http://schemas.openxmlformats.org/officeDocument/2006/relationships/image" Target="../media/image1.emf"/><Relationship Id="rId2" Type="http://schemas.openxmlformats.org/officeDocument/2006/relationships/tags" Target="../tags/tag576.xml"/><Relationship Id="rId1" Type="http://schemas.openxmlformats.org/officeDocument/2006/relationships/vmlDrawing" Target="../drawings/vmlDrawing69.vml"/><Relationship Id="rId6" Type="http://schemas.openxmlformats.org/officeDocument/2006/relationships/tags" Target="../tags/tag580.xml"/><Relationship Id="rId11" Type="http://schemas.openxmlformats.org/officeDocument/2006/relationships/oleObject" Target="../embeddings/oleObject69.bin"/><Relationship Id="rId5" Type="http://schemas.openxmlformats.org/officeDocument/2006/relationships/tags" Target="../tags/tag57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78.xml"/><Relationship Id="rId9" Type="http://schemas.openxmlformats.org/officeDocument/2006/relationships/tags" Target="../tags/tag583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85.xml"/><Relationship Id="rId7" Type="http://schemas.openxmlformats.org/officeDocument/2006/relationships/tags" Target="../tags/tag589.xml"/><Relationship Id="rId2" Type="http://schemas.openxmlformats.org/officeDocument/2006/relationships/tags" Target="../tags/tag584.xml"/><Relationship Id="rId1" Type="http://schemas.openxmlformats.org/officeDocument/2006/relationships/vmlDrawing" Target="../drawings/vmlDrawing70.vml"/><Relationship Id="rId6" Type="http://schemas.openxmlformats.org/officeDocument/2006/relationships/tags" Target="../tags/tag588.xml"/><Relationship Id="rId5" Type="http://schemas.openxmlformats.org/officeDocument/2006/relationships/tags" Target="../tags/tag587.xml"/><Relationship Id="rId10" Type="http://schemas.openxmlformats.org/officeDocument/2006/relationships/image" Target="../media/image2.emf"/><Relationship Id="rId4" Type="http://schemas.openxmlformats.org/officeDocument/2006/relationships/tags" Target="../tags/tag586.xml"/><Relationship Id="rId9" Type="http://schemas.openxmlformats.org/officeDocument/2006/relationships/oleObject" Target="../embeddings/oleObject70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image" Target="../media/image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8.vml"/><Relationship Id="rId6" Type="http://schemas.openxmlformats.org/officeDocument/2006/relationships/tags" Target="../tags/tag7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7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9.xml"/><Relationship Id="rId9" Type="http://schemas.openxmlformats.org/officeDocument/2006/relationships/tags" Target="../tags/tag74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91.xml"/><Relationship Id="rId7" Type="http://schemas.openxmlformats.org/officeDocument/2006/relationships/oleObject" Target="../embeddings/oleObject71.bin"/><Relationship Id="rId2" Type="http://schemas.openxmlformats.org/officeDocument/2006/relationships/tags" Target="../tags/tag590.xml"/><Relationship Id="rId1" Type="http://schemas.openxmlformats.org/officeDocument/2006/relationships/vmlDrawing" Target="../drawings/vmlDrawing71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93.xml"/><Relationship Id="rId4" Type="http://schemas.openxmlformats.org/officeDocument/2006/relationships/tags" Target="../tags/tag592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595.xml"/><Relationship Id="rId2" Type="http://schemas.openxmlformats.org/officeDocument/2006/relationships/tags" Target="../tags/tag594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tags" Target="../tags/tag602.xml"/><Relationship Id="rId3" Type="http://schemas.openxmlformats.org/officeDocument/2006/relationships/tags" Target="../tags/tag597.xml"/><Relationship Id="rId7" Type="http://schemas.openxmlformats.org/officeDocument/2006/relationships/tags" Target="../tags/tag601.xml"/><Relationship Id="rId12" Type="http://schemas.openxmlformats.org/officeDocument/2006/relationships/image" Target="../media/image1.emf"/><Relationship Id="rId2" Type="http://schemas.openxmlformats.org/officeDocument/2006/relationships/tags" Target="../tags/tag596.xml"/><Relationship Id="rId1" Type="http://schemas.openxmlformats.org/officeDocument/2006/relationships/vmlDrawing" Target="../drawings/vmlDrawing73.vml"/><Relationship Id="rId6" Type="http://schemas.openxmlformats.org/officeDocument/2006/relationships/tags" Target="../tags/tag600.xml"/><Relationship Id="rId11" Type="http://schemas.openxmlformats.org/officeDocument/2006/relationships/oleObject" Target="../embeddings/oleObject73.bin"/><Relationship Id="rId5" Type="http://schemas.openxmlformats.org/officeDocument/2006/relationships/tags" Target="../tags/tag59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98.xml"/><Relationship Id="rId9" Type="http://schemas.openxmlformats.org/officeDocument/2006/relationships/tags" Target="../tags/tag603.xml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5.bin"/><Relationship Id="rId3" Type="http://schemas.openxmlformats.org/officeDocument/2006/relationships/tags" Target="../tags/tag626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625.xml"/><Relationship Id="rId1" Type="http://schemas.openxmlformats.org/officeDocument/2006/relationships/vmlDrawing" Target="../drawings/vmlDrawing75.vml"/><Relationship Id="rId6" Type="http://schemas.openxmlformats.org/officeDocument/2006/relationships/tags" Target="../tags/tag629.xml"/><Relationship Id="rId5" Type="http://schemas.openxmlformats.org/officeDocument/2006/relationships/tags" Target="../tags/tag628.xml"/><Relationship Id="rId4" Type="http://schemas.openxmlformats.org/officeDocument/2006/relationships/tags" Target="../tags/tag627.xml"/><Relationship Id="rId9" Type="http://schemas.openxmlformats.org/officeDocument/2006/relationships/image" Target="../media/image2.emf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636.xml"/><Relationship Id="rId3" Type="http://schemas.openxmlformats.org/officeDocument/2006/relationships/tags" Target="../tags/tag631.xml"/><Relationship Id="rId7" Type="http://schemas.openxmlformats.org/officeDocument/2006/relationships/tags" Target="../tags/tag635.xml"/><Relationship Id="rId2" Type="http://schemas.openxmlformats.org/officeDocument/2006/relationships/tags" Target="../tags/tag630.xml"/><Relationship Id="rId1" Type="http://schemas.openxmlformats.org/officeDocument/2006/relationships/vmlDrawing" Target="../drawings/vmlDrawing76.vml"/><Relationship Id="rId6" Type="http://schemas.openxmlformats.org/officeDocument/2006/relationships/tags" Target="../tags/tag634.xml"/><Relationship Id="rId11" Type="http://schemas.openxmlformats.org/officeDocument/2006/relationships/image" Target="../media/image1.emf"/><Relationship Id="rId5" Type="http://schemas.openxmlformats.org/officeDocument/2006/relationships/tags" Target="../tags/tag633.xml"/><Relationship Id="rId10" Type="http://schemas.openxmlformats.org/officeDocument/2006/relationships/oleObject" Target="../embeddings/oleObject76.bin"/><Relationship Id="rId4" Type="http://schemas.openxmlformats.org/officeDocument/2006/relationships/tags" Target="../tags/tag632.xml"/><Relationship Id="rId9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38.xml"/><Relationship Id="rId7" Type="http://schemas.openxmlformats.org/officeDocument/2006/relationships/tags" Target="../tags/tag642.xml"/><Relationship Id="rId2" Type="http://schemas.openxmlformats.org/officeDocument/2006/relationships/tags" Target="../tags/tag637.xml"/><Relationship Id="rId1" Type="http://schemas.openxmlformats.org/officeDocument/2006/relationships/vmlDrawing" Target="../drawings/vmlDrawing77.vml"/><Relationship Id="rId6" Type="http://schemas.openxmlformats.org/officeDocument/2006/relationships/tags" Target="../tags/tag641.xml"/><Relationship Id="rId5" Type="http://schemas.openxmlformats.org/officeDocument/2006/relationships/tags" Target="../tags/tag640.xml"/><Relationship Id="rId10" Type="http://schemas.openxmlformats.org/officeDocument/2006/relationships/image" Target="../media/image2.emf"/><Relationship Id="rId4" Type="http://schemas.openxmlformats.org/officeDocument/2006/relationships/tags" Target="../tags/tag639.xml"/><Relationship Id="rId9" Type="http://schemas.openxmlformats.org/officeDocument/2006/relationships/oleObject" Target="../embeddings/oleObject77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44.xml"/><Relationship Id="rId7" Type="http://schemas.openxmlformats.org/officeDocument/2006/relationships/tags" Target="../tags/tag648.xml"/><Relationship Id="rId2" Type="http://schemas.openxmlformats.org/officeDocument/2006/relationships/tags" Target="../tags/tag643.xml"/><Relationship Id="rId1" Type="http://schemas.openxmlformats.org/officeDocument/2006/relationships/vmlDrawing" Target="../drawings/vmlDrawing78.vml"/><Relationship Id="rId6" Type="http://schemas.openxmlformats.org/officeDocument/2006/relationships/tags" Target="../tags/tag647.xml"/><Relationship Id="rId5" Type="http://schemas.openxmlformats.org/officeDocument/2006/relationships/tags" Target="../tags/tag646.xml"/><Relationship Id="rId10" Type="http://schemas.openxmlformats.org/officeDocument/2006/relationships/image" Target="../media/image2.emf"/><Relationship Id="rId4" Type="http://schemas.openxmlformats.org/officeDocument/2006/relationships/tags" Target="../tags/tag645.xml"/><Relationship Id="rId9" Type="http://schemas.openxmlformats.org/officeDocument/2006/relationships/oleObject" Target="../embeddings/oleObject78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50.xml"/><Relationship Id="rId7" Type="http://schemas.openxmlformats.org/officeDocument/2006/relationships/tags" Target="../tags/tag654.xml"/><Relationship Id="rId2" Type="http://schemas.openxmlformats.org/officeDocument/2006/relationships/tags" Target="../tags/tag649.xml"/><Relationship Id="rId1" Type="http://schemas.openxmlformats.org/officeDocument/2006/relationships/vmlDrawing" Target="../drawings/vmlDrawing79.vml"/><Relationship Id="rId6" Type="http://schemas.openxmlformats.org/officeDocument/2006/relationships/tags" Target="../tags/tag653.xml"/><Relationship Id="rId5" Type="http://schemas.openxmlformats.org/officeDocument/2006/relationships/tags" Target="../tags/tag652.xml"/><Relationship Id="rId10" Type="http://schemas.openxmlformats.org/officeDocument/2006/relationships/image" Target="../media/image2.emf"/><Relationship Id="rId4" Type="http://schemas.openxmlformats.org/officeDocument/2006/relationships/tags" Target="../tags/tag651.xml"/><Relationship Id="rId9" Type="http://schemas.openxmlformats.org/officeDocument/2006/relationships/oleObject" Target="../embeddings/oleObject79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tags" Target="../tags/tag661.xml"/><Relationship Id="rId3" Type="http://schemas.openxmlformats.org/officeDocument/2006/relationships/tags" Target="../tags/tag656.xml"/><Relationship Id="rId7" Type="http://schemas.openxmlformats.org/officeDocument/2006/relationships/tags" Target="../tags/tag660.xml"/><Relationship Id="rId2" Type="http://schemas.openxmlformats.org/officeDocument/2006/relationships/tags" Target="../tags/tag655.xml"/><Relationship Id="rId1" Type="http://schemas.openxmlformats.org/officeDocument/2006/relationships/vmlDrawing" Target="../drawings/vmlDrawing80.vml"/><Relationship Id="rId6" Type="http://schemas.openxmlformats.org/officeDocument/2006/relationships/tags" Target="../tags/tag659.xml"/><Relationship Id="rId11" Type="http://schemas.openxmlformats.org/officeDocument/2006/relationships/image" Target="../media/image2.emf"/><Relationship Id="rId5" Type="http://schemas.openxmlformats.org/officeDocument/2006/relationships/tags" Target="../tags/tag658.xml"/><Relationship Id="rId10" Type="http://schemas.openxmlformats.org/officeDocument/2006/relationships/oleObject" Target="../embeddings/oleObject80.bin"/><Relationship Id="rId4" Type="http://schemas.openxmlformats.org/officeDocument/2006/relationships/tags" Target="../tags/tag657.xml"/><Relationship Id="rId9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668.xml"/><Relationship Id="rId3" Type="http://schemas.openxmlformats.org/officeDocument/2006/relationships/tags" Target="../tags/tag663.xml"/><Relationship Id="rId7" Type="http://schemas.openxmlformats.org/officeDocument/2006/relationships/tags" Target="../tags/tag667.xml"/><Relationship Id="rId12" Type="http://schemas.openxmlformats.org/officeDocument/2006/relationships/image" Target="../media/image1.emf"/><Relationship Id="rId2" Type="http://schemas.openxmlformats.org/officeDocument/2006/relationships/tags" Target="../tags/tag662.xml"/><Relationship Id="rId1" Type="http://schemas.openxmlformats.org/officeDocument/2006/relationships/vmlDrawing" Target="../drawings/vmlDrawing81.vml"/><Relationship Id="rId6" Type="http://schemas.openxmlformats.org/officeDocument/2006/relationships/tags" Target="../tags/tag666.xml"/><Relationship Id="rId11" Type="http://schemas.openxmlformats.org/officeDocument/2006/relationships/oleObject" Target="../embeddings/oleObject81.bin"/><Relationship Id="rId5" Type="http://schemas.openxmlformats.org/officeDocument/2006/relationships/tags" Target="../tags/tag665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64.xml"/><Relationship Id="rId9" Type="http://schemas.openxmlformats.org/officeDocument/2006/relationships/tags" Target="../tags/tag669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81.xml"/><Relationship Id="rId3" Type="http://schemas.openxmlformats.org/officeDocument/2006/relationships/tags" Target="../tags/tag76.xml"/><Relationship Id="rId7" Type="http://schemas.openxmlformats.org/officeDocument/2006/relationships/tags" Target="../tags/tag80.xml"/><Relationship Id="rId12" Type="http://schemas.openxmlformats.org/officeDocument/2006/relationships/image" Target="../media/image1.emf"/><Relationship Id="rId2" Type="http://schemas.openxmlformats.org/officeDocument/2006/relationships/tags" Target="../tags/tag75.xml"/><Relationship Id="rId1" Type="http://schemas.openxmlformats.org/officeDocument/2006/relationships/vmlDrawing" Target="../drawings/vmlDrawing9.vml"/><Relationship Id="rId6" Type="http://schemas.openxmlformats.org/officeDocument/2006/relationships/tags" Target="../tags/tag79.xml"/><Relationship Id="rId11" Type="http://schemas.openxmlformats.org/officeDocument/2006/relationships/oleObject" Target="../embeddings/oleObject9.bin"/><Relationship Id="rId5" Type="http://schemas.openxmlformats.org/officeDocument/2006/relationships/tags" Target="../tags/tag78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7.xml"/><Relationship Id="rId9" Type="http://schemas.openxmlformats.org/officeDocument/2006/relationships/tags" Target="../tags/tag82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76.xml"/><Relationship Id="rId3" Type="http://schemas.openxmlformats.org/officeDocument/2006/relationships/tags" Target="../tags/tag671.xml"/><Relationship Id="rId7" Type="http://schemas.openxmlformats.org/officeDocument/2006/relationships/tags" Target="../tags/tag675.xml"/><Relationship Id="rId12" Type="http://schemas.openxmlformats.org/officeDocument/2006/relationships/image" Target="../media/image1.emf"/><Relationship Id="rId2" Type="http://schemas.openxmlformats.org/officeDocument/2006/relationships/tags" Target="../tags/tag670.xml"/><Relationship Id="rId1" Type="http://schemas.openxmlformats.org/officeDocument/2006/relationships/vmlDrawing" Target="../drawings/vmlDrawing82.vml"/><Relationship Id="rId6" Type="http://schemas.openxmlformats.org/officeDocument/2006/relationships/tags" Target="../tags/tag674.xml"/><Relationship Id="rId11" Type="http://schemas.openxmlformats.org/officeDocument/2006/relationships/oleObject" Target="../embeddings/oleObject82.bin"/><Relationship Id="rId5" Type="http://schemas.openxmlformats.org/officeDocument/2006/relationships/tags" Target="../tags/tag673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72.xml"/><Relationship Id="rId9" Type="http://schemas.openxmlformats.org/officeDocument/2006/relationships/tags" Target="../tags/tag677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684.xml"/><Relationship Id="rId3" Type="http://schemas.openxmlformats.org/officeDocument/2006/relationships/tags" Target="../tags/tag679.xml"/><Relationship Id="rId7" Type="http://schemas.openxmlformats.org/officeDocument/2006/relationships/tags" Target="../tags/tag683.xml"/><Relationship Id="rId12" Type="http://schemas.openxmlformats.org/officeDocument/2006/relationships/image" Target="../media/image2.emf"/><Relationship Id="rId2" Type="http://schemas.openxmlformats.org/officeDocument/2006/relationships/tags" Target="../tags/tag678.xml"/><Relationship Id="rId1" Type="http://schemas.openxmlformats.org/officeDocument/2006/relationships/vmlDrawing" Target="../drawings/vmlDrawing83.vml"/><Relationship Id="rId6" Type="http://schemas.openxmlformats.org/officeDocument/2006/relationships/tags" Target="../tags/tag682.xml"/><Relationship Id="rId11" Type="http://schemas.openxmlformats.org/officeDocument/2006/relationships/oleObject" Target="../embeddings/oleObject83.bin"/><Relationship Id="rId5" Type="http://schemas.openxmlformats.org/officeDocument/2006/relationships/tags" Target="../tags/tag681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80.xml"/><Relationship Id="rId9" Type="http://schemas.openxmlformats.org/officeDocument/2006/relationships/tags" Target="../tags/tag685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692.xml"/><Relationship Id="rId3" Type="http://schemas.openxmlformats.org/officeDocument/2006/relationships/tags" Target="../tags/tag687.xml"/><Relationship Id="rId7" Type="http://schemas.openxmlformats.org/officeDocument/2006/relationships/tags" Target="../tags/tag691.xml"/><Relationship Id="rId12" Type="http://schemas.openxmlformats.org/officeDocument/2006/relationships/image" Target="../media/image1.emf"/><Relationship Id="rId2" Type="http://schemas.openxmlformats.org/officeDocument/2006/relationships/tags" Target="../tags/tag686.xml"/><Relationship Id="rId1" Type="http://schemas.openxmlformats.org/officeDocument/2006/relationships/vmlDrawing" Target="../drawings/vmlDrawing84.vml"/><Relationship Id="rId6" Type="http://schemas.openxmlformats.org/officeDocument/2006/relationships/tags" Target="../tags/tag690.xml"/><Relationship Id="rId11" Type="http://schemas.openxmlformats.org/officeDocument/2006/relationships/oleObject" Target="../embeddings/oleObject84.bin"/><Relationship Id="rId5" Type="http://schemas.openxmlformats.org/officeDocument/2006/relationships/tags" Target="../tags/tag689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88.xml"/><Relationship Id="rId9" Type="http://schemas.openxmlformats.org/officeDocument/2006/relationships/tags" Target="../tags/tag693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700.xml"/><Relationship Id="rId3" Type="http://schemas.openxmlformats.org/officeDocument/2006/relationships/tags" Target="../tags/tag695.xml"/><Relationship Id="rId7" Type="http://schemas.openxmlformats.org/officeDocument/2006/relationships/tags" Target="../tags/tag699.xml"/><Relationship Id="rId12" Type="http://schemas.openxmlformats.org/officeDocument/2006/relationships/image" Target="../media/image2.emf"/><Relationship Id="rId2" Type="http://schemas.openxmlformats.org/officeDocument/2006/relationships/tags" Target="../tags/tag694.xml"/><Relationship Id="rId1" Type="http://schemas.openxmlformats.org/officeDocument/2006/relationships/vmlDrawing" Target="../drawings/vmlDrawing85.vml"/><Relationship Id="rId6" Type="http://schemas.openxmlformats.org/officeDocument/2006/relationships/tags" Target="../tags/tag698.xml"/><Relationship Id="rId11" Type="http://schemas.openxmlformats.org/officeDocument/2006/relationships/oleObject" Target="../embeddings/oleObject85.bin"/><Relationship Id="rId5" Type="http://schemas.openxmlformats.org/officeDocument/2006/relationships/tags" Target="../tags/tag697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96.xml"/><Relationship Id="rId9" Type="http://schemas.openxmlformats.org/officeDocument/2006/relationships/tags" Target="../tags/tag701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708.xml"/><Relationship Id="rId3" Type="http://schemas.openxmlformats.org/officeDocument/2006/relationships/tags" Target="../tags/tag703.xml"/><Relationship Id="rId7" Type="http://schemas.openxmlformats.org/officeDocument/2006/relationships/tags" Target="../tags/tag707.xml"/><Relationship Id="rId12" Type="http://schemas.openxmlformats.org/officeDocument/2006/relationships/image" Target="../media/image2.emf"/><Relationship Id="rId2" Type="http://schemas.openxmlformats.org/officeDocument/2006/relationships/tags" Target="../tags/tag702.xml"/><Relationship Id="rId1" Type="http://schemas.openxmlformats.org/officeDocument/2006/relationships/vmlDrawing" Target="../drawings/vmlDrawing86.vml"/><Relationship Id="rId6" Type="http://schemas.openxmlformats.org/officeDocument/2006/relationships/tags" Target="../tags/tag706.xml"/><Relationship Id="rId11" Type="http://schemas.openxmlformats.org/officeDocument/2006/relationships/oleObject" Target="../embeddings/oleObject86.bin"/><Relationship Id="rId5" Type="http://schemas.openxmlformats.org/officeDocument/2006/relationships/tags" Target="../tags/tag705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704.xml"/><Relationship Id="rId9" Type="http://schemas.openxmlformats.org/officeDocument/2006/relationships/tags" Target="../tags/tag709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716.xml"/><Relationship Id="rId3" Type="http://schemas.openxmlformats.org/officeDocument/2006/relationships/tags" Target="../tags/tag711.xml"/><Relationship Id="rId7" Type="http://schemas.openxmlformats.org/officeDocument/2006/relationships/tags" Target="../tags/tag715.xml"/><Relationship Id="rId12" Type="http://schemas.openxmlformats.org/officeDocument/2006/relationships/image" Target="../media/image1.emf"/><Relationship Id="rId2" Type="http://schemas.openxmlformats.org/officeDocument/2006/relationships/tags" Target="../tags/tag710.xml"/><Relationship Id="rId1" Type="http://schemas.openxmlformats.org/officeDocument/2006/relationships/vmlDrawing" Target="../drawings/vmlDrawing87.vml"/><Relationship Id="rId6" Type="http://schemas.openxmlformats.org/officeDocument/2006/relationships/tags" Target="../tags/tag714.xml"/><Relationship Id="rId11" Type="http://schemas.openxmlformats.org/officeDocument/2006/relationships/oleObject" Target="../embeddings/oleObject87.bin"/><Relationship Id="rId5" Type="http://schemas.openxmlformats.org/officeDocument/2006/relationships/tags" Target="../tags/tag713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712.xml"/><Relationship Id="rId9" Type="http://schemas.openxmlformats.org/officeDocument/2006/relationships/tags" Target="../tags/tag717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724.xml"/><Relationship Id="rId3" Type="http://schemas.openxmlformats.org/officeDocument/2006/relationships/tags" Target="../tags/tag719.xml"/><Relationship Id="rId7" Type="http://schemas.openxmlformats.org/officeDocument/2006/relationships/tags" Target="../tags/tag723.xml"/><Relationship Id="rId12" Type="http://schemas.openxmlformats.org/officeDocument/2006/relationships/image" Target="../media/image2.emf"/><Relationship Id="rId2" Type="http://schemas.openxmlformats.org/officeDocument/2006/relationships/tags" Target="../tags/tag718.xml"/><Relationship Id="rId1" Type="http://schemas.openxmlformats.org/officeDocument/2006/relationships/vmlDrawing" Target="../drawings/vmlDrawing88.vml"/><Relationship Id="rId6" Type="http://schemas.openxmlformats.org/officeDocument/2006/relationships/tags" Target="../tags/tag722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721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720.xml"/><Relationship Id="rId9" Type="http://schemas.openxmlformats.org/officeDocument/2006/relationships/tags" Target="../tags/tag725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727.xml"/><Relationship Id="rId7" Type="http://schemas.openxmlformats.org/officeDocument/2006/relationships/tags" Target="../tags/tag731.xml"/><Relationship Id="rId2" Type="http://schemas.openxmlformats.org/officeDocument/2006/relationships/tags" Target="../tags/tag726.xml"/><Relationship Id="rId1" Type="http://schemas.openxmlformats.org/officeDocument/2006/relationships/vmlDrawing" Target="../drawings/vmlDrawing89.vml"/><Relationship Id="rId6" Type="http://schemas.openxmlformats.org/officeDocument/2006/relationships/tags" Target="../tags/tag730.xml"/><Relationship Id="rId5" Type="http://schemas.openxmlformats.org/officeDocument/2006/relationships/tags" Target="../tags/tag729.xml"/><Relationship Id="rId10" Type="http://schemas.openxmlformats.org/officeDocument/2006/relationships/image" Target="../media/image2.emf"/><Relationship Id="rId4" Type="http://schemas.openxmlformats.org/officeDocument/2006/relationships/tags" Target="../tags/tag728.xml"/><Relationship Id="rId9" Type="http://schemas.openxmlformats.org/officeDocument/2006/relationships/oleObject" Target="../embeddings/oleObject89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33.xml"/><Relationship Id="rId7" Type="http://schemas.openxmlformats.org/officeDocument/2006/relationships/oleObject" Target="../embeddings/oleObject90.bin"/><Relationship Id="rId2" Type="http://schemas.openxmlformats.org/officeDocument/2006/relationships/tags" Target="../tags/tag732.xml"/><Relationship Id="rId1" Type="http://schemas.openxmlformats.org/officeDocument/2006/relationships/vmlDrawing" Target="../drawings/vmlDrawing90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735.xml"/><Relationship Id="rId4" Type="http://schemas.openxmlformats.org/officeDocument/2006/relationships/tags" Target="../tags/tag73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737.xml"/><Relationship Id="rId2" Type="http://schemas.openxmlformats.org/officeDocument/2006/relationships/tags" Target="../tags/tag736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9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image" Target="../media/image1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0.vml"/><Relationship Id="rId6" Type="http://schemas.openxmlformats.org/officeDocument/2006/relationships/tags" Target="../tags/tag87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86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5.xml"/><Relationship Id="rId9" Type="http://schemas.openxmlformats.org/officeDocument/2006/relationships/tags" Target="../tags/tag90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3.bin"/><Relationship Id="rId3" Type="http://schemas.openxmlformats.org/officeDocument/2006/relationships/tags" Target="../tags/tag767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766.xml"/><Relationship Id="rId1" Type="http://schemas.openxmlformats.org/officeDocument/2006/relationships/vmlDrawing" Target="../drawings/vmlDrawing93.vml"/><Relationship Id="rId6" Type="http://schemas.openxmlformats.org/officeDocument/2006/relationships/tags" Target="../tags/tag770.xml"/><Relationship Id="rId5" Type="http://schemas.openxmlformats.org/officeDocument/2006/relationships/tags" Target="../tags/tag769.xml"/><Relationship Id="rId4" Type="http://schemas.openxmlformats.org/officeDocument/2006/relationships/tags" Target="../tags/tag768.xml"/><Relationship Id="rId9" Type="http://schemas.openxmlformats.org/officeDocument/2006/relationships/image" Target="../media/image2.emf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777.xml"/><Relationship Id="rId3" Type="http://schemas.openxmlformats.org/officeDocument/2006/relationships/tags" Target="../tags/tag772.xml"/><Relationship Id="rId7" Type="http://schemas.openxmlformats.org/officeDocument/2006/relationships/tags" Target="../tags/tag776.xml"/><Relationship Id="rId2" Type="http://schemas.openxmlformats.org/officeDocument/2006/relationships/tags" Target="../tags/tag771.xml"/><Relationship Id="rId1" Type="http://schemas.openxmlformats.org/officeDocument/2006/relationships/vmlDrawing" Target="../drawings/vmlDrawing94.vml"/><Relationship Id="rId6" Type="http://schemas.openxmlformats.org/officeDocument/2006/relationships/tags" Target="../tags/tag775.xml"/><Relationship Id="rId11" Type="http://schemas.openxmlformats.org/officeDocument/2006/relationships/image" Target="../media/image1.emf"/><Relationship Id="rId5" Type="http://schemas.openxmlformats.org/officeDocument/2006/relationships/tags" Target="../tags/tag774.xml"/><Relationship Id="rId10" Type="http://schemas.openxmlformats.org/officeDocument/2006/relationships/oleObject" Target="../embeddings/oleObject94.bin"/><Relationship Id="rId4" Type="http://schemas.openxmlformats.org/officeDocument/2006/relationships/tags" Target="../tags/tag773.xml"/><Relationship Id="rId9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79.xml"/><Relationship Id="rId7" Type="http://schemas.openxmlformats.org/officeDocument/2006/relationships/tags" Target="../tags/tag783.xml"/><Relationship Id="rId2" Type="http://schemas.openxmlformats.org/officeDocument/2006/relationships/tags" Target="../tags/tag778.xml"/><Relationship Id="rId1" Type="http://schemas.openxmlformats.org/officeDocument/2006/relationships/vmlDrawing" Target="../drawings/vmlDrawing95.vml"/><Relationship Id="rId6" Type="http://schemas.openxmlformats.org/officeDocument/2006/relationships/tags" Target="../tags/tag782.xml"/><Relationship Id="rId5" Type="http://schemas.openxmlformats.org/officeDocument/2006/relationships/tags" Target="../tags/tag781.xml"/><Relationship Id="rId10" Type="http://schemas.openxmlformats.org/officeDocument/2006/relationships/image" Target="../media/image2.emf"/><Relationship Id="rId4" Type="http://schemas.openxmlformats.org/officeDocument/2006/relationships/tags" Target="../tags/tag780.xml"/><Relationship Id="rId9" Type="http://schemas.openxmlformats.org/officeDocument/2006/relationships/oleObject" Target="../embeddings/oleObject95.bin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85.xml"/><Relationship Id="rId7" Type="http://schemas.openxmlformats.org/officeDocument/2006/relationships/tags" Target="../tags/tag789.xml"/><Relationship Id="rId2" Type="http://schemas.openxmlformats.org/officeDocument/2006/relationships/tags" Target="../tags/tag784.xml"/><Relationship Id="rId1" Type="http://schemas.openxmlformats.org/officeDocument/2006/relationships/vmlDrawing" Target="../drawings/vmlDrawing96.vml"/><Relationship Id="rId6" Type="http://schemas.openxmlformats.org/officeDocument/2006/relationships/tags" Target="../tags/tag788.xml"/><Relationship Id="rId5" Type="http://schemas.openxmlformats.org/officeDocument/2006/relationships/tags" Target="../tags/tag787.xml"/><Relationship Id="rId10" Type="http://schemas.openxmlformats.org/officeDocument/2006/relationships/image" Target="../media/image2.emf"/><Relationship Id="rId4" Type="http://schemas.openxmlformats.org/officeDocument/2006/relationships/tags" Target="../tags/tag786.xml"/><Relationship Id="rId9" Type="http://schemas.openxmlformats.org/officeDocument/2006/relationships/oleObject" Target="../embeddings/oleObject96.bin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791.xml"/><Relationship Id="rId7" Type="http://schemas.openxmlformats.org/officeDocument/2006/relationships/tags" Target="../tags/tag795.xml"/><Relationship Id="rId2" Type="http://schemas.openxmlformats.org/officeDocument/2006/relationships/tags" Target="../tags/tag790.xml"/><Relationship Id="rId1" Type="http://schemas.openxmlformats.org/officeDocument/2006/relationships/vmlDrawing" Target="../drawings/vmlDrawing97.vml"/><Relationship Id="rId6" Type="http://schemas.openxmlformats.org/officeDocument/2006/relationships/tags" Target="../tags/tag794.xml"/><Relationship Id="rId5" Type="http://schemas.openxmlformats.org/officeDocument/2006/relationships/tags" Target="../tags/tag793.xml"/><Relationship Id="rId10" Type="http://schemas.openxmlformats.org/officeDocument/2006/relationships/image" Target="../media/image2.emf"/><Relationship Id="rId4" Type="http://schemas.openxmlformats.org/officeDocument/2006/relationships/tags" Target="../tags/tag792.xml"/><Relationship Id="rId9" Type="http://schemas.openxmlformats.org/officeDocument/2006/relationships/oleObject" Target="../embeddings/oleObject97.bin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802.xml"/><Relationship Id="rId3" Type="http://schemas.openxmlformats.org/officeDocument/2006/relationships/tags" Target="../tags/tag797.xml"/><Relationship Id="rId7" Type="http://schemas.openxmlformats.org/officeDocument/2006/relationships/tags" Target="../tags/tag801.xml"/><Relationship Id="rId2" Type="http://schemas.openxmlformats.org/officeDocument/2006/relationships/tags" Target="../tags/tag796.xml"/><Relationship Id="rId1" Type="http://schemas.openxmlformats.org/officeDocument/2006/relationships/vmlDrawing" Target="../drawings/vmlDrawing98.vml"/><Relationship Id="rId6" Type="http://schemas.openxmlformats.org/officeDocument/2006/relationships/tags" Target="../tags/tag800.xml"/><Relationship Id="rId11" Type="http://schemas.openxmlformats.org/officeDocument/2006/relationships/image" Target="../media/image2.emf"/><Relationship Id="rId5" Type="http://schemas.openxmlformats.org/officeDocument/2006/relationships/tags" Target="../tags/tag799.xml"/><Relationship Id="rId10" Type="http://schemas.openxmlformats.org/officeDocument/2006/relationships/oleObject" Target="../embeddings/oleObject98.bin"/><Relationship Id="rId4" Type="http://schemas.openxmlformats.org/officeDocument/2006/relationships/tags" Target="../tags/tag798.xml"/><Relationship Id="rId9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tags" Target="../tags/tag809.xml"/><Relationship Id="rId3" Type="http://schemas.openxmlformats.org/officeDocument/2006/relationships/tags" Target="../tags/tag804.xml"/><Relationship Id="rId7" Type="http://schemas.openxmlformats.org/officeDocument/2006/relationships/tags" Target="../tags/tag808.xml"/><Relationship Id="rId12" Type="http://schemas.openxmlformats.org/officeDocument/2006/relationships/image" Target="../media/image1.emf"/><Relationship Id="rId2" Type="http://schemas.openxmlformats.org/officeDocument/2006/relationships/tags" Target="../tags/tag803.xml"/><Relationship Id="rId1" Type="http://schemas.openxmlformats.org/officeDocument/2006/relationships/vmlDrawing" Target="../drawings/vmlDrawing99.vml"/><Relationship Id="rId6" Type="http://schemas.openxmlformats.org/officeDocument/2006/relationships/tags" Target="../tags/tag807.xml"/><Relationship Id="rId11" Type="http://schemas.openxmlformats.org/officeDocument/2006/relationships/oleObject" Target="../embeddings/oleObject99.bin"/><Relationship Id="rId5" Type="http://schemas.openxmlformats.org/officeDocument/2006/relationships/tags" Target="../tags/tag806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05.xml"/><Relationship Id="rId9" Type="http://schemas.openxmlformats.org/officeDocument/2006/relationships/tags" Target="../tags/tag810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tags" Target="../tags/tag817.xml"/><Relationship Id="rId3" Type="http://schemas.openxmlformats.org/officeDocument/2006/relationships/tags" Target="../tags/tag812.xml"/><Relationship Id="rId7" Type="http://schemas.openxmlformats.org/officeDocument/2006/relationships/tags" Target="../tags/tag816.xml"/><Relationship Id="rId12" Type="http://schemas.openxmlformats.org/officeDocument/2006/relationships/image" Target="../media/image1.emf"/><Relationship Id="rId2" Type="http://schemas.openxmlformats.org/officeDocument/2006/relationships/tags" Target="../tags/tag811.xml"/><Relationship Id="rId1" Type="http://schemas.openxmlformats.org/officeDocument/2006/relationships/vmlDrawing" Target="../drawings/vmlDrawing100.vml"/><Relationship Id="rId6" Type="http://schemas.openxmlformats.org/officeDocument/2006/relationships/tags" Target="../tags/tag815.xml"/><Relationship Id="rId11" Type="http://schemas.openxmlformats.org/officeDocument/2006/relationships/oleObject" Target="../embeddings/oleObject100.bin"/><Relationship Id="rId5" Type="http://schemas.openxmlformats.org/officeDocument/2006/relationships/tags" Target="../tags/tag814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13.xml"/><Relationship Id="rId9" Type="http://schemas.openxmlformats.org/officeDocument/2006/relationships/tags" Target="../tags/tag818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825.xml"/><Relationship Id="rId3" Type="http://schemas.openxmlformats.org/officeDocument/2006/relationships/tags" Target="../tags/tag820.xml"/><Relationship Id="rId7" Type="http://schemas.openxmlformats.org/officeDocument/2006/relationships/tags" Target="../tags/tag824.xml"/><Relationship Id="rId12" Type="http://schemas.openxmlformats.org/officeDocument/2006/relationships/image" Target="../media/image1.emf"/><Relationship Id="rId2" Type="http://schemas.openxmlformats.org/officeDocument/2006/relationships/tags" Target="../tags/tag819.xml"/><Relationship Id="rId1" Type="http://schemas.openxmlformats.org/officeDocument/2006/relationships/vmlDrawing" Target="../drawings/vmlDrawing101.vml"/><Relationship Id="rId6" Type="http://schemas.openxmlformats.org/officeDocument/2006/relationships/tags" Target="../tags/tag823.xml"/><Relationship Id="rId11" Type="http://schemas.openxmlformats.org/officeDocument/2006/relationships/oleObject" Target="../embeddings/oleObject101.bin"/><Relationship Id="rId5" Type="http://schemas.openxmlformats.org/officeDocument/2006/relationships/tags" Target="../tags/tag82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21.xml"/><Relationship Id="rId9" Type="http://schemas.openxmlformats.org/officeDocument/2006/relationships/tags" Target="../tags/tag826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833.xml"/><Relationship Id="rId3" Type="http://schemas.openxmlformats.org/officeDocument/2006/relationships/tags" Target="../tags/tag828.xml"/><Relationship Id="rId7" Type="http://schemas.openxmlformats.org/officeDocument/2006/relationships/tags" Target="../tags/tag832.xml"/><Relationship Id="rId12" Type="http://schemas.openxmlformats.org/officeDocument/2006/relationships/image" Target="../media/image3.emf"/><Relationship Id="rId2" Type="http://schemas.openxmlformats.org/officeDocument/2006/relationships/tags" Target="../tags/tag827.xml"/><Relationship Id="rId1" Type="http://schemas.openxmlformats.org/officeDocument/2006/relationships/vmlDrawing" Target="../drawings/vmlDrawing102.vml"/><Relationship Id="rId6" Type="http://schemas.openxmlformats.org/officeDocument/2006/relationships/tags" Target="../tags/tag831.xml"/><Relationship Id="rId11" Type="http://schemas.openxmlformats.org/officeDocument/2006/relationships/oleObject" Target="../embeddings/oleObject102.bin"/><Relationship Id="rId5" Type="http://schemas.openxmlformats.org/officeDocument/2006/relationships/tags" Target="../tags/tag830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829.xml"/><Relationship Id="rId9" Type="http://schemas.openxmlformats.org/officeDocument/2006/relationships/tags" Target="../tags/tag83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0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4757140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290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81262219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03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6683577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0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9928380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9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814525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05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461480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00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1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556983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800" b="0" dirty="0"/>
            </a:lvl1pPr>
          </a:lstStyle>
          <a:p>
            <a:pPr lvl="0">
              <a:buNone/>
            </a:pP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s-ES" dirty="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racker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78584031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15777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250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9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5367626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2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21687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2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6878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 rot="5400000">
            <a:off x="11006400" y="1980141"/>
            <a:ext cx="2181687" cy="9419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>
                <a:solidFill>
                  <a:srgbClr val="000000"/>
                </a:solidFill>
                <a:cs typeface="+mn-cs"/>
              </a:rPr>
              <a:t>Last Modified 3/27/2023 11:30 AM Central Asia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 rot="5400000">
            <a:off x="11166696" y="4197878"/>
            <a:ext cx="1861087" cy="94193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dirty="0">
                <a:solidFill>
                  <a:srgbClr val="000000"/>
                </a:solidFill>
                <a:cs typeface="+mn-cs"/>
              </a:rPr>
              <a:t>Printed 04.04.2016 21:17 Russia TZ 2 Standard Time</a:t>
            </a:r>
            <a:endParaRPr lang="ru-RU" sz="1632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/>
        </p:nvSpPr>
        <p:spPr bwMode="auto">
          <a:xfrm>
            <a:off x="162170" y="26988"/>
            <a:ext cx="876843" cy="219740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>
              <a:defRPr/>
            </a:pPr>
            <a:r>
              <a:rPr lang="ru-RU" sz="1428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62171" y="542925"/>
            <a:ext cx="11725030" cy="255588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10" name="McK Slide Elements" hidden="1"/>
          <p:cNvGrpSpPr>
            <a:grpSpLocks/>
          </p:cNvGrpSpPr>
          <p:nvPr/>
        </p:nvGrpSpPr>
        <p:grpSpPr bwMode="auto">
          <a:xfrm>
            <a:off x="162170" y="6199188"/>
            <a:ext cx="11631246" cy="525462"/>
            <a:chOff x="75" y="3827"/>
            <a:chExt cx="5385" cy="325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ru-RU" sz="1020" dirty="0">
                  <a:solidFill>
                    <a:srgbClr val="000000"/>
                  </a:solidFill>
                  <a:latin typeface="Arial"/>
                  <a:cs typeface="+mn-cs"/>
                </a:rPr>
                <a:t>1 Сноска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>
                <a:tabLst>
                  <a:tab pos="625214" algn="l"/>
                </a:tabLst>
                <a:defRPr/>
              </a:pPr>
              <a:r>
                <a:rPr lang="ru-RU" sz="1020" dirty="0">
                  <a:solidFill>
                    <a:srgbClr val="000000"/>
                  </a:solidFill>
                  <a:latin typeface="Arial"/>
                  <a:cs typeface="+mn-cs"/>
                </a:rPr>
                <a:t>ИСТОЧНИК: источник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1975340" y="1136651"/>
            <a:ext cx="5802923" cy="531813"/>
            <a:chOff x="915" y="702"/>
            <a:chExt cx="2686" cy="328"/>
          </a:xfrm>
        </p:grpSpPr>
        <p:cxnSp>
          <p:nvCxnSpPr>
            <p:cNvPr id="14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>
                <a:defRPr/>
              </a:pPr>
              <a:r>
                <a:rPr lang="ru-RU" sz="1632" b="1" dirty="0">
                  <a:solidFill>
                    <a:srgbClr val="000000"/>
                  </a:solidFill>
                  <a:cs typeface="+mn-cs"/>
                </a:rPr>
                <a:t>Title</a:t>
              </a:r>
            </a:p>
            <a:p>
              <a:pPr>
                <a:defRPr/>
              </a:pPr>
              <a:r>
                <a:rPr lang="ru-RU" sz="1632" dirty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6" name="SlideLogoSeparato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1453446" y="6534150"/>
            <a:ext cx="54708" cy="18573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 anchor="ctr"/>
          <a:lstStyle/>
          <a:p>
            <a:pPr algn="r" defTabSz="913526">
              <a:defRPr/>
            </a:pPr>
            <a:endParaRPr lang="en-US" sz="1224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pic>
        <p:nvPicPr>
          <p:cNvPr id="17" name="Picture 36" descr="http://kgo.rcb.ru/2013/logo/rosenergoatom_logo.gif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0939585" y="234950"/>
            <a:ext cx="1076569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11625385" y="6565901"/>
            <a:ext cx="285262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9FF4B72D-5273-458D-9E97-892B9F954734}" type="slidenum">
              <a:rPr lang="en-US" sz="1020" smtClean="0">
                <a:solidFill>
                  <a:srgbClr val="000000"/>
                </a:solidFill>
                <a:cs typeface="+mn-cs"/>
              </a:rPr>
              <a:pPr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976207" y="1990667"/>
            <a:ext cx="5853024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0634888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632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Ligh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Light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6704" y="89319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6581905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03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12489048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9183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to edit Master subtitle style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to edit </a:t>
            </a:r>
            <a:br>
              <a:rPr lang="ru-RU" dirty="0"/>
            </a:br>
            <a:r>
              <a:rPr lang="ru-RU" dirty="0"/>
              <a:t>Master title </a:t>
            </a:r>
            <a:br>
              <a:rPr lang="ru-RU" dirty="0"/>
            </a:br>
            <a:r>
              <a:rPr lang="ru-RU" dirty="0"/>
              <a:t>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04910587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0074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6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942216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0125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424808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0473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1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943273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5482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42700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930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56573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14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8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46096428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6463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218400453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645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3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83618432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7109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959796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0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5640896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8546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15110684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6425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0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45803301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293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31070836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164973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5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614472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07859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1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E8B4411-1CF3-4DDC-AE16-03163F171D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200" b="1" i="0" baseline="0" dirty="0">
              <a:solidFill>
                <a:schemeClr val="bg1"/>
              </a:solidFill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2" name="sdefsdfsdfTitle 3">
            <a:extLst>
              <a:ext uri="{FF2B5EF4-FFF2-40B4-BE49-F238E27FC236}">
                <a16:creationId xmlns:a16="http://schemas.microsoft.com/office/drawing/2014/main" id="{EEF972F7-2911-4C01-A0EB-D41A98034D5A}"/>
              </a:ext>
            </a:extLst>
          </p:cNvPr>
          <p:cNvSpPr txBox="1">
            <a:spLocks/>
          </p:cNvSpPr>
          <p:nvPr userDrawn="1"/>
        </p:nvSpPr>
        <p:spPr>
          <a:xfrm>
            <a:off x="0" y="223098"/>
            <a:ext cx="10557264" cy="677108"/>
          </a:xfrm>
          <a:prstGeom prst="round2DiagRect">
            <a:avLst>
              <a:gd name="adj1" fmla="val 42390"/>
              <a:gd name="adj2" fmla="val 0"/>
            </a:avLst>
          </a:prstGeom>
          <a:solidFill>
            <a:schemeClr val="accent1"/>
          </a:solidFill>
        </p:spPr>
        <p:txBody>
          <a:bodyPr vert="horz" wrap="square" lIns="46800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ru-RU" sz="2200" b="1" kern="1200" spc="0" baseline="0" dirty="0">
                <a:ln w="6350" cap="flat">
                  <a:noFill/>
                  <a:miter lim="800000"/>
                </a:ln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rtl="0"/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958596"/>
            <a:ext cx="11082528" cy="24622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rtl="0">
              <a:defRPr lang="ru-RU" sz="1600" b="0" dirty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ru-RU" dirty="0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554734" y="6514142"/>
            <a:ext cx="1063714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sz="800" dirty="0">
                <a:latin typeface="+mn-lt"/>
                <a:ea typeface="+mn-ea"/>
                <a:cs typeface="+mn-cs"/>
                <a:sym typeface="+mn-lt"/>
              </a:rPr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ru-RU" sz="800" b="0" dirty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2AA057A-4221-4C77-981B-27741D25E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395901"/>
            <a:ext cx="11082528" cy="338554"/>
          </a:xfrm>
          <a:prstGeom prst="rect">
            <a:avLst/>
          </a:prstGeom>
          <a:noFill/>
        </p:spPr>
        <p:txBody>
          <a:bodyPr vert="horz" lIns="0" tIns="0" rIns="1463040" bIns="0">
            <a:noAutofit/>
          </a:bodyPr>
          <a:lstStyle>
            <a:lvl1pPr rtl="0"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D4FACBB-1FB2-4BF2-B5D1-86D3C4B1F19C}"/>
              </a:ext>
            </a:extLst>
          </p:cNvPr>
          <p:cNvSpPr>
            <a:spLocks/>
          </p:cNvSpPr>
          <p:nvPr userDrawn="1"/>
        </p:nvSpPr>
        <p:spPr>
          <a:xfrm>
            <a:off x="0" y="223098"/>
            <a:ext cx="350520" cy="677108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grpSp>
        <p:nvGrpSpPr>
          <p:cNvPr id="13" name="Grid">
            <a:extLst>
              <a:ext uri="{FF2B5EF4-FFF2-40B4-BE49-F238E27FC236}">
                <a16:creationId xmlns:a16="http://schemas.microsoft.com/office/drawing/2014/main" id="{9719ED1D-B1C2-449C-BCBD-EF6138E6A73A}"/>
              </a:ext>
            </a:extLst>
          </p:cNvPr>
          <p:cNvGrpSpPr/>
          <p:nvPr userDrawn="1"/>
        </p:nvGrpSpPr>
        <p:grpSpPr>
          <a:xfrm>
            <a:off x="-497642" y="-473349"/>
            <a:ext cx="12134906" cy="6740642"/>
            <a:chOff x="-497642" y="-473349"/>
            <a:chExt cx="12134906" cy="674064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7947F7F-EBBB-4CA1-BADD-30E85894C75D}"/>
                </a:ext>
              </a:extLst>
            </p:cNvPr>
            <p:cNvSpPr>
              <a:spLocks/>
            </p:cNvSpPr>
            <p:nvPr userDrawn="1"/>
          </p:nvSpPr>
          <p:spPr>
            <a:xfrm>
              <a:off x="-497642" y="1265979"/>
              <a:ext cx="364936" cy="500131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r>
                <a:rPr lang="ru-RU" sz="16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Work area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5BF8BDF-F84D-4919-93A3-7C21C306A3C7}"/>
                </a:ext>
              </a:extLst>
            </p:cNvPr>
            <p:cNvSpPr>
              <a:spLocks/>
            </p:cNvSpPr>
            <p:nvPr userDrawn="1"/>
          </p:nvSpPr>
          <p:spPr>
            <a:xfrm>
              <a:off x="554736" y="-473349"/>
              <a:ext cx="11082528" cy="338554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r>
                <a:rPr lang="ru-RU" sz="16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  <a:sym typeface="+mn-lt"/>
                </a:rPr>
                <a:t>Work are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37817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89244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 err="1"/>
              <a:t>style</a:t>
            </a:r>
            <a:endParaRPr lang="ru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82983827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2796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30298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13773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7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992872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6545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242322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3215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2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13452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9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5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91093207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88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4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745897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9688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7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12092320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9256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135720116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8373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287598875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316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5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665597688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31008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459244856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8395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9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28955143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10371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17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642947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4930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4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482941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4BFCC2E-975F-F560-1792-79AD57F4B7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4915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465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4BFCC2E-975F-F560-1792-79AD57F4B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586633"/>
            <a:ext cx="10363200" cy="92333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BAE4504-5A12-400E-B712-903CD8710C51}" type="datetimeFigureOut">
              <a:rPr lang="ru-RU" smtClean="0"/>
              <a:pPr/>
              <a:t>01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0065C0E-FFAF-43E2-A83E-82C48D45567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791511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05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7165480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46616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489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ru-RU"/>
              <a:t>Chapter › Topic</a:t>
            </a:r>
            <a:endParaRPr lang="ru-RU" dirty="0"/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702547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506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1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s-ES" dirty="0"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s-ES" sz="1800" b="0" dirty="0"/>
            </a:lvl1pPr>
          </a:lstStyle>
          <a:p>
            <a:pPr lvl="0">
              <a:buNone/>
            </a:pPr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 err="1"/>
              <a:t>Fuente</a:t>
            </a:r>
            <a:r>
              <a:rPr lang="ru-RU" dirty="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/>
              <a:t>Add 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852278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72DA59-8E9E-454B-E332-5E1B4B5B2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991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72DA59-8E9E-454B-E332-5E1B4B5B2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F63A3B-78C7-47BE-AE5E-E10140E0464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0812768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2621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1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87066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59580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85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261984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2107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3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 err="1"/>
              <a:t>style</a:t>
            </a:r>
            <a:endParaRPr lang="ru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516758700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486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80952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58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59185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4440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0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307087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725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2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09561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E4504-5A12-400E-B712-903CD8710C51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65C0E-FFAF-43E2-A83E-82C48D4556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508508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45828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5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07655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3209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7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00891369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4727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134844234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760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2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208240137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59733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49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170177185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12940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7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493018785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78759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89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166557825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1737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1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79141764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1979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4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1044722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1663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6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DE8BEE8F-B804-4318-B369-BF50EA2797B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8624BC-0F97-4771-B482-7412327D19DF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D71EA7-2198-4C8F-BEF8-3321898B5AF0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29E9D-DDCD-4FBF-B886-EF7803D98D9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0B57A6C-F947-4D55-BF57-95CCD43BFB98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4A8927-23FD-475D-ABC6-A1F90A175019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75A3FF4-D72B-469E-898B-A80DD035A93D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F665471-CFE0-4D35-ADD8-D8FD0099A220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C43EC23-0339-4590-BC83-2EF9BB804650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3791D6B-D23C-4983-9094-3553FD8CEE9E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C465DA-3FCB-4CCB-8981-9ADDA8C1CC96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34112D-B3FC-4E5F-A221-BF86E9899252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D9D1214-3DEE-4E9C-81BE-D8769734ECD5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DB21E08-7510-479D-9407-955E7CDB572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6F2C78C-0EAC-4DB0-99EC-2931BEC57C6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C90D316B-15AC-4D1D-9A99-D563FB9E95A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6759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00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875749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115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99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519011"/>
            <a:ext cx="11082528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 rtl="0">
              <a:defRPr lang="en-US" sz="800" dirty="0"/>
            </a:lvl1pPr>
          </a:lstStyle>
          <a:p>
            <a:pPr lvl="0" algn="r"/>
            <a:r>
              <a:rPr lang="ru-RU"/>
              <a:t>Chapter › Topic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/>
              <a:t>Source: …</a:t>
            </a:r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32489934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092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03237" y="1296000"/>
            <a:ext cx="11183937" cy="27699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sz="1600" b="0" dirty="0"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6167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03237" y="41597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4387D15D-47BB-461F-BE68-D55CEDB3551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03237" y="561839"/>
            <a:ext cx="11183937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ctr" anchorCtr="0">
            <a:spAutoFit/>
          </a:bodyPr>
          <a:lstStyle>
            <a:lvl1pPr rtl="0">
              <a:defRPr lang="en-US" dirty="0"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2" name="5. Source" hidden="1">
            <a:extLst>
              <a:ext uri="{FF2B5EF4-FFF2-40B4-BE49-F238E27FC236}">
                <a16:creationId xmlns:a16="http://schemas.microsoft.com/office/drawing/2014/main" id="{B3E62F22-E972-47FA-8F44-BB8628900B96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03238" y="625336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335761781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5400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 err="1"/>
              <a:t>style</a:t>
            </a:r>
            <a:endParaRPr lang="ru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14126499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676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8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892225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68435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1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72914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655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691371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962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6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60223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5510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8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181557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68223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0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56355869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4684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3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15205493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800" b="0" dirty="0"/>
            </a:lvl1pPr>
          </a:lstStyle>
          <a:p>
            <a:pPr lvl="0">
              <a:buNone/>
            </a:pP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s-ES" dirty="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racker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446078592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280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5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143895378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5789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8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91475119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8581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0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02122414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8732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2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2592863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6137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424114778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6014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3296956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2F001A8-E419-6B10-053A-29C02CE9B8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58445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1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E2F001A8-E419-6B10-053A-29C02CE9B8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586633"/>
            <a:ext cx="10363200" cy="92333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BAE4504-5A12-400E-B712-903CD8710C51}" type="datetimeFigureOut">
              <a:rPr lang="ru-RU" smtClean="0"/>
              <a:pPr/>
              <a:t>01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0065C0E-FFAF-43E2-A83E-82C48D45567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247410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93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5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  <a:endParaRPr kumimoji="0" lang="ru-RU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ru-RU"/>
              <a:t>Chapter › Topic</a:t>
            </a:r>
            <a:endParaRPr lang="ru-RU" dirty="0"/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132702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77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s-ES" dirty="0"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s-ES" sz="1800" b="0" dirty="0"/>
            </a:lvl1pPr>
          </a:lstStyle>
          <a:p>
            <a:pPr lvl="0">
              <a:buNone/>
            </a:pPr>
            <a:r>
              <a:rPr lang="ru-RU"/>
              <a:t>Click to edit Master subtitle 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 err="1"/>
              <a:t>Fuente</a:t>
            </a:r>
            <a:r>
              <a:rPr lang="ru-RU" dirty="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/>
              <a:t>Add 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4191063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BD3205-10C4-6C39-11F0-9AAFC8FFF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8524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3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BD3205-10C4-6C39-11F0-9AAFC8FFF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F63A3B-78C7-47BE-AE5E-E10140E0464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867941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243974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2097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 err="1"/>
              <a:t>style</a:t>
            </a:r>
            <a:endParaRPr lang="ru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8250000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70248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3673717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9259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6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723261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220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41046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10814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370713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742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656005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6750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00320732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7318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281323737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4415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1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102183287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4640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7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0183106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250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1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14173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122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981200124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1110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23699529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953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0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15808083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445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2592260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4BFCC2E-975F-F560-1792-79AD57F4B7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997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4BFCC2E-975F-F560-1792-79AD57F4B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586633"/>
            <a:ext cx="10363200" cy="92333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BAE4504-5A12-400E-B712-903CD8710C51}" type="datetimeFigureOut">
              <a:rPr lang="ru-RU" smtClean="0"/>
              <a:pPr/>
              <a:t>01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0065C0E-FFAF-43E2-A83E-82C48D45567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0747809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4040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1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ru-RU" dirty="0" err="1"/>
              <a:t>Chapter</a:t>
            </a:r>
            <a:r>
              <a:rPr lang="ru-RU" dirty="0"/>
              <a:t> › </a:t>
            </a:r>
            <a:r>
              <a:rPr lang="ru-RU" dirty="0" err="1"/>
              <a:t>Topic</a:t>
            </a:r>
            <a:endParaRPr lang="ru-RU" dirty="0"/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835823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4024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s-ES" dirty="0"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s-ES" sz="1800" b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 err="1"/>
              <a:t>Fuente</a:t>
            </a:r>
            <a:r>
              <a:rPr lang="ru-RU" dirty="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013215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72DA59-8E9E-454B-E332-5E1B4B5B2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658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2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72DA59-8E9E-454B-E332-5E1B4B5B2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F63A3B-78C7-47BE-AE5E-E10140E0464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0812637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3810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53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661680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2468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977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6760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1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42813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098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6443EA-E82A-4837-87C9-4C0F89FDAD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ackground">
            <a:extLst>
              <a:ext uri="{FF2B5EF4-FFF2-40B4-BE49-F238E27FC236}">
                <a16:creationId xmlns:a16="http://schemas.microsoft.com/office/drawing/2014/main" id="{A81F35A5-4D0A-4211-952D-705B47E2F45F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89884" cy="6858928"/>
          </a:xfrm>
          <a:prstGeom prst="rect">
            <a:avLst/>
          </a:prstGeom>
          <a:gradFill flip="none" rotWithShape="1">
            <a:gsLst>
              <a:gs pos="6000">
                <a:srgbClr val="00F8F9"/>
              </a:gs>
              <a:gs pos="100000">
                <a:srgbClr val="3D4AFB"/>
              </a:gs>
              <a:gs pos="64000">
                <a:srgbClr val="3A7FEF"/>
              </a:gs>
              <a:gs pos="40000">
                <a:schemeClr val="accent3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D8F389D-A080-415F-AF12-6B61A5EE37F3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>
            <a:outerShdw blurRad="317500" sx="102000" sy="102000" algn="ctr" rotWithShape="0">
              <a:schemeClr val="accent2">
                <a:alpha val="65000"/>
              </a:schemeClr>
            </a:outerShdw>
          </a:effectLst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00A076C-7AD0-48D7-90EA-0B2F1D96C794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9BA422F-EE92-417C-8903-8BACF144B2BF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E4229C-93FF-4550-B856-A1FA5D41E9DF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6F90E35-217A-4F46-9E8A-9DA84BDD4ED8}"/>
              </a:ext>
            </a:extLst>
          </p:cNvPr>
          <p:cNvSpPr/>
          <p:nvPr userDrawn="1"/>
        </p:nvSpPr>
        <p:spPr>
          <a:xfrm flipH="1">
            <a:off x="6521244" y="-11335"/>
            <a:ext cx="5670758" cy="5694316"/>
          </a:xfrm>
          <a:custGeom>
            <a:avLst/>
            <a:gdLst>
              <a:gd name="connsiteX0" fmla="*/ 2558530 w 3379656"/>
              <a:gd name="connsiteY0" fmla="*/ 0 h 3393696"/>
              <a:gd name="connsiteX1" fmla="*/ 0 w 3379656"/>
              <a:gd name="connsiteY1" fmla="*/ 0 h 3393696"/>
              <a:gd name="connsiteX2" fmla="*/ 0 w 3379656"/>
              <a:gd name="connsiteY2" fmla="*/ 2581232 h 3393696"/>
              <a:gd name="connsiteX3" fmla="*/ 35059 w 3379656"/>
              <a:gd name="connsiteY3" fmla="*/ 2549981 h 3393696"/>
              <a:gd name="connsiteX4" fmla="*/ 112335 w 3379656"/>
              <a:gd name="connsiteY4" fmla="*/ 2190533 h 3393696"/>
              <a:gd name="connsiteX5" fmla="*/ 423342 w 3379656"/>
              <a:gd name="connsiteY5" fmla="*/ 1957331 h 3393696"/>
              <a:gd name="connsiteX6" fmla="*/ 79450 w 3379656"/>
              <a:gd name="connsiteY6" fmla="*/ 1692319 h 3393696"/>
              <a:gd name="connsiteX7" fmla="*/ 728762 w 3379656"/>
              <a:gd name="connsiteY7" fmla="*/ 1633858 h 3393696"/>
              <a:gd name="connsiteX8" fmla="*/ 420118 w 3379656"/>
              <a:gd name="connsiteY8" fmla="*/ 1213880 h 3393696"/>
              <a:gd name="connsiteX9" fmla="*/ 154461 w 3379656"/>
              <a:gd name="connsiteY9" fmla="*/ 1192385 h 3393696"/>
              <a:gd name="connsiteX10" fmla="*/ 302335 w 3379656"/>
              <a:gd name="connsiteY10" fmla="*/ 972724 h 3393696"/>
              <a:gd name="connsiteX11" fmla="*/ 156181 w 3379656"/>
              <a:gd name="connsiteY11" fmla="*/ 433029 h 3393696"/>
              <a:gd name="connsiteX12" fmla="*/ 525219 w 3379656"/>
              <a:gd name="connsiteY12" fmla="*/ 978958 h 3393696"/>
              <a:gd name="connsiteX13" fmla="*/ 986036 w 3379656"/>
              <a:gd name="connsiteY13" fmla="*/ 1376154 h 3393696"/>
              <a:gd name="connsiteX14" fmla="*/ 1250833 w 3379656"/>
              <a:gd name="connsiteY14" fmla="*/ 1454605 h 3393696"/>
              <a:gd name="connsiteX15" fmla="*/ 1015482 w 3379656"/>
              <a:gd name="connsiteY15" fmla="*/ 1577116 h 3393696"/>
              <a:gd name="connsiteX16" fmla="*/ 1090279 w 3379656"/>
              <a:gd name="connsiteY16" fmla="*/ 2022671 h 3393696"/>
              <a:gd name="connsiteX17" fmla="*/ 1663289 w 3379656"/>
              <a:gd name="connsiteY17" fmla="*/ 1831166 h 3393696"/>
              <a:gd name="connsiteX18" fmla="*/ 1586989 w 3379656"/>
              <a:gd name="connsiteY18" fmla="*/ 2438781 h 3393696"/>
              <a:gd name="connsiteX19" fmla="*/ 1442123 w 3379656"/>
              <a:gd name="connsiteY19" fmla="*/ 2233950 h 3393696"/>
              <a:gd name="connsiteX20" fmla="*/ 1579250 w 3379656"/>
              <a:gd name="connsiteY20" fmla="*/ 2243836 h 3393696"/>
              <a:gd name="connsiteX21" fmla="*/ 1183129 w 3379656"/>
              <a:gd name="connsiteY21" fmla="*/ 2335829 h 3393696"/>
              <a:gd name="connsiteX22" fmla="*/ 124156 w 3379656"/>
              <a:gd name="connsiteY22" fmla="*/ 3134303 h 3393696"/>
              <a:gd name="connsiteX23" fmla="*/ 593353 w 3379656"/>
              <a:gd name="connsiteY23" fmla="*/ 3390287 h 3393696"/>
              <a:gd name="connsiteX24" fmla="*/ 1350561 w 3379656"/>
              <a:gd name="connsiteY24" fmla="*/ 3120118 h 3393696"/>
              <a:gd name="connsiteX25" fmla="*/ 894261 w 3379656"/>
              <a:gd name="connsiteY25" fmla="*/ 2888420 h 3393696"/>
              <a:gd name="connsiteX26" fmla="*/ 523501 w 3379656"/>
              <a:gd name="connsiteY26" fmla="*/ 2888420 h 3393696"/>
              <a:gd name="connsiteX27" fmla="*/ 555526 w 3379656"/>
              <a:gd name="connsiteY27" fmla="*/ 3088092 h 3393696"/>
              <a:gd name="connsiteX28" fmla="*/ 387018 w 3379656"/>
              <a:gd name="connsiteY28" fmla="*/ 2934846 h 3393696"/>
              <a:gd name="connsiteX29" fmla="*/ 793671 w 3379656"/>
              <a:gd name="connsiteY29" fmla="*/ 2556350 h 3393696"/>
              <a:gd name="connsiteX30" fmla="*/ 1587847 w 3379656"/>
              <a:gd name="connsiteY30" fmla="*/ 2698419 h 3393696"/>
              <a:gd name="connsiteX31" fmla="*/ 2087782 w 3379656"/>
              <a:gd name="connsiteY31" fmla="*/ 2308532 h 3393696"/>
              <a:gd name="connsiteX32" fmla="*/ 2431673 w 3379656"/>
              <a:gd name="connsiteY32" fmla="*/ 2446303 h 3393696"/>
              <a:gd name="connsiteX33" fmla="*/ 2294117 w 3379656"/>
              <a:gd name="connsiteY33" fmla="*/ 2102411 h 3393696"/>
              <a:gd name="connsiteX34" fmla="*/ 2684004 w 3379656"/>
              <a:gd name="connsiteY34" fmla="*/ 1602477 h 3393696"/>
              <a:gd name="connsiteX35" fmla="*/ 2541719 w 3379656"/>
              <a:gd name="connsiteY35" fmla="*/ 808301 h 3393696"/>
              <a:gd name="connsiteX36" fmla="*/ 2920431 w 3379656"/>
              <a:gd name="connsiteY36" fmla="*/ 401649 h 3393696"/>
              <a:gd name="connsiteX37" fmla="*/ 3073464 w 3379656"/>
              <a:gd name="connsiteY37" fmla="*/ 570157 h 3393696"/>
              <a:gd name="connsiteX38" fmla="*/ 2873789 w 3379656"/>
              <a:gd name="connsiteY38" fmla="*/ 538130 h 3393696"/>
              <a:gd name="connsiteX39" fmla="*/ 2873789 w 3379656"/>
              <a:gd name="connsiteY39" fmla="*/ 908889 h 3393696"/>
              <a:gd name="connsiteX40" fmla="*/ 3105703 w 3379656"/>
              <a:gd name="connsiteY40" fmla="*/ 1365192 h 3393696"/>
              <a:gd name="connsiteX41" fmla="*/ 3375873 w 3379656"/>
              <a:gd name="connsiteY41" fmla="*/ 607984 h 3393696"/>
              <a:gd name="connsiteX42" fmla="*/ 3121177 w 3379656"/>
              <a:gd name="connsiteY42" fmla="*/ 138357 h 3393696"/>
              <a:gd name="connsiteX43" fmla="*/ 2322703 w 3379656"/>
              <a:gd name="connsiteY43" fmla="*/ 1197329 h 3393696"/>
              <a:gd name="connsiteX44" fmla="*/ 2230712 w 3379656"/>
              <a:gd name="connsiteY44" fmla="*/ 1593450 h 3393696"/>
              <a:gd name="connsiteX45" fmla="*/ 2220825 w 3379656"/>
              <a:gd name="connsiteY45" fmla="*/ 1456323 h 3393696"/>
              <a:gd name="connsiteX46" fmla="*/ 2425655 w 3379656"/>
              <a:gd name="connsiteY46" fmla="*/ 1601188 h 3393696"/>
              <a:gd name="connsiteX47" fmla="*/ 1818471 w 3379656"/>
              <a:gd name="connsiteY47" fmla="*/ 1676845 h 3393696"/>
              <a:gd name="connsiteX48" fmla="*/ 2009760 w 3379656"/>
              <a:gd name="connsiteY48" fmla="*/ 1103834 h 3393696"/>
              <a:gd name="connsiteX49" fmla="*/ 1564206 w 3379656"/>
              <a:gd name="connsiteY49" fmla="*/ 1029037 h 3393696"/>
              <a:gd name="connsiteX50" fmla="*/ 1441909 w 3379656"/>
              <a:gd name="connsiteY50" fmla="*/ 1264389 h 3393696"/>
              <a:gd name="connsiteX51" fmla="*/ 1363457 w 3379656"/>
              <a:gd name="connsiteY51" fmla="*/ 999807 h 3393696"/>
              <a:gd name="connsiteX52" fmla="*/ 966263 w 3379656"/>
              <a:gd name="connsiteY52" fmla="*/ 538776 h 3393696"/>
              <a:gd name="connsiteX53" fmla="*/ 420333 w 3379656"/>
              <a:gd name="connsiteY53" fmla="*/ 169736 h 3393696"/>
              <a:gd name="connsiteX54" fmla="*/ 959814 w 3379656"/>
              <a:gd name="connsiteY54" fmla="*/ 316106 h 3393696"/>
              <a:gd name="connsiteX55" fmla="*/ 1179690 w 3379656"/>
              <a:gd name="connsiteY55" fmla="*/ 168016 h 3393696"/>
              <a:gd name="connsiteX56" fmla="*/ 1201183 w 3379656"/>
              <a:gd name="connsiteY56" fmla="*/ 433674 h 3393696"/>
              <a:gd name="connsiteX57" fmla="*/ 1621377 w 3379656"/>
              <a:gd name="connsiteY57" fmla="*/ 742531 h 3393696"/>
              <a:gd name="connsiteX58" fmla="*/ 1679838 w 3379656"/>
              <a:gd name="connsiteY58" fmla="*/ 93005 h 3393696"/>
              <a:gd name="connsiteX59" fmla="*/ 1944637 w 3379656"/>
              <a:gd name="connsiteY59" fmla="*/ 436897 h 3393696"/>
              <a:gd name="connsiteX60" fmla="*/ 2177837 w 3379656"/>
              <a:gd name="connsiteY60" fmla="*/ 125889 h 3393696"/>
              <a:gd name="connsiteX61" fmla="*/ 2570735 w 3379656"/>
              <a:gd name="connsiteY61" fmla="*/ 11330 h 3393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379656" h="3393696">
                <a:moveTo>
                  <a:pt x="2558530" y="0"/>
                </a:moveTo>
                <a:lnTo>
                  <a:pt x="0" y="0"/>
                </a:lnTo>
                <a:lnTo>
                  <a:pt x="0" y="2581232"/>
                </a:lnTo>
                <a:lnTo>
                  <a:pt x="35059" y="2549981"/>
                </a:lnTo>
                <a:cubicBezTo>
                  <a:pt x="116589" y="2461842"/>
                  <a:pt x="157658" y="2304878"/>
                  <a:pt x="112335" y="2190533"/>
                </a:cubicBezTo>
                <a:cubicBezTo>
                  <a:pt x="269880" y="2245771"/>
                  <a:pt x="438601" y="2104560"/>
                  <a:pt x="423342" y="1957331"/>
                </a:cubicBezTo>
                <a:cubicBezTo>
                  <a:pt x="259134" y="1957331"/>
                  <a:pt x="103737" y="1857818"/>
                  <a:pt x="79450" y="1692319"/>
                </a:cubicBezTo>
                <a:cubicBezTo>
                  <a:pt x="443331" y="1893281"/>
                  <a:pt x="646871" y="1760668"/>
                  <a:pt x="728762" y="1633858"/>
                </a:cubicBezTo>
                <a:cubicBezTo>
                  <a:pt x="855787" y="1437624"/>
                  <a:pt x="679542" y="1097816"/>
                  <a:pt x="420118" y="1213880"/>
                </a:cubicBezTo>
                <a:cubicBezTo>
                  <a:pt x="557675" y="1574966"/>
                  <a:pt x="16474" y="1573892"/>
                  <a:pt x="154461" y="1192385"/>
                </a:cubicBezTo>
                <a:cubicBezTo>
                  <a:pt x="187583" y="1109487"/>
                  <a:pt x="238005" y="1034604"/>
                  <a:pt x="302335" y="972724"/>
                </a:cubicBezTo>
                <a:cubicBezTo>
                  <a:pt x="153603" y="827431"/>
                  <a:pt x="-14047" y="635925"/>
                  <a:pt x="156181" y="433029"/>
                </a:cubicBezTo>
                <a:cubicBezTo>
                  <a:pt x="435594" y="650111"/>
                  <a:pt x="545853" y="765959"/>
                  <a:pt x="525219" y="978958"/>
                </a:cubicBezTo>
                <a:cubicBezTo>
                  <a:pt x="712211" y="978958"/>
                  <a:pt x="967121" y="1104478"/>
                  <a:pt x="986036" y="1376154"/>
                </a:cubicBezTo>
                <a:cubicBezTo>
                  <a:pt x="1082971" y="1353157"/>
                  <a:pt x="1186783" y="1343914"/>
                  <a:pt x="1250833" y="1454605"/>
                </a:cubicBezTo>
                <a:cubicBezTo>
                  <a:pt x="1170083" y="1490842"/>
                  <a:pt x="1091483" y="1531742"/>
                  <a:pt x="1015482" y="1577116"/>
                </a:cubicBezTo>
                <a:cubicBezTo>
                  <a:pt x="833219" y="1689956"/>
                  <a:pt x="804203" y="2021166"/>
                  <a:pt x="1090279" y="2022671"/>
                </a:cubicBezTo>
                <a:cubicBezTo>
                  <a:pt x="1033105" y="1796346"/>
                  <a:pt x="1419126" y="1609355"/>
                  <a:pt x="1663289" y="1831166"/>
                </a:cubicBezTo>
                <a:cubicBezTo>
                  <a:pt x="1869839" y="2018803"/>
                  <a:pt x="1858233" y="2385477"/>
                  <a:pt x="1586989" y="2438781"/>
                </a:cubicBezTo>
                <a:cubicBezTo>
                  <a:pt x="1374635" y="2480478"/>
                  <a:pt x="1350561" y="2278012"/>
                  <a:pt x="1442123" y="2233950"/>
                </a:cubicBezTo>
                <a:cubicBezTo>
                  <a:pt x="1533685" y="2189888"/>
                  <a:pt x="1579250" y="2243836"/>
                  <a:pt x="1579250" y="2243836"/>
                </a:cubicBezTo>
                <a:cubicBezTo>
                  <a:pt x="1678549" y="1931109"/>
                  <a:pt x="1157123" y="1865985"/>
                  <a:pt x="1183129" y="2335829"/>
                </a:cubicBezTo>
                <a:cubicBezTo>
                  <a:pt x="481589" y="2099402"/>
                  <a:pt x="-91852" y="2542809"/>
                  <a:pt x="124156" y="3134303"/>
                </a:cubicBezTo>
                <a:cubicBezTo>
                  <a:pt x="196373" y="3332255"/>
                  <a:pt x="410877" y="3411780"/>
                  <a:pt x="593353" y="3390287"/>
                </a:cubicBezTo>
                <a:cubicBezTo>
                  <a:pt x="814520" y="3364496"/>
                  <a:pt x="948207" y="3050694"/>
                  <a:pt x="1350561" y="3120118"/>
                </a:cubicBezTo>
                <a:cubicBezTo>
                  <a:pt x="1373131" y="2927967"/>
                  <a:pt x="1138639" y="2720342"/>
                  <a:pt x="894261" y="2888420"/>
                </a:cubicBezTo>
                <a:cubicBezTo>
                  <a:pt x="815164" y="2685093"/>
                  <a:pt x="578524" y="2724856"/>
                  <a:pt x="523501" y="2888420"/>
                </a:cubicBezTo>
                <a:cubicBezTo>
                  <a:pt x="626454" y="2905614"/>
                  <a:pt x="690289" y="3038873"/>
                  <a:pt x="555526" y="3088092"/>
                </a:cubicBezTo>
                <a:cubicBezTo>
                  <a:pt x="488467" y="3112810"/>
                  <a:pt x="393252" y="3054132"/>
                  <a:pt x="387018" y="2934846"/>
                </a:cubicBezTo>
                <a:cubicBezTo>
                  <a:pt x="373477" y="2683804"/>
                  <a:pt x="572934" y="2529052"/>
                  <a:pt x="793671" y="2556350"/>
                </a:cubicBezTo>
                <a:cubicBezTo>
                  <a:pt x="1083831" y="2592027"/>
                  <a:pt x="1339385" y="2728296"/>
                  <a:pt x="1587847" y="2698419"/>
                </a:cubicBezTo>
                <a:cubicBezTo>
                  <a:pt x="1753775" y="2679076"/>
                  <a:pt x="1917125" y="2579776"/>
                  <a:pt x="2087782" y="2308532"/>
                </a:cubicBezTo>
                <a:cubicBezTo>
                  <a:pt x="2147532" y="2495738"/>
                  <a:pt x="2264885" y="2500897"/>
                  <a:pt x="2431673" y="2446303"/>
                </a:cubicBezTo>
                <a:cubicBezTo>
                  <a:pt x="2486266" y="2279086"/>
                  <a:pt x="2481323" y="2161733"/>
                  <a:pt x="2294117" y="2102411"/>
                </a:cubicBezTo>
                <a:cubicBezTo>
                  <a:pt x="2565363" y="1931970"/>
                  <a:pt x="2664661" y="1768406"/>
                  <a:pt x="2684004" y="1602477"/>
                </a:cubicBezTo>
                <a:cubicBezTo>
                  <a:pt x="2713020" y="1354016"/>
                  <a:pt x="2577613" y="1098460"/>
                  <a:pt x="2541719" y="808301"/>
                </a:cubicBezTo>
                <a:cubicBezTo>
                  <a:pt x="2514639" y="587566"/>
                  <a:pt x="2669390" y="388323"/>
                  <a:pt x="2920431" y="401649"/>
                </a:cubicBezTo>
                <a:cubicBezTo>
                  <a:pt x="3039503" y="408096"/>
                  <a:pt x="3098395" y="503097"/>
                  <a:pt x="3073464" y="570157"/>
                </a:cubicBezTo>
                <a:cubicBezTo>
                  <a:pt x="3023814" y="704918"/>
                  <a:pt x="2890984" y="641083"/>
                  <a:pt x="2873789" y="538130"/>
                </a:cubicBezTo>
                <a:cubicBezTo>
                  <a:pt x="2710226" y="593153"/>
                  <a:pt x="2670679" y="829795"/>
                  <a:pt x="2873789" y="908889"/>
                </a:cubicBezTo>
                <a:cubicBezTo>
                  <a:pt x="2705929" y="1153483"/>
                  <a:pt x="2913338" y="1387759"/>
                  <a:pt x="3105703" y="1365192"/>
                </a:cubicBezTo>
                <a:cubicBezTo>
                  <a:pt x="3036279" y="962838"/>
                  <a:pt x="3350081" y="829150"/>
                  <a:pt x="3375873" y="607984"/>
                </a:cubicBezTo>
                <a:cubicBezTo>
                  <a:pt x="3398657" y="425077"/>
                  <a:pt x="3319131" y="210573"/>
                  <a:pt x="3121177" y="138357"/>
                </a:cubicBezTo>
                <a:cubicBezTo>
                  <a:pt x="2529467" y="-76577"/>
                  <a:pt x="2086921" y="496004"/>
                  <a:pt x="2322703" y="1197329"/>
                </a:cubicBezTo>
                <a:cubicBezTo>
                  <a:pt x="1852645" y="1171322"/>
                  <a:pt x="1917985" y="1692965"/>
                  <a:pt x="2230712" y="1593450"/>
                </a:cubicBezTo>
                <a:cubicBezTo>
                  <a:pt x="2230712" y="1593450"/>
                  <a:pt x="2176763" y="1547885"/>
                  <a:pt x="2220825" y="1456323"/>
                </a:cubicBezTo>
                <a:cubicBezTo>
                  <a:pt x="2264885" y="1364763"/>
                  <a:pt x="2467352" y="1388835"/>
                  <a:pt x="2425655" y="1601188"/>
                </a:cubicBezTo>
                <a:cubicBezTo>
                  <a:pt x="2372137" y="1872433"/>
                  <a:pt x="2005677" y="1884040"/>
                  <a:pt x="1818471" y="1676845"/>
                </a:cubicBezTo>
                <a:cubicBezTo>
                  <a:pt x="1596660" y="1432682"/>
                  <a:pt x="1783651" y="1046661"/>
                  <a:pt x="2009760" y="1103834"/>
                </a:cubicBezTo>
                <a:cubicBezTo>
                  <a:pt x="2008471" y="817758"/>
                  <a:pt x="1677045" y="846988"/>
                  <a:pt x="1564206" y="1029037"/>
                </a:cubicBezTo>
                <a:cubicBezTo>
                  <a:pt x="1519005" y="1105102"/>
                  <a:pt x="1478189" y="1183682"/>
                  <a:pt x="1441909" y="1264389"/>
                </a:cubicBezTo>
                <a:cubicBezTo>
                  <a:pt x="1331217" y="1199908"/>
                  <a:pt x="1340245" y="1096526"/>
                  <a:pt x="1363457" y="999807"/>
                </a:cubicBezTo>
                <a:cubicBezTo>
                  <a:pt x="1091783" y="980678"/>
                  <a:pt x="966263" y="725767"/>
                  <a:pt x="966263" y="538776"/>
                </a:cubicBezTo>
                <a:cubicBezTo>
                  <a:pt x="753264" y="560269"/>
                  <a:pt x="637415" y="448934"/>
                  <a:pt x="420333" y="169736"/>
                </a:cubicBezTo>
                <a:cubicBezTo>
                  <a:pt x="623230" y="-490"/>
                  <a:pt x="814520" y="167157"/>
                  <a:pt x="959814" y="316106"/>
                </a:cubicBezTo>
                <a:cubicBezTo>
                  <a:pt x="1021759" y="251690"/>
                  <a:pt x="1096727" y="201223"/>
                  <a:pt x="1179690" y="168016"/>
                </a:cubicBezTo>
                <a:cubicBezTo>
                  <a:pt x="1562056" y="30244"/>
                  <a:pt x="1562915" y="571231"/>
                  <a:pt x="1201183" y="433674"/>
                </a:cubicBezTo>
                <a:cubicBezTo>
                  <a:pt x="1085121" y="693098"/>
                  <a:pt x="1425144" y="869557"/>
                  <a:pt x="1621377" y="742531"/>
                </a:cubicBezTo>
                <a:cubicBezTo>
                  <a:pt x="1748187" y="660212"/>
                  <a:pt x="1880801" y="456887"/>
                  <a:pt x="1679838" y="93005"/>
                </a:cubicBezTo>
                <a:cubicBezTo>
                  <a:pt x="1845337" y="116648"/>
                  <a:pt x="1944637" y="272259"/>
                  <a:pt x="1944637" y="436897"/>
                </a:cubicBezTo>
                <a:cubicBezTo>
                  <a:pt x="2092081" y="452373"/>
                  <a:pt x="2233291" y="283436"/>
                  <a:pt x="2177837" y="125889"/>
                </a:cubicBezTo>
                <a:cubicBezTo>
                  <a:pt x="2308732" y="177903"/>
                  <a:pt x="2494863" y="116648"/>
                  <a:pt x="2570735" y="11330"/>
                </a:cubicBezTo>
                <a:close/>
              </a:path>
            </a:pathLst>
          </a:custGeom>
          <a:solidFill>
            <a:srgbClr val="02BAF6">
              <a:alpha val="18000"/>
            </a:srgbClr>
          </a:solidFill>
          <a:ln w="621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rtl="0"/>
            <a:endParaRPr lang="ru-RU" dirty="0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7B98A3CB-5C9F-4C0E-B821-5C3F342ABBC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buClr>
                <a:schemeClr val="tx1"/>
              </a:buCl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07117FD7-2908-4E00-815F-4220EFC1AE97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buClr>
                <a:schemeClr val="tx1"/>
              </a:buCl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30559B8B-4F21-4892-A321-47C0C472884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buClr>
                <a:schemeClr val="tx1"/>
              </a:buCl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0C5CD72-137D-4A5F-88F0-84489D6F816D}"/>
              </a:ext>
            </a:extLst>
          </p:cNvPr>
          <p:cNvGrpSpPr/>
          <p:nvPr userDrawn="1"/>
        </p:nvGrpSpPr>
        <p:grpSpPr>
          <a:xfrm>
            <a:off x="4078575" y="896125"/>
            <a:ext cx="2163446" cy="520674"/>
            <a:chOff x="4078575" y="896125"/>
            <a:chExt cx="2163446" cy="520674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CD62BC78-B429-4FBD-866D-5ECEDF8B4833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5F2F25A-7778-4002-91C3-89EE114DCE2D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140348E6-88AD-4018-9E8E-BECFAC9BADF7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4E424A3A-1430-4B76-BA4C-25CBA4C88807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solidFill>
                <a:srgbClr val="90E7F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6A9E5AC-4F55-43B2-BC81-02B8AC23F73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5EC4B45-2391-4FB4-83AB-B4EE417B644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EB00A7-50F0-471F-8A90-1B38E16C534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78794AA-AAD9-405C-B832-3EC3BB8C9D35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9F0CE02-D112-40DA-B89B-26E5C260E6A0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220296C-5AE5-4BF1-AED8-1CC3CCF65F40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F8F3094-64F9-4B89-874E-BCD2AE99C9F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D18357D-3184-475A-8DC7-9D88A2C617F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0B608E1-2F4C-4C63-9BA9-FEC4F62ABFA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F5C1E4C-4F6D-4149-BC93-662171E19BD0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18452C7-BD89-4735-A400-D4D7FFF84E49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19CC93-BBBD-4F54-AF67-FE07B7FB595D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7E5B750-1817-4BCE-BD7D-4D251EC718F9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2BA0F33-EF4B-4FB7-8635-2416DA17C237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323C0653-09FD-4171-A666-360056795C31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43BE9BC-C5CA-4F83-BFFE-B9D1C47ABEDD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BB2FDAE-21DC-453A-8FC2-72937E3C0904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FCD6E06-08E6-4D5D-8685-C79B5882A725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2C50236-AD16-417F-98AF-BDED66C8627F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ACD7D41-634C-4ED4-B3F2-78A2663D66F1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766DBB4-988C-4730-A839-69E49F29CC8A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CE37D97-E89E-474D-A366-CCB808DB7779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CEA2A67-27F1-41DA-AF60-6E30548EEFCA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14D08C6-0D53-45B5-9AC2-E6839161A823}"/>
              </a:ext>
            </a:extLst>
          </p:cNvPr>
          <p:cNvGrpSpPr/>
          <p:nvPr userDrawn="1"/>
        </p:nvGrpSpPr>
        <p:grpSpPr>
          <a:xfrm>
            <a:off x="53849" y="1929744"/>
            <a:ext cx="12084394" cy="4928256"/>
            <a:chOff x="53849" y="1915463"/>
            <a:chExt cx="12084394" cy="4928256"/>
          </a:xfrm>
          <a:gradFill>
            <a:gsLst>
              <a:gs pos="0">
                <a:schemeClr val="accent2">
                  <a:alpha val="0"/>
                </a:schemeClr>
              </a:gs>
              <a:gs pos="100000">
                <a:srgbClr val="3D4AFB">
                  <a:alpha val="0"/>
                </a:srgbClr>
              </a:gs>
              <a:gs pos="23000">
                <a:schemeClr val="accent3">
                  <a:alpha val="10000"/>
                </a:schemeClr>
              </a:gs>
            </a:gsLst>
            <a:lin ang="15000000" scaled="0"/>
          </a:gradFill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1E2CEF8-D8EF-44C1-84AB-87D63018A293}"/>
                </a:ext>
              </a:extLst>
            </p:cNvPr>
            <p:cNvSpPr/>
            <p:nvPr/>
          </p:nvSpPr>
          <p:spPr>
            <a:xfrm>
              <a:off x="187598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EF87F3B-9373-4916-8FB5-E6836F235671}"/>
                </a:ext>
              </a:extLst>
            </p:cNvPr>
            <p:cNvSpPr/>
            <p:nvPr/>
          </p:nvSpPr>
          <p:spPr>
            <a:xfrm>
              <a:off x="201765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94FD80B-EC25-42D9-A2AF-76AD3C44CAAC}"/>
                </a:ext>
              </a:extLst>
            </p:cNvPr>
            <p:cNvSpPr/>
            <p:nvPr/>
          </p:nvSpPr>
          <p:spPr>
            <a:xfrm>
              <a:off x="699664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D9E2763-4687-4A03-8F7A-4725E8128C6D}"/>
                </a:ext>
              </a:extLst>
            </p:cNvPr>
            <p:cNvSpPr/>
            <p:nvPr/>
          </p:nvSpPr>
          <p:spPr>
            <a:xfrm>
              <a:off x="713831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3089A1C-5A70-47BE-B14C-07A6AD270448}"/>
                </a:ext>
              </a:extLst>
            </p:cNvPr>
            <p:cNvSpPr/>
            <p:nvPr/>
          </p:nvSpPr>
          <p:spPr>
            <a:xfrm>
              <a:off x="1211541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19024A9-D4BE-4FA3-82D5-5FFE6083E3CC}"/>
                </a:ext>
              </a:extLst>
            </p:cNvPr>
            <p:cNvSpPr/>
            <p:nvPr/>
          </p:nvSpPr>
          <p:spPr>
            <a:xfrm>
              <a:off x="1225708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CEB9335-F4F1-4956-A111-F8002D0FEC44}"/>
                </a:ext>
              </a:extLst>
            </p:cNvPr>
            <p:cNvSpPr/>
            <p:nvPr/>
          </p:nvSpPr>
          <p:spPr>
            <a:xfrm>
              <a:off x="172360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CE6AAA5-0B9E-479E-A077-B74CFA7716E1}"/>
                </a:ext>
              </a:extLst>
            </p:cNvPr>
            <p:cNvSpPr/>
            <p:nvPr/>
          </p:nvSpPr>
          <p:spPr>
            <a:xfrm>
              <a:off x="1737774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4AEC8C5-C8D9-4407-B8C3-1BE52B4601C2}"/>
                </a:ext>
              </a:extLst>
            </p:cNvPr>
            <p:cNvSpPr/>
            <p:nvPr/>
          </p:nvSpPr>
          <p:spPr>
            <a:xfrm>
              <a:off x="2235484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0B3BD35-1FD4-4384-8268-FAF5E189F58B}"/>
                </a:ext>
              </a:extLst>
            </p:cNvPr>
            <p:cNvSpPr/>
            <p:nvPr/>
          </p:nvSpPr>
          <p:spPr>
            <a:xfrm>
              <a:off x="2249651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6415F28-597E-4510-9E3A-E939F0474A61}"/>
                </a:ext>
              </a:extLst>
            </p:cNvPr>
            <p:cNvSpPr/>
            <p:nvPr/>
          </p:nvSpPr>
          <p:spPr>
            <a:xfrm>
              <a:off x="2747550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D109826-4E8A-4B17-AB88-98B03E60886B}"/>
                </a:ext>
              </a:extLst>
            </p:cNvPr>
            <p:cNvSpPr/>
            <p:nvPr/>
          </p:nvSpPr>
          <p:spPr>
            <a:xfrm>
              <a:off x="2761717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5EFD038-EBBD-4806-968C-C4F761C2A465}"/>
                </a:ext>
              </a:extLst>
            </p:cNvPr>
            <p:cNvSpPr/>
            <p:nvPr/>
          </p:nvSpPr>
          <p:spPr>
            <a:xfrm>
              <a:off x="325942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8238C1E-21AD-48B5-B243-1671C0B6F805}"/>
                </a:ext>
              </a:extLst>
            </p:cNvPr>
            <p:cNvSpPr/>
            <p:nvPr/>
          </p:nvSpPr>
          <p:spPr>
            <a:xfrm>
              <a:off x="3273594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DC9E656-A105-4363-B715-3982DA5734B0}"/>
                </a:ext>
              </a:extLst>
            </p:cNvPr>
            <p:cNvSpPr/>
            <p:nvPr/>
          </p:nvSpPr>
          <p:spPr>
            <a:xfrm>
              <a:off x="3771493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3223B22-1DC0-492C-B5C9-615FB4982200}"/>
                </a:ext>
              </a:extLst>
            </p:cNvPr>
            <p:cNvSpPr/>
            <p:nvPr/>
          </p:nvSpPr>
          <p:spPr>
            <a:xfrm>
              <a:off x="3785660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16B53B1-02D3-4492-A9DA-8BE828C30415}"/>
                </a:ext>
              </a:extLst>
            </p:cNvPr>
            <p:cNvSpPr/>
            <p:nvPr/>
          </p:nvSpPr>
          <p:spPr>
            <a:xfrm>
              <a:off x="4283559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6CC7B00D-B417-4B3C-B457-F62F57E0DEB5}"/>
                </a:ext>
              </a:extLst>
            </p:cNvPr>
            <p:cNvSpPr/>
            <p:nvPr/>
          </p:nvSpPr>
          <p:spPr>
            <a:xfrm>
              <a:off x="4297726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2F67938-D6E5-4A36-8446-FEAAA97C9BB9}"/>
                </a:ext>
              </a:extLst>
            </p:cNvPr>
            <p:cNvSpPr/>
            <p:nvPr/>
          </p:nvSpPr>
          <p:spPr>
            <a:xfrm>
              <a:off x="4795436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8C13B45-DBA2-4800-B81A-642BDE34A3FB}"/>
                </a:ext>
              </a:extLst>
            </p:cNvPr>
            <p:cNvSpPr/>
            <p:nvPr/>
          </p:nvSpPr>
          <p:spPr>
            <a:xfrm>
              <a:off x="480960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6" y="12844"/>
                    <a:pt x="0" y="9969"/>
                    <a:pt x="0" y="6422"/>
                  </a:cubicBezTo>
                  <a:cubicBezTo>
                    <a:pt x="0" y="2875"/>
                    <a:pt x="2876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5457B78-56E8-48E9-BE14-9506EE2651F8}"/>
                </a:ext>
              </a:extLst>
            </p:cNvPr>
            <p:cNvSpPr/>
            <p:nvPr/>
          </p:nvSpPr>
          <p:spPr>
            <a:xfrm>
              <a:off x="5307502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4A386244-7C98-4070-81A5-92A6F0695468}"/>
                </a:ext>
              </a:extLst>
            </p:cNvPr>
            <p:cNvSpPr/>
            <p:nvPr/>
          </p:nvSpPr>
          <p:spPr>
            <a:xfrm>
              <a:off x="5321669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2C05541-B5FC-4E86-9C2A-1BC99197DDD5}"/>
                </a:ext>
              </a:extLst>
            </p:cNvPr>
            <p:cNvSpPr/>
            <p:nvPr/>
          </p:nvSpPr>
          <p:spPr>
            <a:xfrm>
              <a:off x="5819568" y="2355186"/>
              <a:ext cx="41177" cy="41176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8 w 41177"/>
                <a:gd name="connsiteY1" fmla="*/ 41177 h 41176"/>
                <a:gd name="connsiteX2" fmla="*/ 0 w 41177"/>
                <a:gd name="connsiteY2" fmla="*/ 20588 h 41176"/>
                <a:gd name="connsiteX3" fmla="*/ 20588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7CC0C7F-0823-43BB-A164-96B2D8BCD43E}"/>
                </a:ext>
              </a:extLst>
            </p:cNvPr>
            <p:cNvSpPr/>
            <p:nvPr/>
          </p:nvSpPr>
          <p:spPr>
            <a:xfrm>
              <a:off x="5833546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7E5A108-C28A-49A2-82DE-03AD0E6A9F42}"/>
                </a:ext>
              </a:extLst>
            </p:cNvPr>
            <p:cNvSpPr/>
            <p:nvPr/>
          </p:nvSpPr>
          <p:spPr>
            <a:xfrm>
              <a:off x="6331445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1BAD056-6F16-4831-A5F6-D6AAAEA4EC94}"/>
                </a:ext>
              </a:extLst>
            </p:cNvPr>
            <p:cNvSpPr/>
            <p:nvPr/>
          </p:nvSpPr>
          <p:spPr>
            <a:xfrm>
              <a:off x="6345612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36F0F3E-4F76-4A7C-8216-FAEC05AFE575}"/>
                </a:ext>
              </a:extLst>
            </p:cNvPr>
            <p:cNvSpPr/>
            <p:nvPr/>
          </p:nvSpPr>
          <p:spPr>
            <a:xfrm>
              <a:off x="6843511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ACCC568-4A2E-400F-BC6D-FB46EFFE5D14}"/>
                </a:ext>
              </a:extLst>
            </p:cNvPr>
            <p:cNvSpPr/>
            <p:nvPr/>
          </p:nvSpPr>
          <p:spPr>
            <a:xfrm>
              <a:off x="6857489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1F72BD6-2B69-41D5-9A08-6EDCD88C7ED6}"/>
                </a:ext>
              </a:extLst>
            </p:cNvPr>
            <p:cNvSpPr/>
            <p:nvPr/>
          </p:nvSpPr>
          <p:spPr>
            <a:xfrm>
              <a:off x="7355388" y="2355186"/>
              <a:ext cx="41177" cy="41176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35CCD9F-F60D-4D3B-862E-CEF04D0816C0}"/>
                </a:ext>
              </a:extLst>
            </p:cNvPr>
            <p:cNvSpPr/>
            <p:nvPr/>
          </p:nvSpPr>
          <p:spPr>
            <a:xfrm>
              <a:off x="7369554" y="1915463"/>
              <a:ext cx="12844" cy="12844"/>
            </a:xfrm>
            <a:custGeom>
              <a:avLst/>
              <a:gdLst>
                <a:gd name="connsiteX0" fmla="*/ 12845 w 12844"/>
                <a:gd name="connsiteY0" fmla="*/ 6422 h 12844"/>
                <a:gd name="connsiteX1" fmla="*/ 6423 w 12844"/>
                <a:gd name="connsiteY1" fmla="*/ 12844 h 12844"/>
                <a:gd name="connsiteX2" fmla="*/ 0 w 12844"/>
                <a:gd name="connsiteY2" fmla="*/ 6422 h 12844"/>
                <a:gd name="connsiteX3" fmla="*/ 6423 w 12844"/>
                <a:gd name="connsiteY3" fmla="*/ 0 h 12844"/>
                <a:gd name="connsiteX4" fmla="*/ 12845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5" y="6422"/>
                  </a:moveTo>
                  <a:cubicBezTo>
                    <a:pt x="12845" y="10011"/>
                    <a:pt x="10011" y="12844"/>
                    <a:pt x="6423" y="12844"/>
                  </a:cubicBezTo>
                  <a:cubicBezTo>
                    <a:pt x="2834" y="12844"/>
                    <a:pt x="0" y="10011"/>
                    <a:pt x="0" y="6422"/>
                  </a:cubicBezTo>
                  <a:cubicBezTo>
                    <a:pt x="0" y="2833"/>
                    <a:pt x="2834" y="0"/>
                    <a:pt x="6423" y="0"/>
                  </a:cubicBezTo>
                  <a:cubicBezTo>
                    <a:pt x="10011" y="0"/>
                    <a:pt x="12845" y="2833"/>
                    <a:pt x="12845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8BDAA56-4EA1-4EEE-8DFF-2956EC702157}"/>
                </a:ext>
              </a:extLst>
            </p:cNvPr>
            <p:cNvSpPr/>
            <p:nvPr/>
          </p:nvSpPr>
          <p:spPr>
            <a:xfrm>
              <a:off x="7867454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494901-4C96-424B-AE4D-B309E8448025}"/>
                </a:ext>
              </a:extLst>
            </p:cNvPr>
            <p:cNvSpPr/>
            <p:nvPr/>
          </p:nvSpPr>
          <p:spPr>
            <a:xfrm>
              <a:off x="7881432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6C81CD78-DAA8-4633-8EBD-F658B58F1B54}"/>
                </a:ext>
              </a:extLst>
            </p:cNvPr>
            <p:cNvSpPr/>
            <p:nvPr/>
          </p:nvSpPr>
          <p:spPr>
            <a:xfrm>
              <a:off x="8379331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CEA9CB0-B236-49F0-B2A4-B203648DC57A}"/>
                </a:ext>
              </a:extLst>
            </p:cNvPr>
            <p:cNvSpPr/>
            <p:nvPr/>
          </p:nvSpPr>
          <p:spPr>
            <a:xfrm>
              <a:off x="8393498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3EE090D1-8D8A-4415-B200-6333F47E928D}"/>
                </a:ext>
              </a:extLst>
            </p:cNvPr>
            <p:cNvSpPr/>
            <p:nvPr/>
          </p:nvSpPr>
          <p:spPr>
            <a:xfrm>
              <a:off x="889139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A2B386D-FFED-4CF5-81C3-6C2609257F83}"/>
                </a:ext>
              </a:extLst>
            </p:cNvPr>
            <p:cNvSpPr/>
            <p:nvPr/>
          </p:nvSpPr>
          <p:spPr>
            <a:xfrm>
              <a:off x="890556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8830ACA-55A5-4265-AC25-C31271FD26D0}"/>
                </a:ext>
              </a:extLst>
            </p:cNvPr>
            <p:cNvSpPr/>
            <p:nvPr/>
          </p:nvSpPr>
          <p:spPr>
            <a:xfrm>
              <a:off x="9403463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43AF8763-32A8-49B7-8827-01F157568B8A}"/>
                </a:ext>
              </a:extLst>
            </p:cNvPr>
            <p:cNvSpPr/>
            <p:nvPr/>
          </p:nvSpPr>
          <p:spPr>
            <a:xfrm>
              <a:off x="9417441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6C38DD8-75E1-4E30-A25F-3733FC1EC711}"/>
                </a:ext>
              </a:extLst>
            </p:cNvPr>
            <p:cNvSpPr/>
            <p:nvPr/>
          </p:nvSpPr>
          <p:spPr>
            <a:xfrm>
              <a:off x="9915340" y="2355186"/>
              <a:ext cx="41176" cy="41176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7E834EA7-E7A5-4DDD-A89A-443F6FB3F4FA}"/>
                </a:ext>
              </a:extLst>
            </p:cNvPr>
            <p:cNvSpPr/>
            <p:nvPr/>
          </p:nvSpPr>
          <p:spPr>
            <a:xfrm>
              <a:off x="9929506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231B2C-7F86-41B6-AAC3-786EC4B3C35A}"/>
                </a:ext>
              </a:extLst>
            </p:cNvPr>
            <p:cNvSpPr/>
            <p:nvPr/>
          </p:nvSpPr>
          <p:spPr>
            <a:xfrm>
              <a:off x="10427406" y="2355186"/>
              <a:ext cx="41177" cy="41176"/>
            </a:xfrm>
            <a:custGeom>
              <a:avLst/>
              <a:gdLst>
                <a:gd name="connsiteX0" fmla="*/ 41178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8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8" y="20588"/>
                  </a:moveTo>
                  <a:cubicBezTo>
                    <a:pt x="41178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8" y="9255"/>
                    <a:pt x="41178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D00253C-83F3-4215-8FF0-CD7840CF1F5B}"/>
                </a:ext>
              </a:extLst>
            </p:cNvPr>
            <p:cNvSpPr/>
            <p:nvPr/>
          </p:nvSpPr>
          <p:spPr>
            <a:xfrm>
              <a:off x="10441384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AA57E2A-28E1-4DF4-8013-B6DCAB29B0F5}"/>
                </a:ext>
              </a:extLst>
            </p:cNvPr>
            <p:cNvSpPr/>
            <p:nvPr/>
          </p:nvSpPr>
          <p:spPr>
            <a:xfrm>
              <a:off x="10939283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DE75D34-8A24-4C2E-AB98-3E42409BF6F0}"/>
                </a:ext>
              </a:extLst>
            </p:cNvPr>
            <p:cNvSpPr/>
            <p:nvPr/>
          </p:nvSpPr>
          <p:spPr>
            <a:xfrm>
              <a:off x="10953450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5499DBE2-5F68-4576-B814-28046C17A879}"/>
                </a:ext>
              </a:extLst>
            </p:cNvPr>
            <p:cNvSpPr/>
            <p:nvPr/>
          </p:nvSpPr>
          <p:spPr>
            <a:xfrm>
              <a:off x="11451160" y="2355186"/>
              <a:ext cx="41176" cy="41176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0B5FBAB4-3299-4FBB-BC9E-F7CC8F637BF1}"/>
                </a:ext>
              </a:extLst>
            </p:cNvPr>
            <p:cNvSpPr/>
            <p:nvPr/>
          </p:nvSpPr>
          <p:spPr>
            <a:xfrm>
              <a:off x="11465327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8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8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C798CB9E-C8F7-4A11-AA4E-4A89EDDE06B1}"/>
                </a:ext>
              </a:extLst>
            </p:cNvPr>
            <p:cNvSpPr/>
            <p:nvPr/>
          </p:nvSpPr>
          <p:spPr>
            <a:xfrm flipH="1">
              <a:off x="53849" y="2765879"/>
              <a:ext cx="12084394" cy="4077840"/>
            </a:xfrm>
            <a:custGeom>
              <a:avLst/>
              <a:gdLst>
                <a:gd name="connsiteX0" fmla="*/ 11929965 w 12084394"/>
                <a:gd name="connsiteY0" fmla="*/ 3958074 h 4077840"/>
                <a:gd name="connsiteX1" fmla="*/ 12080337 w 12084394"/>
                <a:gd name="connsiteY1" fmla="*/ 4057748 h 4077840"/>
                <a:gd name="connsiteX2" fmla="*/ 12084394 w 12084394"/>
                <a:gd name="connsiteY2" fmla="*/ 4077840 h 4077840"/>
                <a:gd name="connsiteX3" fmla="*/ 11775537 w 12084394"/>
                <a:gd name="connsiteY3" fmla="*/ 4077840 h 4077840"/>
                <a:gd name="connsiteX4" fmla="*/ 11779594 w 12084394"/>
                <a:gd name="connsiteY4" fmla="*/ 4057748 h 4077840"/>
                <a:gd name="connsiteX5" fmla="*/ 11929965 w 12084394"/>
                <a:gd name="connsiteY5" fmla="*/ 3958074 h 4077840"/>
                <a:gd name="connsiteX6" fmla="*/ 11417899 w 12084394"/>
                <a:gd name="connsiteY6" fmla="*/ 3958074 h 4077840"/>
                <a:gd name="connsiteX7" fmla="*/ 11568271 w 12084394"/>
                <a:gd name="connsiteY7" fmla="*/ 4057748 h 4077840"/>
                <a:gd name="connsiteX8" fmla="*/ 11572328 w 12084394"/>
                <a:gd name="connsiteY8" fmla="*/ 4077840 h 4077840"/>
                <a:gd name="connsiteX9" fmla="*/ 11263471 w 12084394"/>
                <a:gd name="connsiteY9" fmla="*/ 4077840 h 4077840"/>
                <a:gd name="connsiteX10" fmla="*/ 11267528 w 12084394"/>
                <a:gd name="connsiteY10" fmla="*/ 4057748 h 4077840"/>
                <a:gd name="connsiteX11" fmla="*/ 11417899 w 12084394"/>
                <a:gd name="connsiteY11" fmla="*/ 3958074 h 4077840"/>
                <a:gd name="connsiteX12" fmla="*/ 10906022 w 12084394"/>
                <a:gd name="connsiteY12" fmla="*/ 3958074 h 4077840"/>
                <a:gd name="connsiteX13" fmla="*/ 11056393 w 12084394"/>
                <a:gd name="connsiteY13" fmla="*/ 4057748 h 4077840"/>
                <a:gd name="connsiteX14" fmla="*/ 11060450 w 12084394"/>
                <a:gd name="connsiteY14" fmla="*/ 4077840 h 4077840"/>
                <a:gd name="connsiteX15" fmla="*/ 10751593 w 12084394"/>
                <a:gd name="connsiteY15" fmla="*/ 4077840 h 4077840"/>
                <a:gd name="connsiteX16" fmla="*/ 10755650 w 12084394"/>
                <a:gd name="connsiteY16" fmla="*/ 4057748 h 4077840"/>
                <a:gd name="connsiteX17" fmla="*/ 10906022 w 12084394"/>
                <a:gd name="connsiteY17" fmla="*/ 3958074 h 4077840"/>
                <a:gd name="connsiteX18" fmla="*/ 10393956 w 12084394"/>
                <a:gd name="connsiteY18" fmla="*/ 3958074 h 4077840"/>
                <a:gd name="connsiteX19" fmla="*/ 10544328 w 12084394"/>
                <a:gd name="connsiteY19" fmla="*/ 4057748 h 4077840"/>
                <a:gd name="connsiteX20" fmla="*/ 10548385 w 12084394"/>
                <a:gd name="connsiteY20" fmla="*/ 4077840 h 4077840"/>
                <a:gd name="connsiteX21" fmla="*/ 10239527 w 12084394"/>
                <a:gd name="connsiteY21" fmla="*/ 4077840 h 4077840"/>
                <a:gd name="connsiteX22" fmla="*/ 10243584 w 12084394"/>
                <a:gd name="connsiteY22" fmla="*/ 4057748 h 4077840"/>
                <a:gd name="connsiteX23" fmla="*/ 10393956 w 12084394"/>
                <a:gd name="connsiteY23" fmla="*/ 3958074 h 4077840"/>
                <a:gd name="connsiteX24" fmla="*/ 9882079 w 12084394"/>
                <a:gd name="connsiteY24" fmla="*/ 3958074 h 4077840"/>
                <a:gd name="connsiteX25" fmla="*/ 10032451 w 12084394"/>
                <a:gd name="connsiteY25" fmla="*/ 4057748 h 4077840"/>
                <a:gd name="connsiteX26" fmla="*/ 10036508 w 12084394"/>
                <a:gd name="connsiteY26" fmla="*/ 4077840 h 4077840"/>
                <a:gd name="connsiteX27" fmla="*/ 9727651 w 12084394"/>
                <a:gd name="connsiteY27" fmla="*/ 4077840 h 4077840"/>
                <a:gd name="connsiteX28" fmla="*/ 9731708 w 12084394"/>
                <a:gd name="connsiteY28" fmla="*/ 4057748 h 4077840"/>
                <a:gd name="connsiteX29" fmla="*/ 9882079 w 12084394"/>
                <a:gd name="connsiteY29" fmla="*/ 3958074 h 4077840"/>
                <a:gd name="connsiteX30" fmla="*/ 9370013 w 12084394"/>
                <a:gd name="connsiteY30" fmla="*/ 3958074 h 4077840"/>
                <a:gd name="connsiteX31" fmla="*/ 9520384 w 12084394"/>
                <a:gd name="connsiteY31" fmla="*/ 4057748 h 4077840"/>
                <a:gd name="connsiteX32" fmla="*/ 9524441 w 12084394"/>
                <a:gd name="connsiteY32" fmla="*/ 4077840 h 4077840"/>
                <a:gd name="connsiteX33" fmla="*/ 9215584 w 12084394"/>
                <a:gd name="connsiteY33" fmla="*/ 4077840 h 4077840"/>
                <a:gd name="connsiteX34" fmla="*/ 9219641 w 12084394"/>
                <a:gd name="connsiteY34" fmla="*/ 4057748 h 4077840"/>
                <a:gd name="connsiteX35" fmla="*/ 9370013 w 12084394"/>
                <a:gd name="connsiteY35" fmla="*/ 3958074 h 4077840"/>
                <a:gd name="connsiteX36" fmla="*/ 8858136 w 12084394"/>
                <a:gd name="connsiteY36" fmla="*/ 3958074 h 4077840"/>
                <a:gd name="connsiteX37" fmla="*/ 9008508 w 12084394"/>
                <a:gd name="connsiteY37" fmla="*/ 4057748 h 4077840"/>
                <a:gd name="connsiteX38" fmla="*/ 9012565 w 12084394"/>
                <a:gd name="connsiteY38" fmla="*/ 4077840 h 4077840"/>
                <a:gd name="connsiteX39" fmla="*/ 8703708 w 12084394"/>
                <a:gd name="connsiteY39" fmla="*/ 4077840 h 4077840"/>
                <a:gd name="connsiteX40" fmla="*/ 8707765 w 12084394"/>
                <a:gd name="connsiteY40" fmla="*/ 4057748 h 4077840"/>
                <a:gd name="connsiteX41" fmla="*/ 8858136 w 12084394"/>
                <a:gd name="connsiteY41" fmla="*/ 3958074 h 4077840"/>
                <a:gd name="connsiteX42" fmla="*/ 8346070 w 12084394"/>
                <a:gd name="connsiteY42" fmla="*/ 3958074 h 4077840"/>
                <a:gd name="connsiteX43" fmla="*/ 8496441 w 12084394"/>
                <a:gd name="connsiteY43" fmla="*/ 4057748 h 4077840"/>
                <a:gd name="connsiteX44" fmla="*/ 8500498 w 12084394"/>
                <a:gd name="connsiteY44" fmla="*/ 4077840 h 4077840"/>
                <a:gd name="connsiteX45" fmla="*/ 8191642 w 12084394"/>
                <a:gd name="connsiteY45" fmla="*/ 4077840 h 4077840"/>
                <a:gd name="connsiteX46" fmla="*/ 8195698 w 12084394"/>
                <a:gd name="connsiteY46" fmla="*/ 4057748 h 4077840"/>
                <a:gd name="connsiteX47" fmla="*/ 8346070 w 12084394"/>
                <a:gd name="connsiteY47" fmla="*/ 3958074 h 4077840"/>
                <a:gd name="connsiteX48" fmla="*/ 7834193 w 12084394"/>
                <a:gd name="connsiteY48" fmla="*/ 3958074 h 4077840"/>
                <a:gd name="connsiteX49" fmla="*/ 7984565 w 12084394"/>
                <a:gd name="connsiteY49" fmla="*/ 4057748 h 4077840"/>
                <a:gd name="connsiteX50" fmla="*/ 7988622 w 12084394"/>
                <a:gd name="connsiteY50" fmla="*/ 4077840 h 4077840"/>
                <a:gd name="connsiteX51" fmla="*/ 7679765 w 12084394"/>
                <a:gd name="connsiteY51" fmla="*/ 4077840 h 4077840"/>
                <a:gd name="connsiteX52" fmla="*/ 7683822 w 12084394"/>
                <a:gd name="connsiteY52" fmla="*/ 4057748 h 4077840"/>
                <a:gd name="connsiteX53" fmla="*/ 7834193 w 12084394"/>
                <a:gd name="connsiteY53" fmla="*/ 3958074 h 4077840"/>
                <a:gd name="connsiteX54" fmla="*/ 7322127 w 12084394"/>
                <a:gd name="connsiteY54" fmla="*/ 3958074 h 4077840"/>
                <a:gd name="connsiteX55" fmla="*/ 7472498 w 12084394"/>
                <a:gd name="connsiteY55" fmla="*/ 4057748 h 4077840"/>
                <a:gd name="connsiteX56" fmla="*/ 7476555 w 12084394"/>
                <a:gd name="connsiteY56" fmla="*/ 4077840 h 4077840"/>
                <a:gd name="connsiteX57" fmla="*/ 7167699 w 12084394"/>
                <a:gd name="connsiteY57" fmla="*/ 4077840 h 4077840"/>
                <a:gd name="connsiteX58" fmla="*/ 7171755 w 12084394"/>
                <a:gd name="connsiteY58" fmla="*/ 4057748 h 4077840"/>
                <a:gd name="connsiteX59" fmla="*/ 7322127 w 12084394"/>
                <a:gd name="connsiteY59" fmla="*/ 3958074 h 4077840"/>
                <a:gd name="connsiteX60" fmla="*/ 6810062 w 12084394"/>
                <a:gd name="connsiteY60" fmla="*/ 3958074 h 4077840"/>
                <a:gd name="connsiteX61" fmla="*/ 6960434 w 12084394"/>
                <a:gd name="connsiteY61" fmla="*/ 4057748 h 4077840"/>
                <a:gd name="connsiteX62" fmla="*/ 6964491 w 12084394"/>
                <a:gd name="connsiteY62" fmla="*/ 4077840 h 4077840"/>
                <a:gd name="connsiteX63" fmla="*/ 6655635 w 12084394"/>
                <a:gd name="connsiteY63" fmla="*/ 4077840 h 4077840"/>
                <a:gd name="connsiteX64" fmla="*/ 6659691 w 12084394"/>
                <a:gd name="connsiteY64" fmla="*/ 4057748 h 4077840"/>
                <a:gd name="connsiteX65" fmla="*/ 6810062 w 12084394"/>
                <a:gd name="connsiteY65" fmla="*/ 3958074 h 4077840"/>
                <a:gd name="connsiteX66" fmla="*/ 6298184 w 12084394"/>
                <a:gd name="connsiteY66" fmla="*/ 3958074 h 4077840"/>
                <a:gd name="connsiteX67" fmla="*/ 6448557 w 12084394"/>
                <a:gd name="connsiteY67" fmla="*/ 4057748 h 4077840"/>
                <a:gd name="connsiteX68" fmla="*/ 6452613 w 12084394"/>
                <a:gd name="connsiteY68" fmla="*/ 4077840 h 4077840"/>
                <a:gd name="connsiteX69" fmla="*/ 6143757 w 12084394"/>
                <a:gd name="connsiteY69" fmla="*/ 4077840 h 4077840"/>
                <a:gd name="connsiteX70" fmla="*/ 6147813 w 12084394"/>
                <a:gd name="connsiteY70" fmla="*/ 4057748 h 4077840"/>
                <a:gd name="connsiteX71" fmla="*/ 6298184 w 12084394"/>
                <a:gd name="connsiteY71" fmla="*/ 3958074 h 4077840"/>
                <a:gd name="connsiteX72" fmla="*/ 5786126 w 12084394"/>
                <a:gd name="connsiteY72" fmla="*/ 3958074 h 4077840"/>
                <a:gd name="connsiteX73" fmla="*/ 5936491 w 12084394"/>
                <a:gd name="connsiteY73" fmla="*/ 4057748 h 4077840"/>
                <a:gd name="connsiteX74" fmla="*/ 5940548 w 12084394"/>
                <a:gd name="connsiteY74" fmla="*/ 4077840 h 4077840"/>
                <a:gd name="connsiteX75" fmla="*/ 5631705 w 12084394"/>
                <a:gd name="connsiteY75" fmla="*/ 4077840 h 4077840"/>
                <a:gd name="connsiteX76" fmla="*/ 5635761 w 12084394"/>
                <a:gd name="connsiteY76" fmla="*/ 4057748 h 4077840"/>
                <a:gd name="connsiteX77" fmla="*/ 5786126 w 12084394"/>
                <a:gd name="connsiteY77" fmla="*/ 3958074 h 4077840"/>
                <a:gd name="connsiteX78" fmla="*/ 5274270 w 12084394"/>
                <a:gd name="connsiteY78" fmla="*/ 3958074 h 4077840"/>
                <a:gd name="connsiteX79" fmla="*/ 5424637 w 12084394"/>
                <a:gd name="connsiteY79" fmla="*/ 4057748 h 4077840"/>
                <a:gd name="connsiteX80" fmla="*/ 5428693 w 12084394"/>
                <a:gd name="connsiteY80" fmla="*/ 4077840 h 4077840"/>
                <a:gd name="connsiteX81" fmla="*/ 5119842 w 12084394"/>
                <a:gd name="connsiteY81" fmla="*/ 4077840 h 4077840"/>
                <a:gd name="connsiteX82" fmla="*/ 5123898 w 12084394"/>
                <a:gd name="connsiteY82" fmla="*/ 4057748 h 4077840"/>
                <a:gd name="connsiteX83" fmla="*/ 5274270 w 12084394"/>
                <a:gd name="connsiteY83" fmla="*/ 3958074 h 4077840"/>
                <a:gd name="connsiteX84" fmla="*/ 4762180 w 12084394"/>
                <a:gd name="connsiteY84" fmla="*/ 3958074 h 4077840"/>
                <a:gd name="connsiteX85" fmla="*/ 4912588 w 12084394"/>
                <a:gd name="connsiteY85" fmla="*/ 4057748 h 4077840"/>
                <a:gd name="connsiteX86" fmla="*/ 4916645 w 12084394"/>
                <a:gd name="connsiteY86" fmla="*/ 4077840 h 4077840"/>
                <a:gd name="connsiteX87" fmla="*/ 4607771 w 12084394"/>
                <a:gd name="connsiteY87" fmla="*/ 4077840 h 4077840"/>
                <a:gd name="connsiteX88" fmla="*/ 4611827 w 12084394"/>
                <a:gd name="connsiteY88" fmla="*/ 4057748 h 4077840"/>
                <a:gd name="connsiteX89" fmla="*/ 4762180 w 12084394"/>
                <a:gd name="connsiteY89" fmla="*/ 3958074 h 4077840"/>
                <a:gd name="connsiteX90" fmla="*/ 4250316 w 12084394"/>
                <a:gd name="connsiteY90" fmla="*/ 3958074 h 4077840"/>
                <a:gd name="connsiteX91" fmla="*/ 4400696 w 12084394"/>
                <a:gd name="connsiteY91" fmla="*/ 4057748 h 4077840"/>
                <a:gd name="connsiteX92" fmla="*/ 4404753 w 12084394"/>
                <a:gd name="connsiteY92" fmla="*/ 4077840 h 4077840"/>
                <a:gd name="connsiteX93" fmla="*/ 4095930 w 12084394"/>
                <a:gd name="connsiteY93" fmla="*/ 4077840 h 4077840"/>
                <a:gd name="connsiteX94" fmla="*/ 4099984 w 12084394"/>
                <a:gd name="connsiteY94" fmla="*/ 4057748 h 4077840"/>
                <a:gd name="connsiteX95" fmla="*/ 4250316 w 12084394"/>
                <a:gd name="connsiteY95" fmla="*/ 3958074 h 4077840"/>
                <a:gd name="connsiteX96" fmla="*/ 3738289 w 12084394"/>
                <a:gd name="connsiteY96" fmla="*/ 3958074 h 4077840"/>
                <a:gd name="connsiteX97" fmla="*/ 3888663 w 12084394"/>
                <a:gd name="connsiteY97" fmla="*/ 4057748 h 4077840"/>
                <a:gd name="connsiteX98" fmla="*/ 3892720 w 12084394"/>
                <a:gd name="connsiteY98" fmla="*/ 4077840 h 4077840"/>
                <a:gd name="connsiteX99" fmla="*/ 3583860 w 12084394"/>
                <a:gd name="connsiteY99" fmla="*/ 4077840 h 4077840"/>
                <a:gd name="connsiteX100" fmla="*/ 3587916 w 12084394"/>
                <a:gd name="connsiteY100" fmla="*/ 4057748 h 4077840"/>
                <a:gd name="connsiteX101" fmla="*/ 3738289 w 12084394"/>
                <a:gd name="connsiteY101" fmla="*/ 3958074 h 4077840"/>
                <a:gd name="connsiteX102" fmla="*/ 3226242 w 12084394"/>
                <a:gd name="connsiteY102" fmla="*/ 3958074 h 4077840"/>
                <a:gd name="connsiteX103" fmla="*/ 3376624 w 12084394"/>
                <a:gd name="connsiteY103" fmla="*/ 4057748 h 4077840"/>
                <a:gd name="connsiteX104" fmla="*/ 3380681 w 12084394"/>
                <a:gd name="connsiteY104" fmla="*/ 4077840 h 4077840"/>
                <a:gd name="connsiteX105" fmla="*/ 3071812 w 12084394"/>
                <a:gd name="connsiteY105" fmla="*/ 4077840 h 4077840"/>
                <a:gd name="connsiteX106" fmla="*/ 3075868 w 12084394"/>
                <a:gd name="connsiteY106" fmla="*/ 4057748 h 4077840"/>
                <a:gd name="connsiteX107" fmla="*/ 3226242 w 12084394"/>
                <a:gd name="connsiteY107" fmla="*/ 3958074 h 4077840"/>
                <a:gd name="connsiteX108" fmla="*/ 2714363 w 12084394"/>
                <a:gd name="connsiteY108" fmla="*/ 3958074 h 4077840"/>
                <a:gd name="connsiteX109" fmla="*/ 2864736 w 12084394"/>
                <a:gd name="connsiteY109" fmla="*/ 4057748 h 4077840"/>
                <a:gd name="connsiteX110" fmla="*/ 2868792 w 12084394"/>
                <a:gd name="connsiteY110" fmla="*/ 4077840 h 4077840"/>
                <a:gd name="connsiteX111" fmla="*/ 2559936 w 12084394"/>
                <a:gd name="connsiteY111" fmla="*/ 4077840 h 4077840"/>
                <a:gd name="connsiteX112" fmla="*/ 2563993 w 12084394"/>
                <a:gd name="connsiteY112" fmla="*/ 4057748 h 4077840"/>
                <a:gd name="connsiteX113" fmla="*/ 2714363 w 12084394"/>
                <a:gd name="connsiteY113" fmla="*/ 3958074 h 4077840"/>
                <a:gd name="connsiteX114" fmla="*/ 2202307 w 12084394"/>
                <a:gd name="connsiteY114" fmla="*/ 3958074 h 4077840"/>
                <a:gd name="connsiteX115" fmla="*/ 2352676 w 12084394"/>
                <a:gd name="connsiteY115" fmla="*/ 4057748 h 4077840"/>
                <a:gd name="connsiteX116" fmla="*/ 2356732 w 12084394"/>
                <a:gd name="connsiteY116" fmla="*/ 4077840 h 4077840"/>
                <a:gd name="connsiteX117" fmla="*/ 2047866 w 12084394"/>
                <a:gd name="connsiteY117" fmla="*/ 4077840 h 4077840"/>
                <a:gd name="connsiteX118" fmla="*/ 2051924 w 12084394"/>
                <a:gd name="connsiteY118" fmla="*/ 4057748 h 4077840"/>
                <a:gd name="connsiteX119" fmla="*/ 2202307 w 12084394"/>
                <a:gd name="connsiteY119" fmla="*/ 3958074 h 4077840"/>
                <a:gd name="connsiteX120" fmla="*/ 1690413 w 12084394"/>
                <a:gd name="connsiteY120" fmla="*/ 3958074 h 4077840"/>
                <a:gd name="connsiteX121" fmla="*/ 1840785 w 12084394"/>
                <a:gd name="connsiteY121" fmla="*/ 4057748 h 4077840"/>
                <a:gd name="connsiteX122" fmla="*/ 1844841 w 12084394"/>
                <a:gd name="connsiteY122" fmla="*/ 4077840 h 4077840"/>
                <a:gd name="connsiteX123" fmla="*/ 1535987 w 12084394"/>
                <a:gd name="connsiteY123" fmla="*/ 4077840 h 4077840"/>
                <a:gd name="connsiteX124" fmla="*/ 1540043 w 12084394"/>
                <a:gd name="connsiteY124" fmla="*/ 4057748 h 4077840"/>
                <a:gd name="connsiteX125" fmla="*/ 1690413 w 12084394"/>
                <a:gd name="connsiteY125" fmla="*/ 3958074 h 4077840"/>
                <a:gd name="connsiteX126" fmla="*/ 1178354 w 12084394"/>
                <a:gd name="connsiteY126" fmla="*/ 3958074 h 4077840"/>
                <a:gd name="connsiteX127" fmla="*/ 1328724 w 12084394"/>
                <a:gd name="connsiteY127" fmla="*/ 4057748 h 4077840"/>
                <a:gd name="connsiteX128" fmla="*/ 1332781 w 12084394"/>
                <a:gd name="connsiteY128" fmla="*/ 4077840 h 4077840"/>
                <a:gd name="connsiteX129" fmla="*/ 1023928 w 12084394"/>
                <a:gd name="connsiteY129" fmla="*/ 4077840 h 4077840"/>
                <a:gd name="connsiteX130" fmla="*/ 1027984 w 12084394"/>
                <a:gd name="connsiteY130" fmla="*/ 4057748 h 4077840"/>
                <a:gd name="connsiteX131" fmla="*/ 1178354 w 12084394"/>
                <a:gd name="connsiteY131" fmla="*/ 3958074 h 4077840"/>
                <a:gd name="connsiteX132" fmla="*/ 666484 w 12084394"/>
                <a:gd name="connsiteY132" fmla="*/ 3958074 h 4077840"/>
                <a:gd name="connsiteX133" fmla="*/ 816855 w 12084394"/>
                <a:gd name="connsiteY133" fmla="*/ 4057748 h 4077840"/>
                <a:gd name="connsiteX134" fmla="*/ 820911 w 12084394"/>
                <a:gd name="connsiteY134" fmla="*/ 4077840 h 4077840"/>
                <a:gd name="connsiteX135" fmla="*/ 512057 w 12084394"/>
                <a:gd name="connsiteY135" fmla="*/ 4077840 h 4077840"/>
                <a:gd name="connsiteX136" fmla="*/ 516114 w 12084394"/>
                <a:gd name="connsiteY136" fmla="*/ 4057748 h 4077840"/>
                <a:gd name="connsiteX137" fmla="*/ 666484 w 12084394"/>
                <a:gd name="connsiteY137" fmla="*/ 3958074 h 4077840"/>
                <a:gd name="connsiteX138" fmla="*/ 154426 w 12084394"/>
                <a:gd name="connsiteY138" fmla="*/ 3958074 h 4077840"/>
                <a:gd name="connsiteX139" fmla="*/ 304797 w 12084394"/>
                <a:gd name="connsiteY139" fmla="*/ 4057748 h 4077840"/>
                <a:gd name="connsiteX140" fmla="*/ 308853 w 12084394"/>
                <a:gd name="connsiteY140" fmla="*/ 4077840 h 4077840"/>
                <a:gd name="connsiteX141" fmla="*/ 0 w 12084394"/>
                <a:gd name="connsiteY141" fmla="*/ 4077840 h 4077840"/>
                <a:gd name="connsiteX142" fmla="*/ 4057 w 12084394"/>
                <a:gd name="connsiteY142" fmla="*/ 4057748 h 4077840"/>
                <a:gd name="connsiteX143" fmla="*/ 154426 w 12084394"/>
                <a:gd name="connsiteY143" fmla="*/ 3958074 h 4077840"/>
                <a:gd name="connsiteX144" fmla="*/ 11929966 w 12084394"/>
                <a:gd name="connsiteY144" fmla="*/ 3518352 h 4077840"/>
                <a:gd name="connsiteX145" fmla="*/ 12078996 w 12084394"/>
                <a:gd name="connsiteY145" fmla="*/ 3667382 h 4077840"/>
                <a:gd name="connsiteX146" fmla="*/ 11929966 w 12084394"/>
                <a:gd name="connsiteY146" fmla="*/ 3816412 h 4077840"/>
                <a:gd name="connsiteX147" fmla="*/ 11780936 w 12084394"/>
                <a:gd name="connsiteY147" fmla="*/ 3667382 h 4077840"/>
                <a:gd name="connsiteX148" fmla="*/ 11929966 w 12084394"/>
                <a:gd name="connsiteY148" fmla="*/ 3518352 h 4077840"/>
                <a:gd name="connsiteX149" fmla="*/ 11417900 w 12084394"/>
                <a:gd name="connsiteY149" fmla="*/ 3518352 h 4077840"/>
                <a:gd name="connsiteX150" fmla="*/ 11566930 w 12084394"/>
                <a:gd name="connsiteY150" fmla="*/ 3667382 h 4077840"/>
                <a:gd name="connsiteX151" fmla="*/ 11417900 w 12084394"/>
                <a:gd name="connsiteY151" fmla="*/ 3816412 h 4077840"/>
                <a:gd name="connsiteX152" fmla="*/ 11268870 w 12084394"/>
                <a:gd name="connsiteY152" fmla="*/ 3667382 h 4077840"/>
                <a:gd name="connsiteX153" fmla="*/ 11417900 w 12084394"/>
                <a:gd name="connsiteY153" fmla="*/ 3518352 h 4077840"/>
                <a:gd name="connsiteX154" fmla="*/ 10906022 w 12084394"/>
                <a:gd name="connsiteY154" fmla="*/ 3518352 h 4077840"/>
                <a:gd name="connsiteX155" fmla="*/ 11055053 w 12084394"/>
                <a:gd name="connsiteY155" fmla="*/ 3667382 h 4077840"/>
                <a:gd name="connsiteX156" fmla="*/ 10906022 w 12084394"/>
                <a:gd name="connsiteY156" fmla="*/ 3816412 h 4077840"/>
                <a:gd name="connsiteX157" fmla="*/ 10756992 w 12084394"/>
                <a:gd name="connsiteY157" fmla="*/ 3667382 h 4077840"/>
                <a:gd name="connsiteX158" fmla="*/ 10906022 w 12084394"/>
                <a:gd name="connsiteY158" fmla="*/ 3518352 h 4077840"/>
                <a:gd name="connsiteX159" fmla="*/ 10393957 w 12084394"/>
                <a:gd name="connsiteY159" fmla="*/ 3518352 h 4077840"/>
                <a:gd name="connsiteX160" fmla="*/ 10542987 w 12084394"/>
                <a:gd name="connsiteY160" fmla="*/ 3667382 h 4077840"/>
                <a:gd name="connsiteX161" fmla="*/ 10393957 w 12084394"/>
                <a:gd name="connsiteY161" fmla="*/ 3816412 h 4077840"/>
                <a:gd name="connsiteX162" fmla="*/ 10244926 w 12084394"/>
                <a:gd name="connsiteY162" fmla="*/ 3667382 h 4077840"/>
                <a:gd name="connsiteX163" fmla="*/ 10393957 w 12084394"/>
                <a:gd name="connsiteY163" fmla="*/ 3518352 h 4077840"/>
                <a:gd name="connsiteX164" fmla="*/ 9882080 w 12084394"/>
                <a:gd name="connsiteY164" fmla="*/ 3518352 h 4077840"/>
                <a:gd name="connsiteX165" fmla="*/ 10031110 w 12084394"/>
                <a:gd name="connsiteY165" fmla="*/ 3667382 h 4077840"/>
                <a:gd name="connsiteX166" fmla="*/ 9882080 w 12084394"/>
                <a:gd name="connsiteY166" fmla="*/ 3816412 h 4077840"/>
                <a:gd name="connsiteX167" fmla="*/ 9733050 w 12084394"/>
                <a:gd name="connsiteY167" fmla="*/ 3667382 h 4077840"/>
                <a:gd name="connsiteX168" fmla="*/ 9882080 w 12084394"/>
                <a:gd name="connsiteY168" fmla="*/ 3518352 h 4077840"/>
                <a:gd name="connsiteX169" fmla="*/ 9370013 w 12084394"/>
                <a:gd name="connsiteY169" fmla="*/ 3518352 h 4077840"/>
                <a:gd name="connsiteX170" fmla="*/ 9519043 w 12084394"/>
                <a:gd name="connsiteY170" fmla="*/ 3667382 h 4077840"/>
                <a:gd name="connsiteX171" fmla="*/ 9370013 w 12084394"/>
                <a:gd name="connsiteY171" fmla="*/ 3816412 h 4077840"/>
                <a:gd name="connsiteX172" fmla="*/ 9220983 w 12084394"/>
                <a:gd name="connsiteY172" fmla="*/ 3667382 h 4077840"/>
                <a:gd name="connsiteX173" fmla="*/ 9370013 w 12084394"/>
                <a:gd name="connsiteY173" fmla="*/ 3518352 h 4077840"/>
                <a:gd name="connsiteX174" fmla="*/ 8858137 w 12084394"/>
                <a:gd name="connsiteY174" fmla="*/ 3518352 h 4077840"/>
                <a:gd name="connsiteX175" fmla="*/ 9007167 w 12084394"/>
                <a:gd name="connsiteY175" fmla="*/ 3667382 h 4077840"/>
                <a:gd name="connsiteX176" fmla="*/ 8858137 w 12084394"/>
                <a:gd name="connsiteY176" fmla="*/ 3816412 h 4077840"/>
                <a:gd name="connsiteX177" fmla="*/ 8709107 w 12084394"/>
                <a:gd name="connsiteY177" fmla="*/ 3667382 h 4077840"/>
                <a:gd name="connsiteX178" fmla="*/ 8858137 w 12084394"/>
                <a:gd name="connsiteY178" fmla="*/ 3518352 h 4077840"/>
                <a:gd name="connsiteX179" fmla="*/ 8346070 w 12084394"/>
                <a:gd name="connsiteY179" fmla="*/ 3518352 h 4077840"/>
                <a:gd name="connsiteX180" fmla="*/ 8495101 w 12084394"/>
                <a:gd name="connsiteY180" fmla="*/ 3667382 h 4077840"/>
                <a:gd name="connsiteX181" fmla="*/ 8346070 w 12084394"/>
                <a:gd name="connsiteY181" fmla="*/ 3816412 h 4077840"/>
                <a:gd name="connsiteX182" fmla="*/ 8197040 w 12084394"/>
                <a:gd name="connsiteY182" fmla="*/ 3667382 h 4077840"/>
                <a:gd name="connsiteX183" fmla="*/ 8346070 w 12084394"/>
                <a:gd name="connsiteY183" fmla="*/ 3518352 h 4077840"/>
                <a:gd name="connsiteX184" fmla="*/ 7834194 w 12084394"/>
                <a:gd name="connsiteY184" fmla="*/ 3518352 h 4077840"/>
                <a:gd name="connsiteX185" fmla="*/ 7983224 w 12084394"/>
                <a:gd name="connsiteY185" fmla="*/ 3667382 h 4077840"/>
                <a:gd name="connsiteX186" fmla="*/ 7834194 w 12084394"/>
                <a:gd name="connsiteY186" fmla="*/ 3816412 h 4077840"/>
                <a:gd name="connsiteX187" fmla="*/ 7685164 w 12084394"/>
                <a:gd name="connsiteY187" fmla="*/ 3667382 h 4077840"/>
                <a:gd name="connsiteX188" fmla="*/ 7834194 w 12084394"/>
                <a:gd name="connsiteY188" fmla="*/ 3518352 h 4077840"/>
                <a:gd name="connsiteX189" fmla="*/ 7322128 w 12084394"/>
                <a:gd name="connsiteY189" fmla="*/ 3518352 h 4077840"/>
                <a:gd name="connsiteX190" fmla="*/ 7471158 w 12084394"/>
                <a:gd name="connsiteY190" fmla="*/ 3667382 h 4077840"/>
                <a:gd name="connsiteX191" fmla="*/ 7322128 w 12084394"/>
                <a:gd name="connsiteY191" fmla="*/ 3816412 h 4077840"/>
                <a:gd name="connsiteX192" fmla="*/ 7173097 w 12084394"/>
                <a:gd name="connsiteY192" fmla="*/ 3667382 h 4077840"/>
                <a:gd name="connsiteX193" fmla="*/ 7322128 w 12084394"/>
                <a:gd name="connsiteY193" fmla="*/ 3518352 h 4077840"/>
                <a:gd name="connsiteX194" fmla="*/ 6810062 w 12084394"/>
                <a:gd name="connsiteY194" fmla="*/ 3518352 h 4077840"/>
                <a:gd name="connsiteX195" fmla="*/ 6959092 w 12084394"/>
                <a:gd name="connsiteY195" fmla="*/ 3667382 h 4077840"/>
                <a:gd name="connsiteX196" fmla="*/ 6810062 w 12084394"/>
                <a:gd name="connsiteY196" fmla="*/ 3816412 h 4077840"/>
                <a:gd name="connsiteX197" fmla="*/ 6661032 w 12084394"/>
                <a:gd name="connsiteY197" fmla="*/ 3667382 h 4077840"/>
                <a:gd name="connsiteX198" fmla="*/ 6810062 w 12084394"/>
                <a:gd name="connsiteY198" fmla="*/ 3518352 h 4077840"/>
                <a:gd name="connsiteX199" fmla="*/ 6298186 w 12084394"/>
                <a:gd name="connsiteY199" fmla="*/ 3518352 h 4077840"/>
                <a:gd name="connsiteX200" fmla="*/ 6447215 w 12084394"/>
                <a:gd name="connsiteY200" fmla="*/ 3667382 h 4077840"/>
                <a:gd name="connsiteX201" fmla="*/ 6298186 w 12084394"/>
                <a:gd name="connsiteY201" fmla="*/ 3816412 h 4077840"/>
                <a:gd name="connsiteX202" fmla="*/ 6149155 w 12084394"/>
                <a:gd name="connsiteY202" fmla="*/ 3667382 h 4077840"/>
                <a:gd name="connsiteX203" fmla="*/ 6298186 w 12084394"/>
                <a:gd name="connsiteY203" fmla="*/ 3518352 h 4077840"/>
                <a:gd name="connsiteX204" fmla="*/ 5786126 w 12084394"/>
                <a:gd name="connsiteY204" fmla="*/ 3518352 h 4077840"/>
                <a:gd name="connsiteX205" fmla="*/ 5935149 w 12084394"/>
                <a:gd name="connsiteY205" fmla="*/ 3667382 h 4077840"/>
                <a:gd name="connsiteX206" fmla="*/ 5786126 w 12084394"/>
                <a:gd name="connsiteY206" fmla="*/ 3816412 h 4077840"/>
                <a:gd name="connsiteX207" fmla="*/ 5637102 w 12084394"/>
                <a:gd name="connsiteY207" fmla="*/ 3667382 h 4077840"/>
                <a:gd name="connsiteX208" fmla="*/ 5786126 w 12084394"/>
                <a:gd name="connsiteY208" fmla="*/ 3518352 h 4077840"/>
                <a:gd name="connsiteX209" fmla="*/ 5274270 w 12084394"/>
                <a:gd name="connsiteY209" fmla="*/ 3518352 h 4077840"/>
                <a:gd name="connsiteX210" fmla="*/ 5423296 w 12084394"/>
                <a:gd name="connsiteY210" fmla="*/ 3667382 h 4077840"/>
                <a:gd name="connsiteX211" fmla="*/ 5274270 w 12084394"/>
                <a:gd name="connsiteY211" fmla="*/ 3816412 h 4077840"/>
                <a:gd name="connsiteX212" fmla="*/ 5125232 w 12084394"/>
                <a:gd name="connsiteY212" fmla="*/ 3667382 h 4077840"/>
                <a:gd name="connsiteX213" fmla="*/ 5274270 w 12084394"/>
                <a:gd name="connsiteY213" fmla="*/ 3518352 h 4077840"/>
                <a:gd name="connsiteX214" fmla="*/ 4762180 w 12084394"/>
                <a:gd name="connsiteY214" fmla="*/ 3518352 h 4077840"/>
                <a:gd name="connsiteX215" fmla="*/ 4911249 w 12084394"/>
                <a:gd name="connsiteY215" fmla="*/ 3667382 h 4077840"/>
                <a:gd name="connsiteX216" fmla="*/ 4762180 w 12084394"/>
                <a:gd name="connsiteY216" fmla="*/ 3816412 h 4077840"/>
                <a:gd name="connsiteX217" fmla="*/ 4613169 w 12084394"/>
                <a:gd name="connsiteY217" fmla="*/ 3667382 h 4077840"/>
                <a:gd name="connsiteX218" fmla="*/ 4762180 w 12084394"/>
                <a:gd name="connsiteY218" fmla="*/ 3518352 h 4077840"/>
                <a:gd name="connsiteX219" fmla="*/ 4250316 w 12084394"/>
                <a:gd name="connsiteY219" fmla="*/ 3518352 h 4077840"/>
                <a:gd name="connsiteX220" fmla="*/ 4399355 w 12084394"/>
                <a:gd name="connsiteY220" fmla="*/ 3667382 h 4077840"/>
                <a:gd name="connsiteX221" fmla="*/ 4250316 w 12084394"/>
                <a:gd name="connsiteY221" fmla="*/ 3816412 h 4077840"/>
                <a:gd name="connsiteX222" fmla="*/ 4101334 w 12084394"/>
                <a:gd name="connsiteY222" fmla="*/ 3667382 h 4077840"/>
                <a:gd name="connsiteX223" fmla="*/ 4250316 w 12084394"/>
                <a:gd name="connsiteY223" fmla="*/ 3518352 h 4077840"/>
                <a:gd name="connsiteX224" fmla="*/ 3738289 w 12084394"/>
                <a:gd name="connsiteY224" fmla="*/ 3518352 h 4077840"/>
                <a:gd name="connsiteX225" fmla="*/ 3887320 w 12084394"/>
                <a:gd name="connsiteY225" fmla="*/ 3667382 h 4077840"/>
                <a:gd name="connsiteX226" fmla="*/ 3738289 w 12084394"/>
                <a:gd name="connsiteY226" fmla="*/ 3816412 h 4077840"/>
                <a:gd name="connsiteX227" fmla="*/ 3589256 w 12084394"/>
                <a:gd name="connsiteY227" fmla="*/ 3667382 h 4077840"/>
                <a:gd name="connsiteX228" fmla="*/ 3738289 w 12084394"/>
                <a:gd name="connsiteY228" fmla="*/ 3518352 h 4077840"/>
                <a:gd name="connsiteX229" fmla="*/ 3226242 w 12084394"/>
                <a:gd name="connsiteY229" fmla="*/ 3518352 h 4077840"/>
                <a:gd name="connsiteX230" fmla="*/ 3375284 w 12084394"/>
                <a:gd name="connsiteY230" fmla="*/ 3667382 h 4077840"/>
                <a:gd name="connsiteX231" fmla="*/ 3226242 w 12084394"/>
                <a:gd name="connsiteY231" fmla="*/ 3816412 h 4077840"/>
                <a:gd name="connsiteX232" fmla="*/ 3077210 w 12084394"/>
                <a:gd name="connsiteY232" fmla="*/ 3667382 h 4077840"/>
                <a:gd name="connsiteX233" fmla="*/ 3226242 w 12084394"/>
                <a:gd name="connsiteY233" fmla="*/ 3518352 h 4077840"/>
                <a:gd name="connsiteX234" fmla="*/ 2714363 w 12084394"/>
                <a:gd name="connsiteY234" fmla="*/ 3518352 h 4077840"/>
                <a:gd name="connsiteX235" fmla="*/ 2863399 w 12084394"/>
                <a:gd name="connsiteY235" fmla="*/ 3667382 h 4077840"/>
                <a:gd name="connsiteX236" fmla="*/ 2714363 w 12084394"/>
                <a:gd name="connsiteY236" fmla="*/ 3816412 h 4077840"/>
                <a:gd name="connsiteX237" fmla="*/ 2565335 w 12084394"/>
                <a:gd name="connsiteY237" fmla="*/ 3667382 h 4077840"/>
                <a:gd name="connsiteX238" fmla="*/ 2714363 w 12084394"/>
                <a:gd name="connsiteY238" fmla="*/ 3518352 h 4077840"/>
                <a:gd name="connsiteX239" fmla="*/ 2202307 w 12084394"/>
                <a:gd name="connsiteY239" fmla="*/ 3518352 h 4077840"/>
                <a:gd name="connsiteX240" fmla="*/ 2351334 w 12084394"/>
                <a:gd name="connsiteY240" fmla="*/ 3667382 h 4077840"/>
                <a:gd name="connsiteX241" fmla="*/ 2202307 w 12084394"/>
                <a:gd name="connsiteY241" fmla="*/ 3816412 h 4077840"/>
                <a:gd name="connsiteX242" fmla="*/ 2053277 w 12084394"/>
                <a:gd name="connsiteY242" fmla="*/ 3667382 h 4077840"/>
                <a:gd name="connsiteX243" fmla="*/ 2202307 w 12084394"/>
                <a:gd name="connsiteY243" fmla="*/ 3518352 h 4077840"/>
                <a:gd name="connsiteX244" fmla="*/ 1690413 w 12084394"/>
                <a:gd name="connsiteY244" fmla="*/ 3518352 h 4077840"/>
                <a:gd name="connsiteX245" fmla="*/ 1839443 w 12084394"/>
                <a:gd name="connsiteY245" fmla="*/ 3667382 h 4077840"/>
                <a:gd name="connsiteX246" fmla="*/ 1690413 w 12084394"/>
                <a:gd name="connsiteY246" fmla="*/ 3816412 h 4077840"/>
                <a:gd name="connsiteX247" fmla="*/ 1541384 w 12084394"/>
                <a:gd name="connsiteY247" fmla="*/ 3667382 h 4077840"/>
                <a:gd name="connsiteX248" fmla="*/ 1690413 w 12084394"/>
                <a:gd name="connsiteY248" fmla="*/ 3518352 h 4077840"/>
                <a:gd name="connsiteX249" fmla="*/ 1178354 w 12084394"/>
                <a:gd name="connsiteY249" fmla="*/ 3518352 h 4077840"/>
                <a:gd name="connsiteX250" fmla="*/ 1327383 w 12084394"/>
                <a:gd name="connsiteY250" fmla="*/ 3667382 h 4077840"/>
                <a:gd name="connsiteX251" fmla="*/ 1178354 w 12084394"/>
                <a:gd name="connsiteY251" fmla="*/ 3816412 h 4077840"/>
                <a:gd name="connsiteX252" fmla="*/ 1029325 w 12084394"/>
                <a:gd name="connsiteY252" fmla="*/ 3667382 h 4077840"/>
                <a:gd name="connsiteX253" fmla="*/ 1178354 w 12084394"/>
                <a:gd name="connsiteY253" fmla="*/ 3518352 h 4077840"/>
                <a:gd name="connsiteX254" fmla="*/ 666484 w 12084394"/>
                <a:gd name="connsiteY254" fmla="*/ 3518352 h 4077840"/>
                <a:gd name="connsiteX255" fmla="*/ 815513 w 12084394"/>
                <a:gd name="connsiteY255" fmla="*/ 3667382 h 4077840"/>
                <a:gd name="connsiteX256" fmla="*/ 666484 w 12084394"/>
                <a:gd name="connsiteY256" fmla="*/ 3816412 h 4077840"/>
                <a:gd name="connsiteX257" fmla="*/ 517455 w 12084394"/>
                <a:gd name="connsiteY257" fmla="*/ 3667382 h 4077840"/>
                <a:gd name="connsiteX258" fmla="*/ 666484 w 12084394"/>
                <a:gd name="connsiteY258" fmla="*/ 3518352 h 4077840"/>
                <a:gd name="connsiteX259" fmla="*/ 154426 w 12084394"/>
                <a:gd name="connsiteY259" fmla="*/ 3518352 h 4077840"/>
                <a:gd name="connsiteX260" fmla="*/ 303455 w 12084394"/>
                <a:gd name="connsiteY260" fmla="*/ 3667382 h 4077840"/>
                <a:gd name="connsiteX261" fmla="*/ 154426 w 12084394"/>
                <a:gd name="connsiteY261" fmla="*/ 3816412 h 4077840"/>
                <a:gd name="connsiteX262" fmla="*/ 5397 w 12084394"/>
                <a:gd name="connsiteY262" fmla="*/ 3667382 h 4077840"/>
                <a:gd name="connsiteX263" fmla="*/ 154426 w 12084394"/>
                <a:gd name="connsiteY263" fmla="*/ 3518352 h 4077840"/>
                <a:gd name="connsiteX264" fmla="*/ 11929966 w 12084394"/>
                <a:gd name="connsiteY264" fmla="*/ 3078629 h 4077840"/>
                <a:gd name="connsiteX265" fmla="*/ 12064640 w 12084394"/>
                <a:gd name="connsiteY265" fmla="*/ 3213304 h 4077840"/>
                <a:gd name="connsiteX266" fmla="*/ 11929966 w 12084394"/>
                <a:gd name="connsiteY266" fmla="*/ 3347979 h 4077840"/>
                <a:gd name="connsiteX267" fmla="*/ 11795291 w 12084394"/>
                <a:gd name="connsiteY267" fmla="*/ 3213304 h 4077840"/>
                <a:gd name="connsiteX268" fmla="*/ 11929966 w 12084394"/>
                <a:gd name="connsiteY268" fmla="*/ 3078629 h 4077840"/>
                <a:gd name="connsiteX269" fmla="*/ 11417900 w 12084394"/>
                <a:gd name="connsiteY269" fmla="*/ 3078629 h 4077840"/>
                <a:gd name="connsiteX270" fmla="*/ 11552575 w 12084394"/>
                <a:gd name="connsiteY270" fmla="*/ 3213304 h 4077840"/>
                <a:gd name="connsiteX271" fmla="*/ 11417900 w 12084394"/>
                <a:gd name="connsiteY271" fmla="*/ 3347979 h 4077840"/>
                <a:gd name="connsiteX272" fmla="*/ 11283225 w 12084394"/>
                <a:gd name="connsiteY272" fmla="*/ 3213304 h 4077840"/>
                <a:gd name="connsiteX273" fmla="*/ 11417900 w 12084394"/>
                <a:gd name="connsiteY273" fmla="*/ 3078629 h 4077840"/>
                <a:gd name="connsiteX274" fmla="*/ 10906022 w 12084394"/>
                <a:gd name="connsiteY274" fmla="*/ 3078629 h 4077840"/>
                <a:gd name="connsiteX275" fmla="*/ 11040697 w 12084394"/>
                <a:gd name="connsiteY275" fmla="*/ 3213304 h 4077840"/>
                <a:gd name="connsiteX276" fmla="*/ 10906022 w 12084394"/>
                <a:gd name="connsiteY276" fmla="*/ 3347979 h 4077840"/>
                <a:gd name="connsiteX277" fmla="*/ 10771347 w 12084394"/>
                <a:gd name="connsiteY277" fmla="*/ 3213304 h 4077840"/>
                <a:gd name="connsiteX278" fmla="*/ 10906022 w 12084394"/>
                <a:gd name="connsiteY278" fmla="*/ 3078629 h 4077840"/>
                <a:gd name="connsiteX279" fmla="*/ 10393956 w 12084394"/>
                <a:gd name="connsiteY279" fmla="*/ 3078629 h 4077840"/>
                <a:gd name="connsiteX280" fmla="*/ 10528631 w 12084394"/>
                <a:gd name="connsiteY280" fmla="*/ 3213304 h 4077840"/>
                <a:gd name="connsiteX281" fmla="*/ 10393956 w 12084394"/>
                <a:gd name="connsiteY281" fmla="*/ 3347979 h 4077840"/>
                <a:gd name="connsiteX282" fmla="*/ 10259282 w 12084394"/>
                <a:gd name="connsiteY282" fmla="*/ 3213304 h 4077840"/>
                <a:gd name="connsiteX283" fmla="*/ 10393956 w 12084394"/>
                <a:gd name="connsiteY283" fmla="*/ 3078629 h 4077840"/>
                <a:gd name="connsiteX284" fmla="*/ 9882080 w 12084394"/>
                <a:gd name="connsiteY284" fmla="*/ 3078629 h 4077840"/>
                <a:gd name="connsiteX285" fmla="*/ 10016755 w 12084394"/>
                <a:gd name="connsiteY285" fmla="*/ 3213304 h 4077840"/>
                <a:gd name="connsiteX286" fmla="*/ 9882080 w 12084394"/>
                <a:gd name="connsiteY286" fmla="*/ 3347979 h 4077840"/>
                <a:gd name="connsiteX287" fmla="*/ 9747405 w 12084394"/>
                <a:gd name="connsiteY287" fmla="*/ 3213304 h 4077840"/>
                <a:gd name="connsiteX288" fmla="*/ 9882080 w 12084394"/>
                <a:gd name="connsiteY288" fmla="*/ 3078629 h 4077840"/>
                <a:gd name="connsiteX289" fmla="*/ 9370014 w 12084394"/>
                <a:gd name="connsiteY289" fmla="*/ 3078629 h 4077840"/>
                <a:gd name="connsiteX290" fmla="*/ 9504688 w 12084394"/>
                <a:gd name="connsiteY290" fmla="*/ 3213304 h 4077840"/>
                <a:gd name="connsiteX291" fmla="*/ 9370014 w 12084394"/>
                <a:gd name="connsiteY291" fmla="*/ 3347979 h 4077840"/>
                <a:gd name="connsiteX292" fmla="*/ 9235339 w 12084394"/>
                <a:gd name="connsiteY292" fmla="*/ 3213304 h 4077840"/>
                <a:gd name="connsiteX293" fmla="*/ 9370014 w 12084394"/>
                <a:gd name="connsiteY293" fmla="*/ 3078629 h 4077840"/>
                <a:gd name="connsiteX294" fmla="*/ 8858136 w 12084394"/>
                <a:gd name="connsiteY294" fmla="*/ 3078629 h 4077840"/>
                <a:gd name="connsiteX295" fmla="*/ 8992811 w 12084394"/>
                <a:gd name="connsiteY295" fmla="*/ 3213304 h 4077840"/>
                <a:gd name="connsiteX296" fmla="*/ 8858136 w 12084394"/>
                <a:gd name="connsiteY296" fmla="*/ 3347979 h 4077840"/>
                <a:gd name="connsiteX297" fmla="*/ 8723462 w 12084394"/>
                <a:gd name="connsiteY297" fmla="*/ 3213304 h 4077840"/>
                <a:gd name="connsiteX298" fmla="*/ 8858136 w 12084394"/>
                <a:gd name="connsiteY298" fmla="*/ 3078629 h 4077840"/>
                <a:gd name="connsiteX299" fmla="*/ 8346071 w 12084394"/>
                <a:gd name="connsiteY299" fmla="*/ 3078629 h 4077840"/>
                <a:gd name="connsiteX300" fmla="*/ 8480746 w 12084394"/>
                <a:gd name="connsiteY300" fmla="*/ 3213304 h 4077840"/>
                <a:gd name="connsiteX301" fmla="*/ 8346071 w 12084394"/>
                <a:gd name="connsiteY301" fmla="*/ 3347979 h 4077840"/>
                <a:gd name="connsiteX302" fmla="*/ 8211396 w 12084394"/>
                <a:gd name="connsiteY302" fmla="*/ 3213304 h 4077840"/>
                <a:gd name="connsiteX303" fmla="*/ 8346071 w 12084394"/>
                <a:gd name="connsiteY303" fmla="*/ 3078629 h 4077840"/>
                <a:gd name="connsiteX304" fmla="*/ 7834194 w 12084394"/>
                <a:gd name="connsiteY304" fmla="*/ 3078629 h 4077840"/>
                <a:gd name="connsiteX305" fmla="*/ 7968868 w 12084394"/>
                <a:gd name="connsiteY305" fmla="*/ 3213304 h 4077840"/>
                <a:gd name="connsiteX306" fmla="*/ 7834194 w 12084394"/>
                <a:gd name="connsiteY306" fmla="*/ 3347979 h 4077840"/>
                <a:gd name="connsiteX307" fmla="*/ 7699519 w 12084394"/>
                <a:gd name="connsiteY307" fmla="*/ 3213304 h 4077840"/>
                <a:gd name="connsiteX308" fmla="*/ 7834194 w 12084394"/>
                <a:gd name="connsiteY308" fmla="*/ 3078629 h 4077840"/>
                <a:gd name="connsiteX309" fmla="*/ 7322127 w 12084394"/>
                <a:gd name="connsiteY309" fmla="*/ 3078629 h 4077840"/>
                <a:gd name="connsiteX310" fmla="*/ 7456802 w 12084394"/>
                <a:gd name="connsiteY310" fmla="*/ 3213304 h 4077840"/>
                <a:gd name="connsiteX311" fmla="*/ 7322127 w 12084394"/>
                <a:gd name="connsiteY311" fmla="*/ 3347979 h 4077840"/>
                <a:gd name="connsiteX312" fmla="*/ 7187453 w 12084394"/>
                <a:gd name="connsiteY312" fmla="*/ 3213304 h 4077840"/>
                <a:gd name="connsiteX313" fmla="*/ 7322127 w 12084394"/>
                <a:gd name="connsiteY313" fmla="*/ 3078629 h 4077840"/>
                <a:gd name="connsiteX314" fmla="*/ 6810062 w 12084394"/>
                <a:gd name="connsiteY314" fmla="*/ 3078629 h 4077840"/>
                <a:gd name="connsiteX315" fmla="*/ 6944736 w 12084394"/>
                <a:gd name="connsiteY315" fmla="*/ 3213304 h 4077840"/>
                <a:gd name="connsiteX316" fmla="*/ 6810062 w 12084394"/>
                <a:gd name="connsiteY316" fmla="*/ 3347979 h 4077840"/>
                <a:gd name="connsiteX317" fmla="*/ 6675387 w 12084394"/>
                <a:gd name="connsiteY317" fmla="*/ 3213304 h 4077840"/>
                <a:gd name="connsiteX318" fmla="*/ 6810062 w 12084394"/>
                <a:gd name="connsiteY318" fmla="*/ 3078629 h 4077840"/>
                <a:gd name="connsiteX319" fmla="*/ 6298186 w 12084394"/>
                <a:gd name="connsiteY319" fmla="*/ 3078629 h 4077840"/>
                <a:gd name="connsiteX320" fmla="*/ 6432860 w 12084394"/>
                <a:gd name="connsiteY320" fmla="*/ 3213304 h 4077840"/>
                <a:gd name="connsiteX321" fmla="*/ 6298186 w 12084394"/>
                <a:gd name="connsiteY321" fmla="*/ 3347979 h 4077840"/>
                <a:gd name="connsiteX322" fmla="*/ 6163510 w 12084394"/>
                <a:gd name="connsiteY322" fmla="*/ 3213304 h 4077840"/>
                <a:gd name="connsiteX323" fmla="*/ 6298186 w 12084394"/>
                <a:gd name="connsiteY323" fmla="*/ 3078629 h 4077840"/>
                <a:gd name="connsiteX324" fmla="*/ 5786126 w 12084394"/>
                <a:gd name="connsiteY324" fmla="*/ 3078629 h 4077840"/>
                <a:gd name="connsiteX325" fmla="*/ 5920794 w 12084394"/>
                <a:gd name="connsiteY325" fmla="*/ 3213304 h 4077840"/>
                <a:gd name="connsiteX326" fmla="*/ 5786126 w 12084394"/>
                <a:gd name="connsiteY326" fmla="*/ 3347979 h 4077840"/>
                <a:gd name="connsiteX327" fmla="*/ 5651456 w 12084394"/>
                <a:gd name="connsiteY327" fmla="*/ 3213304 h 4077840"/>
                <a:gd name="connsiteX328" fmla="*/ 5786126 w 12084394"/>
                <a:gd name="connsiteY328" fmla="*/ 3078629 h 4077840"/>
                <a:gd name="connsiteX329" fmla="*/ 5274270 w 12084394"/>
                <a:gd name="connsiteY329" fmla="*/ 3078629 h 4077840"/>
                <a:gd name="connsiteX330" fmla="*/ 5408941 w 12084394"/>
                <a:gd name="connsiteY330" fmla="*/ 3213304 h 4077840"/>
                <a:gd name="connsiteX331" fmla="*/ 5274270 w 12084394"/>
                <a:gd name="connsiteY331" fmla="*/ 3347979 h 4077840"/>
                <a:gd name="connsiteX332" fmla="*/ 5139595 w 12084394"/>
                <a:gd name="connsiteY332" fmla="*/ 3213304 h 4077840"/>
                <a:gd name="connsiteX333" fmla="*/ 5274270 w 12084394"/>
                <a:gd name="connsiteY333" fmla="*/ 3078629 h 4077840"/>
                <a:gd name="connsiteX334" fmla="*/ 4762180 w 12084394"/>
                <a:gd name="connsiteY334" fmla="*/ 3078629 h 4077840"/>
                <a:gd name="connsiteX335" fmla="*/ 4896897 w 12084394"/>
                <a:gd name="connsiteY335" fmla="*/ 3213304 h 4077840"/>
                <a:gd name="connsiteX336" fmla="*/ 4762180 w 12084394"/>
                <a:gd name="connsiteY336" fmla="*/ 3347979 h 4077840"/>
                <a:gd name="connsiteX337" fmla="*/ 4627526 w 12084394"/>
                <a:gd name="connsiteY337" fmla="*/ 3213304 h 4077840"/>
                <a:gd name="connsiteX338" fmla="*/ 4762180 w 12084394"/>
                <a:gd name="connsiteY338" fmla="*/ 3078629 h 4077840"/>
                <a:gd name="connsiteX339" fmla="*/ 4250316 w 12084394"/>
                <a:gd name="connsiteY339" fmla="*/ 3078629 h 4077840"/>
                <a:gd name="connsiteX340" fmla="*/ 4385000 w 12084394"/>
                <a:gd name="connsiteY340" fmla="*/ 3213304 h 4077840"/>
                <a:gd name="connsiteX341" fmla="*/ 4250316 w 12084394"/>
                <a:gd name="connsiteY341" fmla="*/ 3347979 h 4077840"/>
                <a:gd name="connsiteX342" fmla="*/ 4115689 w 12084394"/>
                <a:gd name="connsiteY342" fmla="*/ 3213304 h 4077840"/>
                <a:gd name="connsiteX343" fmla="*/ 4250316 w 12084394"/>
                <a:gd name="connsiteY343" fmla="*/ 3078629 h 4077840"/>
                <a:gd name="connsiteX344" fmla="*/ 3738289 w 12084394"/>
                <a:gd name="connsiteY344" fmla="*/ 3078629 h 4077840"/>
                <a:gd name="connsiteX345" fmla="*/ 3872963 w 12084394"/>
                <a:gd name="connsiteY345" fmla="*/ 3213304 h 4077840"/>
                <a:gd name="connsiteX346" fmla="*/ 3738289 w 12084394"/>
                <a:gd name="connsiteY346" fmla="*/ 3347979 h 4077840"/>
                <a:gd name="connsiteX347" fmla="*/ 3603609 w 12084394"/>
                <a:gd name="connsiteY347" fmla="*/ 3213304 h 4077840"/>
                <a:gd name="connsiteX348" fmla="*/ 3738289 w 12084394"/>
                <a:gd name="connsiteY348" fmla="*/ 3078629 h 4077840"/>
                <a:gd name="connsiteX349" fmla="*/ 3226242 w 12084394"/>
                <a:gd name="connsiteY349" fmla="*/ 3078629 h 4077840"/>
                <a:gd name="connsiteX350" fmla="*/ 3360931 w 12084394"/>
                <a:gd name="connsiteY350" fmla="*/ 3213304 h 4077840"/>
                <a:gd name="connsiteX351" fmla="*/ 3226242 w 12084394"/>
                <a:gd name="connsiteY351" fmla="*/ 3347979 h 4077840"/>
                <a:gd name="connsiteX352" fmla="*/ 3091565 w 12084394"/>
                <a:gd name="connsiteY352" fmla="*/ 3213304 h 4077840"/>
                <a:gd name="connsiteX353" fmla="*/ 3226242 w 12084394"/>
                <a:gd name="connsiteY353" fmla="*/ 3078629 h 4077840"/>
                <a:gd name="connsiteX354" fmla="*/ 2714363 w 12084394"/>
                <a:gd name="connsiteY354" fmla="*/ 3078629 h 4077840"/>
                <a:gd name="connsiteX355" fmla="*/ 2849039 w 12084394"/>
                <a:gd name="connsiteY355" fmla="*/ 3213304 h 4077840"/>
                <a:gd name="connsiteX356" fmla="*/ 2714363 w 12084394"/>
                <a:gd name="connsiteY356" fmla="*/ 3347979 h 4077840"/>
                <a:gd name="connsiteX357" fmla="*/ 2579687 w 12084394"/>
                <a:gd name="connsiteY357" fmla="*/ 3213304 h 4077840"/>
                <a:gd name="connsiteX358" fmla="*/ 2714363 w 12084394"/>
                <a:gd name="connsiteY358" fmla="*/ 3078629 h 4077840"/>
                <a:gd name="connsiteX359" fmla="*/ 2202306 w 12084394"/>
                <a:gd name="connsiteY359" fmla="*/ 3078629 h 4077840"/>
                <a:gd name="connsiteX360" fmla="*/ 2336978 w 12084394"/>
                <a:gd name="connsiteY360" fmla="*/ 3213304 h 4077840"/>
                <a:gd name="connsiteX361" fmla="*/ 2202306 w 12084394"/>
                <a:gd name="connsiteY361" fmla="*/ 3347979 h 4077840"/>
                <a:gd name="connsiteX362" fmla="*/ 2067631 w 12084394"/>
                <a:gd name="connsiteY362" fmla="*/ 3213304 h 4077840"/>
                <a:gd name="connsiteX363" fmla="*/ 2202306 w 12084394"/>
                <a:gd name="connsiteY363" fmla="*/ 3078629 h 4077840"/>
                <a:gd name="connsiteX364" fmla="*/ 1690413 w 12084394"/>
                <a:gd name="connsiteY364" fmla="*/ 3078629 h 4077840"/>
                <a:gd name="connsiteX365" fmla="*/ 1825086 w 12084394"/>
                <a:gd name="connsiteY365" fmla="*/ 3213304 h 4077840"/>
                <a:gd name="connsiteX366" fmla="*/ 1690413 w 12084394"/>
                <a:gd name="connsiteY366" fmla="*/ 3347979 h 4077840"/>
                <a:gd name="connsiteX367" fmla="*/ 1555739 w 12084394"/>
                <a:gd name="connsiteY367" fmla="*/ 3213304 h 4077840"/>
                <a:gd name="connsiteX368" fmla="*/ 1690413 w 12084394"/>
                <a:gd name="connsiteY368" fmla="*/ 3078629 h 4077840"/>
                <a:gd name="connsiteX369" fmla="*/ 1178354 w 12084394"/>
                <a:gd name="connsiteY369" fmla="*/ 3078629 h 4077840"/>
                <a:gd name="connsiteX370" fmla="*/ 1313027 w 12084394"/>
                <a:gd name="connsiteY370" fmla="*/ 3213304 h 4077840"/>
                <a:gd name="connsiteX371" fmla="*/ 1178354 w 12084394"/>
                <a:gd name="connsiteY371" fmla="*/ 3347979 h 4077840"/>
                <a:gd name="connsiteX372" fmla="*/ 1043680 w 12084394"/>
                <a:gd name="connsiteY372" fmla="*/ 3213304 h 4077840"/>
                <a:gd name="connsiteX373" fmla="*/ 1178354 w 12084394"/>
                <a:gd name="connsiteY373" fmla="*/ 3078629 h 4077840"/>
                <a:gd name="connsiteX374" fmla="*/ 666484 w 12084394"/>
                <a:gd name="connsiteY374" fmla="*/ 3078629 h 4077840"/>
                <a:gd name="connsiteX375" fmla="*/ 801157 w 12084394"/>
                <a:gd name="connsiteY375" fmla="*/ 3213304 h 4077840"/>
                <a:gd name="connsiteX376" fmla="*/ 666484 w 12084394"/>
                <a:gd name="connsiteY376" fmla="*/ 3347979 h 4077840"/>
                <a:gd name="connsiteX377" fmla="*/ 531810 w 12084394"/>
                <a:gd name="connsiteY377" fmla="*/ 3213304 h 4077840"/>
                <a:gd name="connsiteX378" fmla="*/ 666484 w 12084394"/>
                <a:gd name="connsiteY378" fmla="*/ 3078629 h 4077840"/>
                <a:gd name="connsiteX379" fmla="*/ 154426 w 12084394"/>
                <a:gd name="connsiteY379" fmla="*/ 3078629 h 4077840"/>
                <a:gd name="connsiteX380" fmla="*/ 289099 w 12084394"/>
                <a:gd name="connsiteY380" fmla="*/ 3213304 h 4077840"/>
                <a:gd name="connsiteX381" fmla="*/ 154426 w 12084394"/>
                <a:gd name="connsiteY381" fmla="*/ 3347979 h 4077840"/>
                <a:gd name="connsiteX382" fmla="*/ 19752 w 12084394"/>
                <a:gd name="connsiteY382" fmla="*/ 3213304 h 4077840"/>
                <a:gd name="connsiteX383" fmla="*/ 154426 w 12084394"/>
                <a:gd name="connsiteY383" fmla="*/ 3078629 h 4077840"/>
                <a:gd name="connsiteX384" fmla="*/ 11929965 w 12084394"/>
                <a:gd name="connsiteY384" fmla="*/ 2638717 h 4077840"/>
                <a:gd name="connsiteX385" fmla="*/ 12050474 w 12084394"/>
                <a:gd name="connsiteY385" fmla="*/ 2759225 h 4077840"/>
                <a:gd name="connsiteX386" fmla="*/ 11929965 w 12084394"/>
                <a:gd name="connsiteY386" fmla="*/ 2879734 h 4077840"/>
                <a:gd name="connsiteX387" fmla="*/ 11809457 w 12084394"/>
                <a:gd name="connsiteY387" fmla="*/ 2759225 h 4077840"/>
                <a:gd name="connsiteX388" fmla="*/ 11929965 w 12084394"/>
                <a:gd name="connsiteY388" fmla="*/ 2638717 h 4077840"/>
                <a:gd name="connsiteX389" fmla="*/ 11417900 w 12084394"/>
                <a:gd name="connsiteY389" fmla="*/ 2638717 h 4077840"/>
                <a:gd name="connsiteX390" fmla="*/ 11538408 w 12084394"/>
                <a:gd name="connsiteY390" fmla="*/ 2759225 h 4077840"/>
                <a:gd name="connsiteX391" fmla="*/ 11417900 w 12084394"/>
                <a:gd name="connsiteY391" fmla="*/ 2879734 h 4077840"/>
                <a:gd name="connsiteX392" fmla="*/ 11297391 w 12084394"/>
                <a:gd name="connsiteY392" fmla="*/ 2759225 h 4077840"/>
                <a:gd name="connsiteX393" fmla="*/ 11417900 w 12084394"/>
                <a:gd name="connsiteY393" fmla="*/ 2638717 h 4077840"/>
                <a:gd name="connsiteX394" fmla="*/ 10906022 w 12084394"/>
                <a:gd name="connsiteY394" fmla="*/ 2638717 h 4077840"/>
                <a:gd name="connsiteX395" fmla="*/ 11026530 w 12084394"/>
                <a:gd name="connsiteY395" fmla="*/ 2759225 h 4077840"/>
                <a:gd name="connsiteX396" fmla="*/ 10906022 w 12084394"/>
                <a:gd name="connsiteY396" fmla="*/ 2879734 h 4077840"/>
                <a:gd name="connsiteX397" fmla="*/ 10785513 w 12084394"/>
                <a:gd name="connsiteY397" fmla="*/ 2759225 h 4077840"/>
                <a:gd name="connsiteX398" fmla="*/ 10906022 w 12084394"/>
                <a:gd name="connsiteY398" fmla="*/ 2638717 h 4077840"/>
                <a:gd name="connsiteX399" fmla="*/ 10393956 w 12084394"/>
                <a:gd name="connsiteY399" fmla="*/ 2638717 h 4077840"/>
                <a:gd name="connsiteX400" fmla="*/ 10514465 w 12084394"/>
                <a:gd name="connsiteY400" fmla="*/ 2759225 h 4077840"/>
                <a:gd name="connsiteX401" fmla="*/ 10393956 w 12084394"/>
                <a:gd name="connsiteY401" fmla="*/ 2879734 h 4077840"/>
                <a:gd name="connsiteX402" fmla="*/ 10273448 w 12084394"/>
                <a:gd name="connsiteY402" fmla="*/ 2759225 h 4077840"/>
                <a:gd name="connsiteX403" fmla="*/ 10393956 w 12084394"/>
                <a:gd name="connsiteY403" fmla="*/ 2638717 h 4077840"/>
                <a:gd name="connsiteX404" fmla="*/ 9882080 w 12084394"/>
                <a:gd name="connsiteY404" fmla="*/ 2638717 h 4077840"/>
                <a:gd name="connsiteX405" fmla="*/ 10002588 w 12084394"/>
                <a:gd name="connsiteY405" fmla="*/ 2759225 h 4077840"/>
                <a:gd name="connsiteX406" fmla="*/ 9882080 w 12084394"/>
                <a:gd name="connsiteY406" fmla="*/ 2879734 h 4077840"/>
                <a:gd name="connsiteX407" fmla="*/ 9761571 w 12084394"/>
                <a:gd name="connsiteY407" fmla="*/ 2759225 h 4077840"/>
                <a:gd name="connsiteX408" fmla="*/ 9882080 w 12084394"/>
                <a:gd name="connsiteY408" fmla="*/ 2638717 h 4077840"/>
                <a:gd name="connsiteX409" fmla="*/ 9370013 w 12084394"/>
                <a:gd name="connsiteY409" fmla="*/ 2638717 h 4077840"/>
                <a:gd name="connsiteX410" fmla="*/ 9490522 w 12084394"/>
                <a:gd name="connsiteY410" fmla="*/ 2759225 h 4077840"/>
                <a:gd name="connsiteX411" fmla="*/ 9370013 w 12084394"/>
                <a:gd name="connsiteY411" fmla="*/ 2879734 h 4077840"/>
                <a:gd name="connsiteX412" fmla="*/ 9249505 w 12084394"/>
                <a:gd name="connsiteY412" fmla="*/ 2759225 h 4077840"/>
                <a:gd name="connsiteX413" fmla="*/ 9370013 w 12084394"/>
                <a:gd name="connsiteY413" fmla="*/ 2638717 h 4077840"/>
                <a:gd name="connsiteX414" fmla="*/ 8858136 w 12084394"/>
                <a:gd name="connsiteY414" fmla="*/ 2638717 h 4077840"/>
                <a:gd name="connsiteX415" fmla="*/ 8978645 w 12084394"/>
                <a:gd name="connsiteY415" fmla="*/ 2759225 h 4077840"/>
                <a:gd name="connsiteX416" fmla="*/ 8858136 w 12084394"/>
                <a:gd name="connsiteY416" fmla="*/ 2879734 h 4077840"/>
                <a:gd name="connsiteX417" fmla="*/ 8737628 w 12084394"/>
                <a:gd name="connsiteY417" fmla="*/ 2759225 h 4077840"/>
                <a:gd name="connsiteX418" fmla="*/ 8858136 w 12084394"/>
                <a:gd name="connsiteY418" fmla="*/ 2638717 h 4077840"/>
                <a:gd name="connsiteX419" fmla="*/ 8346070 w 12084394"/>
                <a:gd name="connsiteY419" fmla="*/ 2638717 h 4077840"/>
                <a:gd name="connsiteX420" fmla="*/ 8466579 w 12084394"/>
                <a:gd name="connsiteY420" fmla="*/ 2759225 h 4077840"/>
                <a:gd name="connsiteX421" fmla="*/ 8346070 w 12084394"/>
                <a:gd name="connsiteY421" fmla="*/ 2879734 h 4077840"/>
                <a:gd name="connsiteX422" fmla="*/ 8225562 w 12084394"/>
                <a:gd name="connsiteY422" fmla="*/ 2759225 h 4077840"/>
                <a:gd name="connsiteX423" fmla="*/ 8346070 w 12084394"/>
                <a:gd name="connsiteY423" fmla="*/ 2638717 h 4077840"/>
                <a:gd name="connsiteX424" fmla="*/ 7834193 w 12084394"/>
                <a:gd name="connsiteY424" fmla="*/ 2638717 h 4077840"/>
                <a:gd name="connsiteX425" fmla="*/ 7954702 w 12084394"/>
                <a:gd name="connsiteY425" fmla="*/ 2759225 h 4077840"/>
                <a:gd name="connsiteX426" fmla="*/ 7834193 w 12084394"/>
                <a:gd name="connsiteY426" fmla="*/ 2879734 h 4077840"/>
                <a:gd name="connsiteX427" fmla="*/ 7713685 w 12084394"/>
                <a:gd name="connsiteY427" fmla="*/ 2759225 h 4077840"/>
                <a:gd name="connsiteX428" fmla="*/ 7834193 w 12084394"/>
                <a:gd name="connsiteY428" fmla="*/ 2638717 h 4077840"/>
                <a:gd name="connsiteX429" fmla="*/ 7322127 w 12084394"/>
                <a:gd name="connsiteY429" fmla="*/ 2638717 h 4077840"/>
                <a:gd name="connsiteX430" fmla="*/ 7442635 w 12084394"/>
                <a:gd name="connsiteY430" fmla="*/ 2759225 h 4077840"/>
                <a:gd name="connsiteX431" fmla="*/ 7322127 w 12084394"/>
                <a:gd name="connsiteY431" fmla="*/ 2879734 h 4077840"/>
                <a:gd name="connsiteX432" fmla="*/ 7201619 w 12084394"/>
                <a:gd name="connsiteY432" fmla="*/ 2759225 h 4077840"/>
                <a:gd name="connsiteX433" fmla="*/ 7322127 w 12084394"/>
                <a:gd name="connsiteY433" fmla="*/ 2638717 h 4077840"/>
                <a:gd name="connsiteX434" fmla="*/ 6810061 w 12084394"/>
                <a:gd name="connsiteY434" fmla="*/ 2638717 h 4077840"/>
                <a:gd name="connsiteX435" fmla="*/ 6930570 w 12084394"/>
                <a:gd name="connsiteY435" fmla="*/ 2759225 h 4077840"/>
                <a:gd name="connsiteX436" fmla="*/ 6810061 w 12084394"/>
                <a:gd name="connsiteY436" fmla="*/ 2879734 h 4077840"/>
                <a:gd name="connsiteX437" fmla="*/ 6689553 w 12084394"/>
                <a:gd name="connsiteY437" fmla="*/ 2759225 h 4077840"/>
                <a:gd name="connsiteX438" fmla="*/ 6810061 w 12084394"/>
                <a:gd name="connsiteY438" fmla="*/ 2638717 h 4077840"/>
                <a:gd name="connsiteX439" fmla="*/ 6298184 w 12084394"/>
                <a:gd name="connsiteY439" fmla="*/ 2638717 h 4077840"/>
                <a:gd name="connsiteX440" fmla="*/ 6418693 w 12084394"/>
                <a:gd name="connsiteY440" fmla="*/ 2759225 h 4077840"/>
                <a:gd name="connsiteX441" fmla="*/ 6298184 w 12084394"/>
                <a:gd name="connsiteY441" fmla="*/ 2879734 h 4077840"/>
                <a:gd name="connsiteX442" fmla="*/ 6177677 w 12084394"/>
                <a:gd name="connsiteY442" fmla="*/ 2759225 h 4077840"/>
                <a:gd name="connsiteX443" fmla="*/ 6298184 w 12084394"/>
                <a:gd name="connsiteY443" fmla="*/ 2638717 h 4077840"/>
                <a:gd name="connsiteX444" fmla="*/ 5786126 w 12084394"/>
                <a:gd name="connsiteY444" fmla="*/ 2638717 h 4077840"/>
                <a:gd name="connsiteX445" fmla="*/ 5906628 w 12084394"/>
                <a:gd name="connsiteY445" fmla="*/ 2759225 h 4077840"/>
                <a:gd name="connsiteX446" fmla="*/ 5786126 w 12084394"/>
                <a:gd name="connsiteY446" fmla="*/ 2879734 h 4077840"/>
                <a:gd name="connsiteX447" fmla="*/ 5665623 w 12084394"/>
                <a:gd name="connsiteY447" fmla="*/ 2759225 h 4077840"/>
                <a:gd name="connsiteX448" fmla="*/ 5786126 w 12084394"/>
                <a:gd name="connsiteY448" fmla="*/ 2638717 h 4077840"/>
                <a:gd name="connsiteX449" fmla="*/ 5274270 w 12084394"/>
                <a:gd name="connsiteY449" fmla="*/ 2638717 h 4077840"/>
                <a:gd name="connsiteX450" fmla="*/ 5394775 w 12084394"/>
                <a:gd name="connsiteY450" fmla="*/ 2759225 h 4077840"/>
                <a:gd name="connsiteX451" fmla="*/ 5274270 w 12084394"/>
                <a:gd name="connsiteY451" fmla="*/ 2879734 h 4077840"/>
                <a:gd name="connsiteX452" fmla="*/ 5153767 w 12084394"/>
                <a:gd name="connsiteY452" fmla="*/ 2759225 h 4077840"/>
                <a:gd name="connsiteX453" fmla="*/ 5274270 w 12084394"/>
                <a:gd name="connsiteY453" fmla="*/ 2638717 h 4077840"/>
                <a:gd name="connsiteX454" fmla="*/ 4762180 w 12084394"/>
                <a:gd name="connsiteY454" fmla="*/ 2638717 h 4077840"/>
                <a:gd name="connsiteX455" fmla="*/ 4882728 w 12084394"/>
                <a:gd name="connsiteY455" fmla="*/ 2759225 h 4077840"/>
                <a:gd name="connsiteX456" fmla="*/ 4762180 w 12084394"/>
                <a:gd name="connsiteY456" fmla="*/ 2879734 h 4077840"/>
                <a:gd name="connsiteX457" fmla="*/ 4641689 w 12084394"/>
                <a:gd name="connsiteY457" fmla="*/ 2759225 h 4077840"/>
                <a:gd name="connsiteX458" fmla="*/ 4762180 w 12084394"/>
                <a:gd name="connsiteY458" fmla="*/ 2638717 h 4077840"/>
                <a:gd name="connsiteX459" fmla="*/ 4250316 w 12084394"/>
                <a:gd name="connsiteY459" fmla="*/ 2638717 h 4077840"/>
                <a:gd name="connsiteX460" fmla="*/ 4370831 w 12084394"/>
                <a:gd name="connsiteY460" fmla="*/ 2759225 h 4077840"/>
                <a:gd name="connsiteX461" fmla="*/ 4250316 w 12084394"/>
                <a:gd name="connsiteY461" fmla="*/ 2879734 h 4077840"/>
                <a:gd name="connsiteX462" fmla="*/ 4129855 w 12084394"/>
                <a:gd name="connsiteY462" fmla="*/ 2759225 h 4077840"/>
                <a:gd name="connsiteX463" fmla="*/ 4250316 w 12084394"/>
                <a:gd name="connsiteY463" fmla="*/ 2638717 h 4077840"/>
                <a:gd name="connsiteX464" fmla="*/ 3738287 w 12084394"/>
                <a:gd name="connsiteY464" fmla="*/ 2638717 h 4077840"/>
                <a:gd name="connsiteX465" fmla="*/ 3858795 w 12084394"/>
                <a:gd name="connsiteY465" fmla="*/ 2759225 h 4077840"/>
                <a:gd name="connsiteX466" fmla="*/ 3738287 w 12084394"/>
                <a:gd name="connsiteY466" fmla="*/ 2879734 h 4077840"/>
                <a:gd name="connsiteX467" fmla="*/ 3617773 w 12084394"/>
                <a:gd name="connsiteY467" fmla="*/ 2759225 h 4077840"/>
                <a:gd name="connsiteX468" fmla="*/ 3738287 w 12084394"/>
                <a:gd name="connsiteY468" fmla="*/ 2638717 h 4077840"/>
                <a:gd name="connsiteX469" fmla="*/ 3226242 w 12084394"/>
                <a:gd name="connsiteY469" fmla="*/ 2638717 h 4077840"/>
                <a:gd name="connsiteX470" fmla="*/ 3346764 w 12084394"/>
                <a:gd name="connsiteY470" fmla="*/ 2759225 h 4077840"/>
                <a:gd name="connsiteX471" fmla="*/ 3226242 w 12084394"/>
                <a:gd name="connsiteY471" fmla="*/ 2879734 h 4077840"/>
                <a:gd name="connsiteX472" fmla="*/ 3105731 w 12084394"/>
                <a:gd name="connsiteY472" fmla="*/ 2759225 h 4077840"/>
                <a:gd name="connsiteX473" fmla="*/ 3226242 w 12084394"/>
                <a:gd name="connsiteY473" fmla="*/ 2638717 h 4077840"/>
                <a:gd name="connsiteX474" fmla="*/ 2714362 w 12084394"/>
                <a:gd name="connsiteY474" fmla="*/ 2638717 h 4077840"/>
                <a:gd name="connsiteX475" fmla="*/ 2834873 w 12084394"/>
                <a:gd name="connsiteY475" fmla="*/ 2759225 h 4077840"/>
                <a:gd name="connsiteX476" fmla="*/ 2714362 w 12084394"/>
                <a:gd name="connsiteY476" fmla="*/ 2879734 h 4077840"/>
                <a:gd name="connsiteX477" fmla="*/ 2593854 w 12084394"/>
                <a:gd name="connsiteY477" fmla="*/ 2759225 h 4077840"/>
                <a:gd name="connsiteX478" fmla="*/ 2714362 w 12084394"/>
                <a:gd name="connsiteY478" fmla="*/ 2638717 h 4077840"/>
                <a:gd name="connsiteX479" fmla="*/ 2202306 w 12084394"/>
                <a:gd name="connsiteY479" fmla="*/ 2638717 h 4077840"/>
                <a:gd name="connsiteX480" fmla="*/ 2322813 w 12084394"/>
                <a:gd name="connsiteY480" fmla="*/ 2759225 h 4077840"/>
                <a:gd name="connsiteX481" fmla="*/ 2202306 w 12084394"/>
                <a:gd name="connsiteY481" fmla="*/ 2879734 h 4077840"/>
                <a:gd name="connsiteX482" fmla="*/ 2081795 w 12084394"/>
                <a:gd name="connsiteY482" fmla="*/ 2759225 h 4077840"/>
                <a:gd name="connsiteX483" fmla="*/ 2202306 w 12084394"/>
                <a:gd name="connsiteY483" fmla="*/ 2638717 h 4077840"/>
                <a:gd name="connsiteX484" fmla="*/ 1690412 w 12084394"/>
                <a:gd name="connsiteY484" fmla="*/ 2638717 h 4077840"/>
                <a:gd name="connsiteX485" fmla="*/ 1810920 w 12084394"/>
                <a:gd name="connsiteY485" fmla="*/ 2759225 h 4077840"/>
                <a:gd name="connsiteX486" fmla="*/ 1690412 w 12084394"/>
                <a:gd name="connsiteY486" fmla="*/ 2879734 h 4077840"/>
                <a:gd name="connsiteX487" fmla="*/ 1569905 w 12084394"/>
                <a:gd name="connsiteY487" fmla="*/ 2759225 h 4077840"/>
                <a:gd name="connsiteX488" fmla="*/ 1690412 w 12084394"/>
                <a:gd name="connsiteY488" fmla="*/ 2638717 h 4077840"/>
                <a:gd name="connsiteX489" fmla="*/ 1178354 w 12084394"/>
                <a:gd name="connsiteY489" fmla="*/ 2638717 h 4077840"/>
                <a:gd name="connsiteX490" fmla="*/ 1298862 w 12084394"/>
                <a:gd name="connsiteY490" fmla="*/ 2759225 h 4077840"/>
                <a:gd name="connsiteX491" fmla="*/ 1178354 w 12084394"/>
                <a:gd name="connsiteY491" fmla="*/ 2879734 h 4077840"/>
                <a:gd name="connsiteX492" fmla="*/ 1057846 w 12084394"/>
                <a:gd name="connsiteY492" fmla="*/ 2759225 h 4077840"/>
                <a:gd name="connsiteX493" fmla="*/ 1178354 w 12084394"/>
                <a:gd name="connsiteY493" fmla="*/ 2638717 h 4077840"/>
                <a:gd name="connsiteX494" fmla="*/ 666483 w 12084394"/>
                <a:gd name="connsiteY494" fmla="*/ 2638717 h 4077840"/>
                <a:gd name="connsiteX495" fmla="*/ 786991 w 12084394"/>
                <a:gd name="connsiteY495" fmla="*/ 2759225 h 4077840"/>
                <a:gd name="connsiteX496" fmla="*/ 666483 w 12084394"/>
                <a:gd name="connsiteY496" fmla="*/ 2879734 h 4077840"/>
                <a:gd name="connsiteX497" fmla="*/ 545976 w 12084394"/>
                <a:gd name="connsiteY497" fmla="*/ 2759225 h 4077840"/>
                <a:gd name="connsiteX498" fmla="*/ 666483 w 12084394"/>
                <a:gd name="connsiteY498" fmla="*/ 2638717 h 4077840"/>
                <a:gd name="connsiteX499" fmla="*/ 154426 w 12084394"/>
                <a:gd name="connsiteY499" fmla="*/ 2638717 h 4077840"/>
                <a:gd name="connsiteX500" fmla="*/ 274934 w 12084394"/>
                <a:gd name="connsiteY500" fmla="*/ 2759225 h 4077840"/>
                <a:gd name="connsiteX501" fmla="*/ 154426 w 12084394"/>
                <a:gd name="connsiteY501" fmla="*/ 2879734 h 4077840"/>
                <a:gd name="connsiteX502" fmla="*/ 33919 w 12084394"/>
                <a:gd name="connsiteY502" fmla="*/ 2759225 h 4077840"/>
                <a:gd name="connsiteX503" fmla="*/ 154426 w 12084394"/>
                <a:gd name="connsiteY503" fmla="*/ 2638717 h 4077840"/>
                <a:gd name="connsiteX504" fmla="*/ 11929965 w 12084394"/>
                <a:gd name="connsiteY504" fmla="*/ 2198994 h 4077840"/>
                <a:gd name="connsiteX505" fmla="*/ 12036118 w 12084394"/>
                <a:gd name="connsiteY505" fmla="*/ 2305147 h 4077840"/>
                <a:gd name="connsiteX506" fmla="*/ 11929965 w 12084394"/>
                <a:gd name="connsiteY506" fmla="*/ 2411300 h 4077840"/>
                <a:gd name="connsiteX507" fmla="*/ 11823812 w 12084394"/>
                <a:gd name="connsiteY507" fmla="*/ 2305147 h 4077840"/>
                <a:gd name="connsiteX508" fmla="*/ 11929965 w 12084394"/>
                <a:gd name="connsiteY508" fmla="*/ 2198994 h 4077840"/>
                <a:gd name="connsiteX509" fmla="*/ 11417900 w 12084394"/>
                <a:gd name="connsiteY509" fmla="*/ 2198994 h 4077840"/>
                <a:gd name="connsiteX510" fmla="*/ 11524053 w 12084394"/>
                <a:gd name="connsiteY510" fmla="*/ 2305147 h 4077840"/>
                <a:gd name="connsiteX511" fmla="*/ 11417900 w 12084394"/>
                <a:gd name="connsiteY511" fmla="*/ 2411300 h 4077840"/>
                <a:gd name="connsiteX512" fmla="*/ 11311747 w 12084394"/>
                <a:gd name="connsiteY512" fmla="*/ 2305147 h 4077840"/>
                <a:gd name="connsiteX513" fmla="*/ 11417900 w 12084394"/>
                <a:gd name="connsiteY513" fmla="*/ 2198994 h 4077840"/>
                <a:gd name="connsiteX514" fmla="*/ 10906023 w 12084394"/>
                <a:gd name="connsiteY514" fmla="*/ 2198994 h 4077840"/>
                <a:gd name="connsiteX515" fmla="*/ 11012176 w 12084394"/>
                <a:gd name="connsiteY515" fmla="*/ 2305147 h 4077840"/>
                <a:gd name="connsiteX516" fmla="*/ 10906023 w 12084394"/>
                <a:gd name="connsiteY516" fmla="*/ 2411300 h 4077840"/>
                <a:gd name="connsiteX517" fmla="*/ 10799870 w 12084394"/>
                <a:gd name="connsiteY517" fmla="*/ 2305147 h 4077840"/>
                <a:gd name="connsiteX518" fmla="*/ 10906023 w 12084394"/>
                <a:gd name="connsiteY518" fmla="*/ 2198994 h 4077840"/>
                <a:gd name="connsiteX519" fmla="*/ 10393957 w 12084394"/>
                <a:gd name="connsiteY519" fmla="*/ 2198994 h 4077840"/>
                <a:gd name="connsiteX520" fmla="*/ 10500110 w 12084394"/>
                <a:gd name="connsiteY520" fmla="*/ 2305147 h 4077840"/>
                <a:gd name="connsiteX521" fmla="*/ 10393957 w 12084394"/>
                <a:gd name="connsiteY521" fmla="*/ 2411300 h 4077840"/>
                <a:gd name="connsiteX522" fmla="*/ 10287804 w 12084394"/>
                <a:gd name="connsiteY522" fmla="*/ 2305147 h 4077840"/>
                <a:gd name="connsiteX523" fmla="*/ 10393957 w 12084394"/>
                <a:gd name="connsiteY523" fmla="*/ 2198994 h 4077840"/>
                <a:gd name="connsiteX524" fmla="*/ 9882079 w 12084394"/>
                <a:gd name="connsiteY524" fmla="*/ 2198994 h 4077840"/>
                <a:gd name="connsiteX525" fmla="*/ 9988232 w 12084394"/>
                <a:gd name="connsiteY525" fmla="*/ 2305147 h 4077840"/>
                <a:gd name="connsiteX526" fmla="*/ 9882079 w 12084394"/>
                <a:gd name="connsiteY526" fmla="*/ 2411300 h 4077840"/>
                <a:gd name="connsiteX527" fmla="*/ 9775926 w 12084394"/>
                <a:gd name="connsiteY527" fmla="*/ 2305147 h 4077840"/>
                <a:gd name="connsiteX528" fmla="*/ 9882079 w 12084394"/>
                <a:gd name="connsiteY528" fmla="*/ 2198994 h 4077840"/>
                <a:gd name="connsiteX529" fmla="*/ 9370014 w 12084394"/>
                <a:gd name="connsiteY529" fmla="*/ 2198994 h 4077840"/>
                <a:gd name="connsiteX530" fmla="*/ 9476167 w 12084394"/>
                <a:gd name="connsiteY530" fmla="*/ 2305147 h 4077840"/>
                <a:gd name="connsiteX531" fmla="*/ 9370014 w 12084394"/>
                <a:gd name="connsiteY531" fmla="*/ 2411300 h 4077840"/>
                <a:gd name="connsiteX532" fmla="*/ 9263861 w 12084394"/>
                <a:gd name="connsiteY532" fmla="*/ 2305147 h 4077840"/>
                <a:gd name="connsiteX533" fmla="*/ 9370014 w 12084394"/>
                <a:gd name="connsiteY533" fmla="*/ 2198994 h 4077840"/>
                <a:gd name="connsiteX534" fmla="*/ 8858136 w 12084394"/>
                <a:gd name="connsiteY534" fmla="*/ 2198994 h 4077840"/>
                <a:gd name="connsiteX535" fmla="*/ 8964289 w 12084394"/>
                <a:gd name="connsiteY535" fmla="*/ 2305147 h 4077840"/>
                <a:gd name="connsiteX536" fmla="*/ 8858136 w 12084394"/>
                <a:gd name="connsiteY536" fmla="*/ 2411300 h 4077840"/>
                <a:gd name="connsiteX537" fmla="*/ 8751983 w 12084394"/>
                <a:gd name="connsiteY537" fmla="*/ 2305147 h 4077840"/>
                <a:gd name="connsiteX538" fmla="*/ 8858136 w 12084394"/>
                <a:gd name="connsiteY538" fmla="*/ 2198994 h 4077840"/>
                <a:gd name="connsiteX539" fmla="*/ 8346071 w 12084394"/>
                <a:gd name="connsiteY539" fmla="*/ 2198994 h 4077840"/>
                <a:gd name="connsiteX540" fmla="*/ 8452224 w 12084394"/>
                <a:gd name="connsiteY540" fmla="*/ 2305147 h 4077840"/>
                <a:gd name="connsiteX541" fmla="*/ 8346071 w 12084394"/>
                <a:gd name="connsiteY541" fmla="*/ 2411300 h 4077840"/>
                <a:gd name="connsiteX542" fmla="*/ 8239918 w 12084394"/>
                <a:gd name="connsiteY542" fmla="*/ 2305147 h 4077840"/>
                <a:gd name="connsiteX543" fmla="*/ 8346071 w 12084394"/>
                <a:gd name="connsiteY543" fmla="*/ 2198994 h 4077840"/>
                <a:gd name="connsiteX544" fmla="*/ 7834194 w 12084394"/>
                <a:gd name="connsiteY544" fmla="*/ 2198994 h 4077840"/>
                <a:gd name="connsiteX545" fmla="*/ 7940347 w 12084394"/>
                <a:gd name="connsiteY545" fmla="*/ 2305147 h 4077840"/>
                <a:gd name="connsiteX546" fmla="*/ 7834194 w 12084394"/>
                <a:gd name="connsiteY546" fmla="*/ 2411300 h 4077840"/>
                <a:gd name="connsiteX547" fmla="*/ 7728041 w 12084394"/>
                <a:gd name="connsiteY547" fmla="*/ 2305147 h 4077840"/>
                <a:gd name="connsiteX548" fmla="*/ 7834194 w 12084394"/>
                <a:gd name="connsiteY548" fmla="*/ 2198994 h 4077840"/>
                <a:gd name="connsiteX549" fmla="*/ 7322128 w 12084394"/>
                <a:gd name="connsiteY549" fmla="*/ 2198994 h 4077840"/>
                <a:gd name="connsiteX550" fmla="*/ 7428281 w 12084394"/>
                <a:gd name="connsiteY550" fmla="*/ 2305147 h 4077840"/>
                <a:gd name="connsiteX551" fmla="*/ 7322128 w 12084394"/>
                <a:gd name="connsiteY551" fmla="*/ 2411300 h 4077840"/>
                <a:gd name="connsiteX552" fmla="*/ 7215975 w 12084394"/>
                <a:gd name="connsiteY552" fmla="*/ 2305147 h 4077840"/>
                <a:gd name="connsiteX553" fmla="*/ 7322128 w 12084394"/>
                <a:gd name="connsiteY553" fmla="*/ 2198994 h 4077840"/>
                <a:gd name="connsiteX554" fmla="*/ 6810062 w 12084394"/>
                <a:gd name="connsiteY554" fmla="*/ 2198994 h 4077840"/>
                <a:gd name="connsiteX555" fmla="*/ 6916215 w 12084394"/>
                <a:gd name="connsiteY555" fmla="*/ 2305147 h 4077840"/>
                <a:gd name="connsiteX556" fmla="*/ 6810062 w 12084394"/>
                <a:gd name="connsiteY556" fmla="*/ 2411300 h 4077840"/>
                <a:gd name="connsiteX557" fmla="*/ 6703909 w 12084394"/>
                <a:gd name="connsiteY557" fmla="*/ 2305147 h 4077840"/>
                <a:gd name="connsiteX558" fmla="*/ 6810062 w 12084394"/>
                <a:gd name="connsiteY558" fmla="*/ 2198994 h 4077840"/>
                <a:gd name="connsiteX559" fmla="*/ 6298186 w 12084394"/>
                <a:gd name="connsiteY559" fmla="*/ 2198994 h 4077840"/>
                <a:gd name="connsiteX560" fmla="*/ 6404338 w 12084394"/>
                <a:gd name="connsiteY560" fmla="*/ 2305147 h 4077840"/>
                <a:gd name="connsiteX561" fmla="*/ 6298186 w 12084394"/>
                <a:gd name="connsiteY561" fmla="*/ 2411300 h 4077840"/>
                <a:gd name="connsiteX562" fmla="*/ 6192032 w 12084394"/>
                <a:gd name="connsiteY562" fmla="*/ 2305147 h 4077840"/>
                <a:gd name="connsiteX563" fmla="*/ 6298186 w 12084394"/>
                <a:gd name="connsiteY563" fmla="*/ 2198994 h 4077840"/>
                <a:gd name="connsiteX564" fmla="*/ 5786126 w 12084394"/>
                <a:gd name="connsiteY564" fmla="*/ 2198994 h 4077840"/>
                <a:gd name="connsiteX565" fmla="*/ 5892275 w 12084394"/>
                <a:gd name="connsiteY565" fmla="*/ 2305147 h 4077840"/>
                <a:gd name="connsiteX566" fmla="*/ 5786126 w 12084394"/>
                <a:gd name="connsiteY566" fmla="*/ 2411300 h 4077840"/>
                <a:gd name="connsiteX567" fmla="*/ 5679979 w 12084394"/>
                <a:gd name="connsiteY567" fmla="*/ 2305147 h 4077840"/>
                <a:gd name="connsiteX568" fmla="*/ 5786126 w 12084394"/>
                <a:gd name="connsiteY568" fmla="*/ 2198994 h 4077840"/>
                <a:gd name="connsiteX569" fmla="*/ 5274270 w 12084394"/>
                <a:gd name="connsiteY569" fmla="*/ 2198994 h 4077840"/>
                <a:gd name="connsiteX570" fmla="*/ 5380420 w 12084394"/>
                <a:gd name="connsiteY570" fmla="*/ 2305147 h 4077840"/>
                <a:gd name="connsiteX571" fmla="*/ 5274270 w 12084394"/>
                <a:gd name="connsiteY571" fmla="*/ 2411300 h 4077840"/>
                <a:gd name="connsiteX572" fmla="*/ 5168119 w 12084394"/>
                <a:gd name="connsiteY572" fmla="*/ 2305147 h 4077840"/>
                <a:gd name="connsiteX573" fmla="*/ 5274270 w 12084394"/>
                <a:gd name="connsiteY573" fmla="*/ 2198994 h 4077840"/>
                <a:gd name="connsiteX574" fmla="*/ 4762180 w 12084394"/>
                <a:gd name="connsiteY574" fmla="*/ 2198994 h 4077840"/>
                <a:gd name="connsiteX575" fmla="*/ 4868369 w 12084394"/>
                <a:gd name="connsiteY575" fmla="*/ 2305147 h 4077840"/>
                <a:gd name="connsiteX576" fmla="*/ 4762180 w 12084394"/>
                <a:gd name="connsiteY576" fmla="*/ 2411300 h 4077840"/>
                <a:gd name="connsiteX577" fmla="*/ 4656043 w 12084394"/>
                <a:gd name="connsiteY577" fmla="*/ 2305147 h 4077840"/>
                <a:gd name="connsiteX578" fmla="*/ 4762180 w 12084394"/>
                <a:gd name="connsiteY578" fmla="*/ 2198994 h 4077840"/>
                <a:gd name="connsiteX579" fmla="*/ 4250316 w 12084394"/>
                <a:gd name="connsiteY579" fmla="*/ 2198994 h 4077840"/>
                <a:gd name="connsiteX580" fmla="*/ 4356476 w 12084394"/>
                <a:gd name="connsiteY580" fmla="*/ 2305147 h 4077840"/>
                <a:gd name="connsiteX581" fmla="*/ 4250316 w 12084394"/>
                <a:gd name="connsiteY581" fmla="*/ 2411300 h 4077840"/>
                <a:gd name="connsiteX582" fmla="*/ 4144156 w 12084394"/>
                <a:gd name="connsiteY582" fmla="*/ 2305147 h 4077840"/>
                <a:gd name="connsiteX583" fmla="*/ 4250316 w 12084394"/>
                <a:gd name="connsiteY583" fmla="*/ 2198994 h 4077840"/>
                <a:gd name="connsiteX584" fmla="*/ 3738289 w 12084394"/>
                <a:gd name="connsiteY584" fmla="*/ 2198994 h 4077840"/>
                <a:gd name="connsiteX585" fmla="*/ 3844442 w 12084394"/>
                <a:gd name="connsiteY585" fmla="*/ 2305147 h 4077840"/>
                <a:gd name="connsiteX586" fmla="*/ 3738289 w 12084394"/>
                <a:gd name="connsiteY586" fmla="*/ 2411300 h 4077840"/>
                <a:gd name="connsiteX587" fmla="*/ 3632128 w 12084394"/>
                <a:gd name="connsiteY587" fmla="*/ 2305147 h 4077840"/>
                <a:gd name="connsiteX588" fmla="*/ 3738289 w 12084394"/>
                <a:gd name="connsiteY588" fmla="*/ 2198994 h 4077840"/>
                <a:gd name="connsiteX589" fmla="*/ 3226242 w 12084394"/>
                <a:gd name="connsiteY589" fmla="*/ 2198994 h 4077840"/>
                <a:gd name="connsiteX590" fmla="*/ 3332405 w 12084394"/>
                <a:gd name="connsiteY590" fmla="*/ 2305147 h 4077840"/>
                <a:gd name="connsiteX591" fmla="*/ 3226242 w 12084394"/>
                <a:gd name="connsiteY591" fmla="*/ 2411300 h 4077840"/>
                <a:gd name="connsiteX592" fmla="*/ 3120089 w 12084394"/>
                <a:gd name="connsiteY592" fmla="*/ 2305147 h 4077840"/>
                <a:gd name="connsiteX593" fmla="*/ 3226242 w 12084394"/>
                <a:gd name="connsiteY593" fmla="*/ 2198994 h 4077840"/>
                <a:gd name="connsiteX594" fmla="*/ 2714363 w 12084394"/>
                <a:gd name="connsiteY594" fmla="*/ 2198994 h 4077840"/>
                <a:gd name="connsiteX595" fmla="*/ 2820518 w 12084394"/>
                <a:gd name="connsiteY595" fmla="*/ 2305147 h 4077840"/>
                <a:gd name="connsiteX596" fmla="*/ 2714363 w 12084394"/>
                <a:gd name="connsiteY596" fmla="*/ 2411300 h 4077840"/>
                <a:gd name="connsiteX597" fmla="*/ 2608208 w 12084394"/>
                <a:gd name="connsiteY597" fmla="*/ 2305147 h 4077840"/>
                <a:gd name="connsiteX598" fmla="*/ 2714363 w 12084394"/>
                <a:gd name="connsiteY598" fmla="*/ 2198994 h 4077840"/>
                <a:gd name="connsiteX599" fmla="*/ 2202306 w 12084394"/>
                <a:gd name="connsiteY599" fmla="*/ 2198994 h 4077840"/>
                <a:gd name="connsiteX600" fmla="*/ 2308457 w 12084394"/>
                <a:gd name="connsiteY600" fmla="*/ 2305147 h 4077840"/>
                <a:gd name="connsiteX601" fmla="*/ 2202306 w 12084394"/>
                <a:gd name="connsiteY601" fmla="*/ 2411300 h 4077840"/>
                <a:gd name="connsiteX602" fmla="*/ 2096153 w 12084394"/>
                <a:gd name="connsiteY602" fmla="*/ 2305147 h 4077840"/>
                <a:gd name="connsiteX603" fmla="*/ 2202306 w 12084394"/>
                <a:gd name="connsiteY603" fmla="*/ 2198994 h 4077840"/>
                <a:gd name="connsiteX604" fmla="*/ 1690413 w 12084394"/>
                <a:gd name="connsiteY604" fmla="*/ 2198994 h 4077840"/>
                <a:gd name="connsiteX605" fmla="*/ 1796565 w 12084394"/>
                <a:gd name="connsiteY605" fmla="*/ 2305147 h 4077840"/>
                <a:gd name="connsiteX606" fmla="*/ 1690413 w 12084394"/>
                <a:gd name="connsiteY606" fmla="*/ 2411300 h 4077840"/>
                <a:gd name="connsiteX607" fmla="*/ 1584260 w 12084394"/>
                <a:gd name="connsiteY607" fmla="*/ 2305147 h 4077840"/>
                <a:gd name="connsiteX608" fmla="*/ 1690413 w 12084394"/>
                <a:gd name="connsiteY608" fmla="*/ 2198994 h 4077840"/>
                <a:gd name="connsiteX609" fmla="*/ 1178353 w 12084394"/>
                <a:gd name="connsiteY609" fmla="*/ 2198994 h 4077840"/>
                <a:gd name="connsiteX610" fmla="*/ 1284506 w 12084394"/>
                <a:gd name="connsiteY610" fmla="*/ 2305147 h 4077840"/>
                <a:gd name="connsiteX611" fmla="*/ 1178353 w 12084394"/>
                <a:gd name="connsiteY611" fmla="*/ 2411300 h 4077840"/>
                <a:gd name="connsiteX612" fmla="*/ 1072201 w 12084394"/>
                <a:gd name="connsiteY612" fmla="*/ 2305147 h 4077840"/>
                <a:gd name="connsiteX613" fmla="*/ 1178353 w 12084394"/>
                <a:gd name="connsiteY613" fmla="*/ 2198994 h 4077840"/>
                <a:gd name="connsiteX614" fmla="*/ 666483 w 12084394"/>
                <a:gd name="connsiteY614" fmla="*/ 2198994 h 4077840"/>
                <a:gd name="connsiteX615" fmla="*/ 772636 w 12084394"/>
                <a:gd name="connsiteY615" fmla="*/ 2305147 h 4077840"/>
                <a:gd name="connsiteX616" fmla="*/ 666483 w 12084394"/>
                <a:gd name="connsiteY616" fmla="*/ 2411300 h 4077840"/>
                <a:gd name="connsiteX617" fmla="*/ 560331 w 12084394"/>
                <a:gd name="connsiteY617" fmla="*/ 2305147 h 4077840"/>
                <a:gd name="connsiteX618" fmla="*/ 666483 w 12084394"/>
                <a:gd name="connsiteY618" fmla="*/ 2198994 h 4077840"/>
                <a:gd name="connsiteX619" fmla="*/ 154426 w 12084394"/>
                <a:gd name="connsiteY619" fmla="*/ 2198994 h 4077840"/>
                <a:gd name="connsiteX620" fmla="*/ 260578 w 12084394"/>
                <a:gd name="connsiteY620" fmla="*/ 2305147 h 4077840"/>
                <a:gd name="connsiteX621" fmla="*/ 154426 w 12084394"/>
                <a:gd name="connsiteY621" fmla="*/ 2411300 h 4077840"/>
                <a:gd name="connsiteX622" fmla="*/ 48274 w 12084394"/>
                <a:gd name="connsiteY622" fmla="*/ 2305147 h 4077840"/>
                <a:gd name="connsiteX623" fmla="*/ 154426 w 12084394"/>
                <a:gd name="connsiteY623" fmla="*/ 2198994 h 4077840"/>
                <a:gd name="connsiteX624" fmla="*/ 11929966 w 12084394"/>
                <a:gd name="connsiteY624" fmla="*/ 1759082 h 4077840"/>
                <a:gd name="connsiteX625" fmla="*/ 12021952 w 12084394"/>
                <a:gd name="connsiteY625" fmla="*/ 1851069 h 4077840"/>
                <a:gd name="connsiteX626" fmla="*/ 11929966 w 12084394"/>
                <a:gd name="connsiteY626" fmla="*/ 1943055 h 4077840"/>
                <a:gd name="connsiteX627" fmla="*/ 11837979 w 12084394"/>
                <a:gd name="connsiteY627" fmla="*/ 1851069 h 4077840"/>
                <a:gd name="connsiteX628" fmla="*/ 11929966 w 12084394"/>
                <a:gd name="connsiteY628" fmla="*/ 1759082 h 4077840"/>
                <a:gd name="connsiteX629" fmla="*/ 11417900 w 12084394"/>
                <a:gd name="connsiteY629" fmla="*/ 1759082 h 4077840"/>
                <a:gd name="connsiteX630" fmla="*/ 11509887 w 12084394"/>
                <a:gd name="connsiteY630" fmla="*/ 1851069 h 4077840"/>
                <a:gd name="connsiteX631" fmla="*/ 11417900 w 12084394"/>
                <a:gd name="connsiteY631" fmla="*/ 1943055 h 4077840"/>
                <a:gd name="connsiteX632" fmla="*/ 11325913 w 12084394"/>
                <a:gd name="connsiteY632" fmla="*/ 1851069 h 4077840"/>
                <a:gd name="connsiteX633" fmla="*/ 11417900 w 12084394"/>
                <a:gd name="connsiteY633" fmla="*/ 1759082 h 4077840"/>
                <a:gd name="connsiteX634" fmla="*/ 10906023 w 12084394"/>
                <a:gd name="connsiteY634" fmla="*/ 1759082 h 4077840"/>
                <a:gd name="connsiteX635" fmla="*/ 10998010 w 12084394"/>
                <a:gd name="connsiteY635" fmla="*/ 1851069 h 4077840"/>
                <a:gd name="connsiteX636" fmla="*/ 10906023 w 12084394"/>
                <a:gd name="connsiteY636" fmla="*/ 1943055 h 4077840"/>
                <a:gd name="connsiteX637" fmla="*/ 10814037 w 12084394"/>
                <a:gd name="connsiteY637" fmla="*/ 1851069 h 4077840"/>
                <a:gd name="connsiteX638" fmla="*/ 10906023 w 12084394"/>
                <a:gd name="connsiteY638" fmla="*/ 1759082 h 4077840"/>
                <a:gd name="connsiteX639" fmla="*/ 10393957 w 12084394"/>
                <a:gd name="connsiteY639" fmla="*/ 1759082 h 4077840"/>
                <a:gd name="connsiteX640" fmla="*/ 10485943 w 12084394"/>
                <a:gd name="connsiteY640" fmla="*/ 1851069 h 4077840"/>
                <a:gd name="connsiteX641" fmla="*/ 10393957 w 12084394"/>
                <a:gd name="connsiteY641" fmla="*/ 1943055 h 4077840"/>
                <a:gd name="connsiteX642" fmla="*/ 10301970 w 12084394"/>
                <a:gd name="connsiteY642" fmla="*/ 1851069 h 4077840"/>
                <a:gd name="connsiteX643" fmla="*/ 10393957 w 12084394"/>
                <a:gd name="connsiteY643" fmla="*/ 1759082 h 4077840"/>
                <a:gd name="connsiteX644" fmla="*/ 9882080 w 12084394"/>
                <a:gd name="connsiteY644" fmla="*/ 1759082 h 4077840"/>
                <a:gd name="connsiteX645" fmla="*/ 9974067 w 12084394"/>
                <a:gd name="connsiteY645" fmla="*/ 1851069 h 4077840"/>
                <a:gd name="connsiteX646" fmla="*/ 9882080 w 12084394"/>
                <a:gd name="connsiteY646" fmla="*/ 1943055 h 4077840"/>
                <a:gd name="connsiteX647" fmla="*/ 9790093 w 12084394"/>
                <a:gd name="connsiteY647" fmla="*/ 1851069 h 4077840"/>
                <a:gd name="connsiteX648" fmla="*/ 9882080 w 12084394"/>
                <a:gd name="connsiteY648" fmla="*/ 1759082 h 4077840"/>
                <a:gd name="connsiteX649" fmla="*/ 9370014 w 12084394"/>
                <a:gd name="connsiteY649" fmla="*/ 1759082 h 4077840"/>
                <a:gd name="connsiteX650" fmla="*/ 9462000 w 12084394"/>
                <a:gd name="connsiteY650" fmla="*/ 1851069 h 4077840"/>
                <a:gd name="connsiteX651" fmla="*/ 9370014 w 12084394"/>
                <a:gd name="connsiteY651" fmla="*/ 1943055 h 4077840"/>
                <a:gd name="connsiteX652" fmla="*/ 9278027 w 12084394"/>
                <a:gd name="connsiteY652" fmla="*/ 1851069 h 4077840"/>
                <a:gd name="connsiteX653" fmla="*/ 9370014 w 12084394"/>
                <a:gd name="connsiteY653" fmla="*/ 1759082 h 4077840"/>
                <a:gd name="connsiteX654" fmla="*/ 8858137 w 12084394"/>
                <a:gd name="connsiteY654" fmla="*/ 1759082 h 4077840"/>
                <a:gd name="connsiteX655" fmla="*/ 8950123 w 12084394"/>
                <a:gd name="connsiteY655" fmla="*/ 1851069 h 4077840"/>
                <a:gd name="connsiteX656" fmla="*/ 8858137 w 12084394"/>
                <a:gd name="connsiteY656" fmla="*/ 1943055 h 4077840"/>
                <a:gd name="connsiteX657" fmla="*/ 8766150 w 12084394"/>
                <a:gd name="connsiteY657" fmla="*/ 1851069 h 4077840"/>
                <a:gd name="connsiteX658" fmla="*/ 8858137 w 12084394"/>
                <a:gd name="connsiteY658" fmla="*/ 1759082 h 4077840"/>
                <a:gd name="connsiteX659" fmla="*/ 8346071 w 12084394"/>
                <a:gd name="connsiteY659" fmla="*/ 1759082 h 4077840"/>
                <a:gd name="connsiteX660" fmla="*/ 8438058 w 12084394"/>
                <a:gd name="connsiteY660" fmla="*/ 1851069 h 4077840"/>
                <a:gd name="connsiteX661" fmla="*/ 8346071 w 12084394"/>
                <a:gd name="connsiteY661" fmla="*/ 1943055 h 4077840"/>
                <a:gd name="connsiteX662" fmla="*/ 8254084 w 12084394"/>
                <a:gd name="connsiteY662" fmla="*/ 1851069 h 4077840"/>
                <a:gd name="connsiteX663" fmla="*/ 8346071 w 12084394"/>
                <a:gd name="connsiteY663" fmla="*/ 1759082 h 4077840"/>
                <a:gd name="connsiteX664" fmla="*/ 7834005 w 12084394"/>
                <a:gd name="connsiteY664" fmla="*/ 1759082 h 4077840"/>
                <a:gd name="connsiteX665" fmla="*/ 7925992 w 12084394"/>
                <a:gd name="connsiteY665" fmla="*/ 1851069 h 4077840"/>
                <a:gd name="connsiteX666" fmla="*/ 7834005 w 12084394"/>
                <a:gd name="connsiteY666" fmla="*/ 1943055 h 4077840"/>
                <a:gd name="connsiteX667" fmla="*/ 7742018 w 12084394"/>
                <a:gd name="connsiteY667" fmla="*/ 1851069 h 4077840"/>
                <a:gd name="connsiteX668" fmla="*/ 7834005 w 12084394"/>
                <a:gd name="connsiteY668" fmla="*/ 1759082 h 4077840"/>
                <a:gd name="connsiteX669" fmla="*/ 7322128 w 12084394"/>
                <a:gd name="connsiteY669" fmla="*/ 1759082 h 4077840"/>
                <a:gd name="connsiteX670" fmla="*/ 7414115 w 12084394"/>
                <a:gd name="connsiteY670" fmla="*/ 1851069 h 4077840"/>
                <a:gd name="connsiteX671" fmla="*/ 7322128 w 12084394"/>
                <a:gd name="connsiteY671" fmla="*/ 1943055 h 4077840"/>
                <a:gd name="connsiteX672" fmla="*/ 7230141 w 12084394"/>
                <a:gd name="connsiteY672" fmla="*/ 1851069 h 4077840"/>
                <a:gd name="connsiteX673" fmla="*/ 7322128 w 12084394"/>
                <a:gd name="connsiteY673" fmla="*/ 1759082 h 4077840"/>
                <a:gd name="connsiteX674" fmla="*/ 6810062 w 12084394"/>
                <a:gd name="connsiteY674" fmla="*/ 1759082 h 4077840"/>
                <a:gd name="connsiteX675" fmla="*/ 6902048 w 12084394"/>
                <a:gd name="connsiteY675" fmla="*/ 1851069 h 4077840"/>
                <a:gd name="connsiteX676" fmla="*/ 6810062 w 12084394"/>
                <a:gd name="connsiteY676" fmla="*/ 1943055 h 4077840"/>
                <a:gd name="connsiteX677" fmla="*/ 6718075 w 12084394"/>
                <a:gd name="connsiteY677" fmla="*/ 1851069 h 4077840"/>
                <a:gd name="connsiteX678" fmla="*/ 6810062 w 12084394"/>
                <a:gd name="connsiteY678" fmla="*/ 1759082 h 4077840"/>
                <a:gd name="connsiteX679" fmla="*/ 6298186 w 12084394"/>
                <a:gd name="connsiteY679" fmla="*/ 1759082 h 4077840"/>
                <a:gd name="connsiteX680" fmla="*/ 6390172 w 12084394"/>
                <a:gd name="connsiteY680" fmla="*/ 1851069 h 4077840"/>
                <a:gd name="connsiteX681" fmla="*/ 6298186 w 12084394"/>
                <a:gd name="connsiteY681" fmla="*/ 1943055 h 4077840"/>
                <a:gd name="connsiteX682" fmla="*/ 6206198 w 12084394"/>
                <a:gd name="connsiteY682" fmla="*/ 1851069 h 4077840"/>
                <a:gd name="connsiteX683" fmla="*/ 6298186 w 12084394"/>
                <a:gd name="connsiteY683" fmla="*/ 1759082 h 4077840"/>
                <a:gd name="connsiteX684" fmla="*/ 5786126 w 12084394"/>
                <a:gd name="connsiteY684" fmla="*/ 1759082 h 4077840"/>
                <a:gd name="connsiteX685" fmla="*/ 5878110 w 12084394"/>
                <a:gd name="connsiteY685" fmla="*/ 1851069 h 4077840"/>
                <a:gd name="connsiteX686" fmla="*/ 5786126 w 12084394"/>
                <a:gd name="connsiteY686" fmla="*/ 1943055 h 4077840"/>
                <a:gd name="connsiteX687" fmla="*/ 5694144 w 12084394"/>
                <a:gd name="connsiteY687" fmla="*/ 1851069 h 4077840"/>
                <a:gd name="connsiteX688" fmla="*/ 5786126 w 12084394"/>
                <a:gd name="connsiteY688" fmla="*/ 1759082 h 4077840"/>
                <a:gd name="connsiteX689" fmla="*/ 5274270 w 12084394"/>
                <a:gd name="connsiteY689" fmla="*/ 1759082 h 4077840"/>
                <a:gd name="connsiteX690" fmla="*/ 5366255 w 12084394"/>
                <a:gd name="connsiteY690" fmla="*/ 1851069 h 4077840"/>
                <a:gd name="connsiteX691" fmla="*/ 5274270 w 12084394"/>
                <a:gd name="connsiteY691" fmla="*/ 1943055 h 4077840"/>
                <a:gd name="connsiteX692" fmla="*/ 5182283 w 12084394"/>
                <a:gd name="connsiteY692" fmla="*/ 1851069 h 4077840"/>
                <a:gd name="connsiteX693" fmla="*/ 5274270 w 12084394"/>
                <a:gd name="connsiteY693" fmla="*/ 1759082 h 4077840"/>
                <a:gd name="connsiteX694" fmla="*/ 4762180 w 12084394"/>
                <a:gd name="connsiteY694" fmla="*/ 1759082 h 4077840"/>
                <a:gd name="connsiteX695" fmla="*/ 4854198 w 12084394"/>
                <a:gd name="connsiteY695" fmla="*/ 1851069 h 4077840"/>
                <a:gd name="connsiteX696" fmla="*/ 4762180 w 12084394"/>
                <a:gd name="connsiteY696" fmla="*/ 1943055 h 4077840"/>
                <a:gd name="connsiteX697" fmla="*/ 4670207 w 12084394"/>
                <a:gd name="connsiteY697" fmla="*/ 1851069 h 4077840"/>
                <a:gd name="connsiteX698" fmla="*/ 4762180 w 12084394"/>
                <a:gd name="connsiteY698" fmla="*/ 1759082 h 4077840"/>
                <a:gd name="connsiteX699" fmla="*/ 4250316 w 12084394"/>
                <a:gd name="connsiteY699" fmla="*/ 1759082 h 4077840"/>
                <a:gd name="connsiteX700" fmla="*/ 4342309 w 12084394"/>
                <a:gd name="connsiteY700" fmla="*/ 1851069 h 4077840"/>
                <a:gd name="connsiteX701" fmla="*/ 4250316 w 12084394"/>
                <a:gd name="connsiteY701" fmla="*/ 1943055 h 4077840"/>
                <a:gd name="connsiteX702" fmla="*/ 4158324 w 12084394"/>
                <a:gd name="connsiteY702" fmla="*/ 1851069 h 4077840"/>
                <a:gd name="connsiteX703" fmla="*/ 4250316 w 12084394"/>
                <a:gd name="connsiteY703" fmla="*/ 1759082 h 4077840"/>
                <a:gd name="connsiteX704" fmla="*/ 3738289 w 12084394"/>
                <a:gd name="connsiteY704" fmla="*/ 1759082 h 4077840"/>
                <a:gd name="connsiteX705" fmla="*/ 3830274 w 12084394"/>
                <a:gd name="connsiteY705" fmla="*/ 1851069 h 4077840"/>
                <a:gd name="connsiteX706" fmla="*/ 3738289 w 12084394"/>
                <a:gd name="connsiteY706" fmla="*/ 1943055 h 4077840"/>
                <a:gd name="connsiteX707" fmla="*/ 3646291 w 12084394"/>
                <a:gd name="connsiteY707" fmla="*/ 1851069 h 4077840"/>
                <a:gd name="connsiteX708" fmla="*/ 3738289 w 12084394"/>
                <a:gd name="connsiteY708" fmla="*/ 1759082 h 4077840"/>
                <a:gd name="connsiteX709" fmla="*/ 3226242 w 12084394"/>
                <a:gd name="connsiteY709" fmla="*/ 1759082 h 4077840"/>
                <a:gd name="connsiteX710" fmla="*/ 3318235 w 12084394"/>
                <a:gd name="connsiteY710" fmla="*/ 1851069 h 4077840"/>
                <a:gd name="connsiteX711" fmla="*/ 3226242 w 12084394"/>
                <a:gd name="connsiteY711" fmla="*/ 1943055 h 4077840"/>
                <a:gd name="connsiteX712" fmla="*/ 3134252 w 12084394"/>
                <a:gd name="connsiteY712" fmla="*/ 1851069 h 4077840"/>
                <a:gd name="connsiteX713" fmla="*/ 3226242 w 12084394"/>
                <a:gd name="connsiteY713" fmla="*/ 1759082 h 4077840"/>
                <a:gd name="connsiteX714" fmla="*/ 2714363 w 12084394"/>
                <a:gd name="connsiteY714" fmla="*/ 1759082 h 4077840"/>
                <a:gd name="connsiteX715" fmla="*/ 2806350 w 12084394"/>
                <a:gd name="connsiteY715" fmla="*/ 1851069 h 4077840"/>
                <a:gd name="connsiteX716" fmla="*/ 2714363 w 12084394"/>
                <a:gd name="connsiteY716" fmla="*/ 1943055 h 4077840"/>
                <a:gd name="connsiteX717" fmla="*/ 2622376 w 12084394"/>
                <a:gd name="connsiteY717" fmla="*/ 1851069 h 4077840"/>
                <a:gd name="connsiteX718" fmla="*/ 2714363 w 12084394"/>
                <a:gd name="connsiteY718" fmla="*/ 1759082 h 4077840"/>
                <a:gd name="connsiteX719" fmla="*/ 2202305 w 12084394"/>
                <a:gd name="connsiteY719" fmla="*/ 1759082 h 4077840"/>
                <a:gd name="connsiteX720" fmla="*/ 2294291 w 12084394"/>
                <a:gd name="connsiteY720" fmla="*/ 1851069 h 4077840"/>
                <a:gd name="connsiteX721" fmla="*/ 2202305 w 12084394"/>
                <a:gd name="connsiteY721" fmla="*/ 1943055 h 4077840"/>
                <a:gd name="connsiteX722" fmla="*/ 2110320 w 12084394"/>
                <a:gd name="connsiteY722" fmla="*/ 1851069 h 4077840"/>
                <a:gd name="connsiteX723" fmla="*/ 2202305 w 12084394"/>
                <a:gd name="connsiteY723" fmla="*/ 1759082 h 4077840"/>
                <a:gd name="connsiteX724" fmla="*/ 1690412 w 12084394"/>
                <a:gd name="connsiteY724" fmla="*/ 1759082 h 4077840"/>
                <a:gd name="connsiteX725" fmla="*/ 1782398 w 12084394"/>
                <a:gd name="connsiteY725" fmla="*/ 1851069 h 4077840"/>
                <a:gd name="connsiteX726" fmla="*/ 1690412 w 12084394"/>
                <a:gd name="connsiteY726" fmla="*/ 1943055 h 4077840"/>
                <a:gd name="connsiteX727" fmla="*/ 1598426 w 12084394"/>
                <a:gd name="connsiteY727" fmla="*/ 1851069 h 4077840"/>
                <a:gd name="connsiteX728" fmla="*/ 1690412 w 12084394"/>
                <a:gd name="connsiteY728" fmla="*/ 1759082 h 4077840"/>
                <a:gd name="connsiteX729" fmla="*/ 1178353 w 12084394"/>
                <a:gd name="connsiteY729" fmla="*/ 1759082 h 4077840"/>
                <a:gd name="connsiteX730" fmla="*/ 1270339 w 12084394"/>
                <a:gd name="connsiteY730" fmla="*/ 1851069 h 4077840"/>
                <a:gd name="connsiteX731" fmla="*/ 1178353 w 12084394"/>
                <a:gd name="connsiteY731" fmla="*/ 1943055 h 4077840"/>
                <a:gd name="connsiteX732" fmla="*/ 1086367 w 12084394"/>
                <a:gd name="connsiteY732" fmla="*/ 1851069 h 4077840"/>
                <a:gd name="connsiteX733" fmla="*/ 1178353 w 12084394"/>
                <a:gd name="connsiteY733" fmla="*/ 1759082 h 4077840"/>
                <a:gd name="connsiteX734" fmla="*/ 666483 w 12084394"/>
                <a:gd name="connsiteY734" fmla="*/ 1759082 h 4077840"/>
                <a:gd name="connsiteX735" fmla="*/ 758469 w 12084394"/>
                <a:gd name="connsiteY735" fmla="*/ 1851069 h 4077840"/>
                <a:gd name="connsiteX736" fmla="*/ 666483 w 12084394"/>
                <a:gd name="connsiteY736" fmla="*/ 1943055 h 4077840"/>
                <a:gd name="connsiteX737" fmla="*/ 574497 w 12084394"/>
                <a:gd name="connsiteY737" fmla="*/ 1851069 h 4077840"/>
                <a:gd name="connsiteX738" fmla="*/ 666483 w 12084394"/>
                <a:gd name="connsiteY738" fmla="*/ 1759082 h 4077840"/>
                <a:gd name="connsiteX739" fmla="*/ 154424 w 12084394"/>
                <a:gd name="connsiteY739" fmla="*/ 1759082 h 4077840"/>
                <a:gd name="connsiteX740" fmla="*/ 246411 w 12084394"/>
                <a:gd name="connsiteY740" fmla="*/ 1851069 h 4077840"/>
                <a:gd name="connsiteX741" fmla="*/ 154424 w 12084394"/>
                <a:gd name="connsiteY741" fmla="*/ 1943055 h 4077840"/>
                <a:gd name="connsiteX742" fmla="*/ 62438 w 12084394"/>
                <a:gd name="connsiteY742" fmla="*/ 1851069 h 4077840"/>
                <a:gd name="connsiteX743" fmla="*/ 154424 w 12084394"/>
                <a:gd name="connsiteY743" fmla="*/ 1759082 h 4077840"/>
                <a:gd name="connsiteX744" fmla="*/ 11929965 w 12084394"/>
                <a:gd name="connsiteY744" fmla="*/ 1319549 h 4077840"/>
                <a:gd name="connsiteX745" fmla="*/ 12007597 w 12084394"/>
                <a:gd name="connsiteY745" fmla="*/ 1397181 h 4077840"/>
                <a:gd name="connsiteX746" fmla="*/ 11929965 w 12084394"/>
                <a:gd name="connsiteY746" fmla="*/ 1474811 h 4077840"/>
                <a:gd name="connsiteX747" fmla="*/ 11852334 w 12084394"/>
                <a:gd name="connsiteY747" fmla="*/ 1397181 h 4077840"/>
                <a:gd name="connsiteX748" fmla="*/ 11929965 w 12084394"/>
                <a:gd name="connsiteY748" fmla="*/ 1319549 h 4077840"/>
                <a:gd name="connsiteX749" fmla="*/ 11417900 w 12084394"/>
                <a:gd name="connsiteY749" fmla="*/ 1319549 h 4077840"/>
                <a:gd name="connsiteX750" fmla="*/ 11495531 w 12084394"/>
                <a:gd name="connsiteY750" fmla="*/ 1397181 h 4077840"/>
                <a:gd name="connsiteX751" fmla="*/ 11417900 w 12084394"/>
                <a:gd name="connsiteY751" fmla="*/ 1474811 h 4077840"/>
                <a:gd name="connsiteX752" fmla="*/ 11340268 w 12084394"/>
                <a:gd name="connsiteY752" fmla="*/ 1397181 h 4077840"/>
                <a:gd name="connsiteX753" fmla="*/ 11417900 w 12084394"/>
                <a:gd name="connsiteY753" fmla="*/ 1319549 h 4077840"/>
                <a:gd name="connsiteX754" fmla="*/ 10906023 w 12084394"/>
                <a:gd name="connsiteY754" fmla="*/ 1319549 h 4077840"/>
                <a:gd name="connsiteX755" fmla="*/ 10983654 w 12084394"/>
                <a:gd name="connsiteY755" fmla="*/ 1397181 h 4077840"/>
                <a:gd name="connsiteX756" fmla="*/ 10906023 w 12084394"/>
                <a:gd name="connsiteY756" fmla="*/ 1474811 h 4077840"/>
                <a:gd name="connsiteX757" fmla="*/ 10828392 w 12084394"/>
                <a:gd name="connsiteY757" fmla="*/ 1397181 h 4077840"/>
                <a:gd name="connsiteX758" fmla="*/ 10906023 w 12084394"/>
                <a:gd name="connsiteY758" fmla="*/ 1319549 h 4077840"/>
                <a:gd name="connsiteX759" fmla="*/ 10393956 w 12084394"/>
                <a:gd name="connsiteY759" fmla="*/ 1319549 h 4077840"/>
                <a:gd name="connsiteX760" fmla="*/ 10471588 w 12084394"/>
                <a:gd name="connsiteY760" fmla="*/ 1397181 h 4077840"/>
                <a:gd name="connsiteX761" fmla="*/ 10393956 w 12084394"/>
                <a:gd name="connsiteY761" fmla="*/ 1474811 h 4077840"/>
                <a:gd name="connsiteX762" fmla="*/ 10316325 w 12084394"/>
                <a:gd name="connsiteY762" fmla="*/ 1397181 h 4077840"/>
                <a:gd name="connsiteX763" fmla="*/ 10393956 w 12084394"/>
                <a:gd name="connsiteY763" fmla="*/ 1319549 h 4077840"/>
                <a:gd name="connsiteX764" fmla="*/ 9882080 w 12084394"/>
                <a:gd name="connsiteY764" fmla="*/ 1319549 h 4077840"/>
                <a:gd name="connsiteX765" fmla="*/ 9959711 w 12084394"/>
                <a:gd name="connsiteY765" fmla="*/ 1397181 h 4077840"/>
                <a:gd name="connsiteX766" fmla="*/ 9882080 w 12084394"/>
                <a:gd name="connsiteY766" fmla="*/ 1474811 h 4077840"/>
                <a:gd name="connsiteX767" fmla="*/ 9804449 w 12084394"/>
                <a:gd name="connsiteY767" fmla="*/ 1397181 h 4077840"/>
                <a:gd name="connsiteX768" fmla="*/ 9882080 w 12084394"/>
                <a:gd name="connsiteY768" fmla="*/ 1319549 h 4077840"/>
                <a:gd name="connsiteX769" fmla="*/ 9370013 w 12084394"/>
                <a:gd name="connsiteY769" fmla="*/ 1319549 h 4077840"/>
                <a:gd name="connsiteX770" fmla="*/ 9447645 w 12084394"/>
                <a:gd name="connsiteY770" fmla="*/ 1397181 h 4077840"/>
                <a:gd name="connsiteX771" fmla="*/ 9370013 w 12084394"/>
                <a:gd name="connsiteY771" fmla="*/ 1474811 h 4077840"/>
                <a:gd name="connsiteX772" fmla="*/ 9292382 w 12084394"/>
                <a:gd name="connsiteY772" fmla="*/ 1397181 h 4077840"/>
                <a:gd name="connsiteX773" fmla="*/ 9370013 w 12084394"/>
                <a:gd name="connsiteY773" fmla="*/ 1319549 h 4077840"/>
                <a:gd name="connsiteX774" fmla="*/ 8858136 w 12084394"/>
                <a:gd name="connsiteY774" fmla="*/ 1319549 h 4077840"/>
                <a:gd name="connsiteX775" fmla="*/ 8935768 w 12084394"/>
                <a:gd name="connsiteY775" fmla="*/ 1397181 h 4077840"/>
                <a:gd name="connsiteX776" fmla="*/ 8858136 w 12084394"/>
                <a:gd name="connsiteY776" fmla="*/ 1474811 h 4077840"/>
                <a:gd name="connsiteX777" fmla="*/ 8780505 w 12084394"/>
                <a:gd name="connsiteY777" fmla="*/ 1397181 h 4077840"/>
                <a:gd name="connsiteX778" fmla="*/ 8858136 w 12084394"/>
                <a:gd name="connsiteY778" fmla="*/ 1319549 h 4077840"/>
                <a:gd name="connsiteX779" fmla="*/ 8346071 w 12084394"/>
                <a:gd name="connsiteY779" fmla="*/ 1319549 h 4077840"/>
                <a:gd name="connsiteX780" fmla="*/ 8423702 w 12084394"/>
                <a:gd name="connsiteY780" fmla="*/ 1397181 h 4077840"/>
                <a:gd name="connsiteX781" fmla="*/ 8346071 w 12084394"/>
                <a:gd name="connsiteY781" fmla="*/ 1474811 h 4077840"/>
                <a:gd name="connsiteX782" fmla="*/ 8268439 w 12084394"/>
                <a:gd name="connsiteY782" fmla="*/ 1397181 h 4077840"/>
                <a:gd name="connsiteX783" fmla="*/ 8346071 w 12084394"/>
                <a:gd name="connsiteY783" fmla="*/ 1319549 h 4077840"/>
                <a:gd name="connsiteX784" fmla="*/ 7834193 w 12084394"/>
                <a:gd name="connsiteY784" fmla="*/ 1319549 h 4077840"/>
                <a:gd name="connsiteX785" fmla="*/ 7911825 w 12084394"/>
                <a:gd name="connsiteY785" fmla="*/ 1397181 h 4077840"/>
                <a:gd name="connsiteX786" fmla="*/ 7834193 w 12084394"/>
                <a:gd name="connsiteY786" fmla="*/ 1474811 h 4077840"/>
                <a:gd name="connsiteX787" fmla="*/ 7756562 w 12084394"/>
                <a:gd name="connsiteY787" fmla="*/ 1397181 h 4077840"/>
                <a:gd name="connsiteX788" fmla="*/ 7834193 w 12084394"/>
                <a:gd name="connsiteY788" fmla="*/ 1319549 h 4077840"/>
                <a:gd name="connsiteX789" fmla="*/ 7322128 w 12084394"/>
                <a:gd name="connsiteY789" fmla="*/ 1319549 h 4077840"/>
                <a:gd name="connsiteX790" fmla="*/ 7399759 w 12084394"/>
                <a:gd name="connsiteY790" fmla="*/ 1397181 h 4077840"/>
                <a:gd name="connsiteX791" fmla="*/ 7322128 w 12084394"/>
                <a:gd name="connsiteY791" fmla="*/ 1474811 h 4077840"/>
                <a:gd name="connsiteX792" fmla="*/ 7244496 w 12084394"/>
                <a:gd name="connsiteY792" fmla="*/ 1397181 h 4077840"/>
                <a:gd name="connsiteX793" fmla="*/ 7322128 w 12084394"/>
                <a:gd name="connsiteY793" fmla="*/ 1319549 h 4077840"/>
                <a:gd name="connsiteX794" fmla="*/ 6810251 w 12084394"/>
                <a:gd name="connsiteY794" fmla="*/ 1319549 h 4077840"/>
                <a:gd name="connsiteX795" fmla="*/ 6887882 w 12084394"/>
                <a:gd name="connsiteY795" fmla="*/ 1397181 h 4077840"/>
                <a:gd name="connsiteX796" fmla="*/ 6810251 w 12084394"/>
                <a:gd name="connsiteY796" fmla="*/ 1474811 h 4077840"/>
                <a:gd name="connsiteX797" fmla="*/ 6732619 w 12084394"/>
                <a:gd name="connsiteY797" fmla="*/ 1397181 h 4077840"/>
                <a:gd name="connsiteX798" fmla="*/ 6810251 w 12084394"/>
                <a:gd name="connsiteY798" fmla="*/ 1319549 h 4077840"/>
                <a:gd name="connsiteX799" fmla="*/ 6298184 w 12084394"/>
                <a:gd name="connsiteY799" fmla="*/ 1319549 h 4077840"/>
                <a:gd name="connsiteX800" fmla="*/ 6375816 w 12084394"/>
                <a:gd name="connsiteY800" fmla="*/ 1397181 h 4077840"/>
                <a:gd name="connsiteX801" fmla="*/ 6298184 w 12084394"/>
                <a:gd name="connsiteY801" fmla="*/ 1474811 h 4077840"/>
                <a:gd name="connsiteX802" fmla="*/ 6220554 w 12084394"/>
                <a:gd name="connsiteY802" fmla="*/ 1397181 h 4077840"/>
                <a:gd name="connsiteX803" fmla="*/ 6298184 w 12084394"/>
                <a:gd name="connsiteY803" fmla="*/ 1319549 h 4077840"/>
                <a:gd name="connsiteX804" fmla="*/ 5786126 w 12084394"/>
                <a:gd name="connsiteY804" fmla="*/ 1319549 h 4077840"/>
                <a:gd name="connsiteX805" fmla="*/ 5863754 w 12084394"/>
                <a:gd name="connsiteY805" fmla="*/ 1397181 h 4077840"/>
                <a:gd name="connsiteX806" fmla="*/ 5786126 w 12084394"/>
                <a:gd name="connsiteY806" fmla="*/ 1474811 h 4077840"/>
                <a:gd name="connsiteX807" fmla="*/ 5708497 w 12084394"/>
                <a:gd name="connsiteY807" fmla="*/ 1397181 h 4077840"/>
                <a:gd name="connsiteX808" fmla="*/ 5786126 w 12084394"/>
                <a:gd name="connsiteY808" fmla="*/ 1319549 h 4077840"/>
                <a:gd name="connsiteX809" fmla="*/ 5274270 w 12084394"/>
                <a:gd name="connsiteY809" fmla="*/ 1319549 h 4077840"/>
                <a:gd name="connsiteX810" fmla="*/ 5351901 w 12084394"/>
                <a:gd name="connsiteY810" fmla="*/ 1397181 h 4077840"/>
                <a:gd name="connsiteX811" fmla="*/ 5274270 w 12084394"/>
                <a:gd name="connsiteY811" fmla="*/ 1474811 h 4077840"/>
                <a:gd name="connsiteX812" fmla="*/ 5196640 w 12084394"/>
                <a:gd name="connsiteY812" fmla="*/ 1397181 h 4077840"/>
                <a:gd name="connsiteX813" fmla="*/ 5274270 w 12084394"/>
                <a:gd name="connsiteY813" fmla="*/ 1319549 h 4077840"/>
                <a:gd name="connsiteX814" fmla="*/ 4762180 w 12084394"/>
                <a:gd name="connsiteY814" fmla="*/ 1319549 h 4077840"/>
                <a:gd name="connsiteX815" fmla="*/ 4839836 w 12084394"/>
                <a:gd name="connsiteY815" fmla="*/ 1397181 h 4077840"/>
                <a:gd name="connsiteX816" fmla="*/ 4762180 w 12084394"/>
                <a:gd name="connsiteY816" fmla="*/ 1474811 h 4077840"/>
                <a:gd name="connsiteX817" fmla="*/ 4684568 w 12084394"/>
                <a:gd name="connsiteY817" fmla="*/ 1397181 h 4077840"/>
                <a:gd name="connsiteX818" fmla="*/ 4762180 w 12084394"/>
                <a:gd name="connsiteY818" fmla="*/ 1319549 h 4077840"/>
                <a:gd name="connsiteX819" fmla="*/ 4250316 w 12084394"/>
                <a:gd name="connsiteY819" fmla="*/ 1319549 h 4077840"/>
                <a:gd name="connsiteX820" fmla="*/ 4327952 w 12084394"/>
                <a:gd name="connsiteY820" fmla="*/ 1397181 h 4077840"/>
                <a:gd name="connsiteX821" fmla="*/ 4250316 w 12084394"/>
                <a:gd name="connsiteY821" fmla="*/ 1474811 h 4077840"/>
                <a:gd name="connsiteX822" fmla="*/ 4172680 w 12084394"/>
                <a:gd name="connsiteY822" fmla="*/ 1397181 h 4077840"/>
                <a:gd name="connsiteX823" fmla="*/ 4250316 w 12084394"/>
                <a:gd name="connsiteY823" fmla="*/ 1319549 h 4077840"/>
                <a:gd name="connsiteX824" fmla="*/ 3738287 w 12084394"/>
                <a:gd name="connsiteY824" fmla="*/ 1319549 h 4077840"/>
                <a:gd name="connsiteX825" fmla="*/ 3815917 w 12084394"/>
                <a:gd name="connsiteY825" fmla="*/ 1397181 h 4077840"/>
                <a:gd name="connsiteX826" fmla="*/ 3738287 w 12084394"/>
                <a:gd name="connsiteY826" fmla="*/ 1474811 h 4077840"/>
                <a:gd name="connsiteX827" fmla="*/ 3660647 w 12084394"/>
                <a:gd name="connsiteY827" fmla="*/ 1397181 h 4077840"/>
                <a:gd name="connsiteX828" fmla="*/ 3738287 w 12084394"/>
                <a:gd name="connsiteY828" fmla="*/ 1319549 h 4077840"/>
                <a:gd name="connsiteX829" fmla="*/ 3226239 w 12084394"/>
                <a:gd name="connsiteY829" fmla="*/ 1319549 h 4077840"/>
                <a:gd name="connsiteX830" fmla="*/ 3303877 w 12084394"/>
                <a:gd name="connsiteY830" fmla="*/ 1397181 h 4077840"/>
                <a:gd name="connsiteX831" fmla="*/ 3226239 w 12084394"/>
                <a:gd name="connsiteY831" fmla="*/ 1474811 h 4077840"/>
                <a:gd name="connsiteX832" fmla="*/ 3148605 w 12084394"/>
                <a:gd name="connsiteY832" fmla="*/ 1397181 h 4077840"/>
                <a:gd name="connsiteX833" fmla="*/ 3226239 w 12084394"/>
                <a:gd name="connsiteY833" fmla="*/ 1319549 h 4077840"/>
                <a:gd name="connsiteX834" fmla="*/ 2714362 w 12084394"/>
                <a:gd name="connsiteY834" fmla="*/ 1319549 h 4077840"/>
                <a:gd name="connsiteX835" fmla="*/ 2791993 w 12084394"/>
                <a:gd name="connsiteY835" fmla="*/ 1397181 h 4077840"/>
                <a:gd name="connsiteX836" fmla="*/ 2714362 w 12084394"/>
                <a:gd name="connsiteY836" fmla="*/ 1474811 h 4077840"/>
                <a:gd name="connsiteX837" fmla="*/ 2636733 w 12084394"/>
                <a:gd name="connsiteY837" fmla="*/ 1397181 h 4077840"/>
                <a:gd name="connsiteX838" fmla="*/ 2714362 w 12084394"/>
                <a:gd name="connsiteY838" fmla="*/ 1319549 h 4077840"/>
                <a:gd name="connsiteX839" fmla="*/ 2202305 w 12084394"/>
                <a:gd name="connsiteY839" fmla="*/ 1319549 h 4077840"/>
                <a:gd name="connsiteX840" fmla="*/ 2279935 w 12084394"/>
                <a:gd name="connsiteY840" fmla="*/ 1397181 h 4077840"/>
                <a:gd name="connsiteX841" fmla="*/ 2202305 w 12084394"/>
                <a:gd name="connsiteY841" fmla="*/ 1474811 h 4077840"/>
                <a:gd name="connsiteX842" fmla="*/ 2124675 w 12084394"/>
                <a:gd name="connsiteY842" fmla="*/ 1397181 h 4077840"/>
                <a:gd name="connsiteX843" fmla="*/ 2202305 w 12084394"/>
                <a:gd name="connsiteY843" fmla="*/ 1319549 h 4077840"/>
                <a:gd name="connsiteX844" fmla="*/ 1690412 w 12084394"/>
                <a:gd name="connsiteY844" fmla="*/ 1319549 h 4077840"/>
                <a:gd name="connsiteX845" fmla="*/ 1768043 w 12084394"/>
                <a:gd name="connsiteY845" fmla="*/ 1397181 h 4077840"/>
                <a:gd name="connsiteX846" fmla="*/ 1690412 w 12084394"/>
                <a:gd name="connsiteY846" fmla="*/ 1474811 h 4077840"/>
                <a:gd name="connsiteX847" fmla="*/ 1612781 w 12084394"/>
                <a:gd name="connsiteY847" fmla="*/ 1397181 h 4077840"/>
                <a:gd name="connsiteX848" fmla="*/ 1690412 w 12084394"/>
                <a:gd name="connsiteY848" fmla="*/ 1319549 h 4077840"/>
                <a:gd name="connsiteX849" fmla="*/ 1178353 w 12084394"/>
                <a:gd name="connsiteY849" fmla="*/ 1319549 h 4077840"/>
                <a:gd name="connsiteX850" fmla="*/ 1255984 w 12084394"/>
                <a:gd name="connsiteY850" fmla="*/ 1397181 h 4077840"/>
                <a:gd name="connsiteX851" fmla="*/ 1178353 w 12084394"/>
                <a:gd name="connsiteY851" fmla="*/ 1474811 h 4077840"/>
                <a:gd name="connsiteX852" fmla="*/ 1100722 w 12084394"/>
                <a:gd name="connsiteY852" fmla="*/ 1397181 h 4077840"/>
                <a:gd name="connsiteX853" fmla="*/ 1178353 w 12084394"/>
                <a:gd name="connsiteY853" fmla="*/ 1319549 h 4077840"/>
                <a:gd name="connsiteX854" fmla="*/ 666483 w 12084394"/>
                <a:gd name="connsiteY854" fmla="*/ 1319549 h 4077840"/>
                <a:gd name="connsiteX855" fmla="*/ 744113 w 12084394"/>
                <a:gd name="connsiteY855" fmla="*/ 1397181 h 4077840"/>
                <a:gd name="connsiteX856" fmla="*/ 666483 w 12084394"/>
                <a:gd name="connsiteY856" fmla="*/ 1474811 h 4077840"/>
                <a:gd name="connsiteX857" fmla="*/ 588852 w 12084394"/>
                <a:gd name="connsiteY857" fmla="*/ 1397181 h 4077840"/>
                <a:gd name="connsiteX858" fmla="*/ 666483 w 12084394"/>
                <a:gd name="connsiteY858" fmla="*/ 1319549 h 4077840"/>
                <a:gd name="connsiteX859" fmla="*/ 154424 w 12084394"/>
                <a:gd name="connsiteY859" fmla="*/ 1319549 h 4077840"/>
                <a:gd name="connsiteX860" fmla="*/ 232055 w 12084394"/>
                <a:gd name="connsiteY860" fmla="*/ 1397181 h 4077840"/>
                <a:gd name="connsiteX861" fmla="*/ 154424 w 12084394"/>
                <a:gd name="connsiteY861" fmla="*/ 1474811 h 4077840"/>
                <a:gd name="connsiteX862" fmla="*/ 76793 w 12084394"/>
                <a:gd name="connsiteY862" fmla="*/ 1397181 h 4077840"/>
                <a:gd name="connsiteX863" fmla="*/ 154424 w 12084394"/>
                <a:gd name="connsiteY863" fmla="*/ 1319549 h 4077840"/>
                <a:gd name="connsiteX864" fmla="*/ 11929965 w 12084394"/>
                <a:gd name="connsiteY864" fmla="*/ 879636 h 4077840"/>
                <a:gd name="connsiteX865" fmla="*/ 11993430 w 12084394"/>
                <a:gd name="connsiteY865" fmla="*/ 943101 h 4077840"/>
                <a:gd name="connsiteX866" fmla="*/ 11929965 w 12084394"/>
                <a:gd name="connsiteY866" fmla="*/ 1006567 h 4077840"/>
                <a:gd name="connsiteX867" fmla="*/ 11866500 w 12084394"/>
                <a:gd name="connsiteY867" fmla="*/ 943101 h 4077840"/>
                <a:gd name="connsiteX868" fmla="*/ 11929965 w 12084394"/>
                <a:gd name="connsiteY868" fmla="*/ 879636 h 4077840"/>
                <a:gd name="connsiteX869" fmla="*/ 11417899 w 12084394"/>
                <a:gd name="connsiteY869" fmla="*/ 879636 h 4077840"/>
                <a:gd name="connsiteX870" fmla="*/ 11481364 w 12084394"/>
                <a:gd name="connsiteY870" fmla="*/ 943101 h 4077840"/>
                <a:gd name="connsiteX871" fmla="*/ 11417899 w 12084394"/>
                <a:gd name="connsiteY871" fmla="*/ 1006567 h 4077840"/>
                <a:gd name="connsiteX872" fmla="*/ 11354434 w 12084394"/>
                <a:gd name="connsiteY872" fmla="*/ 943101 h 4077840"/>
                <a:gd name="connsiteX873" fmla="*/ 11417899 w 12084394"/>
                <a:gd name="connsiteY873" fmla="*/ 879636 h 4077840"/>
                <a:gd name="connsiteX874" fmla="*/ 10906023 w 12084394"/>
                <a:gd name="connsiteY874" fmla="*/ 879636 h 4077840"/>
                <a:gd name="connsiteX875" fmla="*/ 10969488 w 12084394"/>
                <a:gd name="connsiteY875" fmla="*/ 943101 h 4077840"/>
                <a:gd name="connsiteX876" fmla="*/ 10906023 w 12084394"/>
                <a:gd name="connsiteY876" fmla="*/ 1006567 h 4077840"/>
                <a:gd name="connsiteX877" fmla="*/ 10842558 w 12084394"/>
                <a:gd name="connsiteY877" fmla="*/ 943101 h 4077840"/>
                <a:gd name="connsiteX878" fmla="*/ 10906023 w 12084394"/>
                <a:gd name="connsiteY878" fmla="*/ 879636 h 4077840"/>
                <a:gd name="connsiteX879" fmla="*/ 10393956 w 12084394"/>
                <a:gd name="connsiteY879" fmla="*/ 879636 h 4077840"/>
                <a:gd name="connsiteX880" fmla="*/ 10457421 w 12084394"/>
                <a:gd name="connsiteY880" fmla="*/ 943101 h 4077840"/>
                <a:gd name="connsiteX881" fmla="*/ 10393956 w 12084394"/>
                <a:gd name="connsiteY881" fmla="*/ 1006567 h 4077840"/>
                <a:gd name="connsiteX882" fmla="*/ 10330491 w 12084394"/>
                <a:gd name="connsiteY882" fmla="*/ 943101 h 4077840"/>
                <a:gd name="connsiteX883" fmla="*/ 10393956 w 12084394"/>
                <a:gd name="connsiteY883" fmla="*/ 879636 h 4077840"/>
                <a:gd name="connsiteX884" fmla="*/ 9882079 w 12084394"/>
                <a:gd name="connsiteY884" fmla="*/ 879636 h 4077840"/>
                <a:gd name="connsiteX885" fmla="*/ 9945544 w 12084394"/>
                <a:gd name="connsiteY885" fmla="*/ 943101 h 4077840"/>
                <a:gd name="connsiteX886" fmla="*/ 9882079 w 12084394"/>
                <a:gd name="connsiteY886" fmla="*/ 1006567 h 4077840"/>
                <a:gd name="connsiteX887" fmla="*/ 9818615 w 12084394"/>
                <a:gd name="connsiteY887" fmla="*/ 943101 h 4077840"/>
                <a:gd name="connsiteX888" fmla="*/ 9882079 w 12084394"/>
                <a:gd name="connsiteY888" fmla="*/ 879636 h 4077840"/>
                <a:gd name="connsiteX889" fmla="*/ 5274270 w 12084394"/>
                <a:gd name="connsiteY889" fmla="*/ 879636 h 4077840"/>
                <a:gd name="connsiteX890" fmla="*/ 5337733 w 12084394"/>
                <a:gd name="connsiteY890" fmla="*/ 943101 h 4077840"/>
                <a:gd name="connsiteX891" fmla="*/ 5274270 w 12084394"/>
                <a:gd name="connsiteY891" fmla="*/ 1006567 h 4077840"/>
                <a:gd name="connsiteX892" fmla="*/ 5210807 w 12084394"/>
                <a:gd name="connsiteY892" fmla="*/ 943101 h 4077840"/>
                <a:gd name="connsiteX893" fmla="*/ 5274270 w 12084394"/>
                <a:gd name="connsiteY893" fmla="*/ 879636 h 4077840"/>
                <a:gd name="connsiteX894" fmla="*/ 4762180 w 12084394"/>
                <a:gd name="connsiteY894" fmla="*/ 879636 h 4077840"/>
                <a:gd name="connsiteX895" fmla="*/ 4825668 w 12084394"/>
                <a:gd name="connsiteY895" fmla="*/ 943101 h 4077840"/>
                <a:gd name="connsiteX896" fmla="*/ 4762180 w 12084394"/>
                <a:gd name="connsiteY896" fmla="*/ 1006567 h 4077840"/>
                <a:gd name="connsiteX897" fmla="*/ 4698732 w 12084394"/>
                <a:gd name="connsiteY897" fmla="*/ 943101 h 4077840"/>
                <a:gd name="connsiteX898" fmla="*/ 4762180 w 12084394"/>
                <a:gd name="connsiteY898" fmla="*/ 879636 h 4077840"/>
                <a:gd name="connsiteX899" fmla="*/ 4250316 w 12084394"/>
                <a:gd name="connsiteY899" fmla="*/ 879636 h 4077840"/>
                <a:gd name="connsiteX900" fmla="*/ 4313785 w 12084394"/>
                <a:gd name="connsiteY900" fmla="*/ 943101 h 4077840"/>
                <a:gd name="connsiteX901" fmla="*/ 4250316 w 12084394"/>
                <a:gd name="connsiteY901" fmla="*/ 1006567 h 4077840"/>
                <a:gd name="connsiteX902" fmla="*/ 4186848 w 12084394"/>
                <a:gd name="connsiteY902" fmla="*/ 943101 h 4077840"/>
                <a:gd name="connsiteX903" fmla="*/ 4250316 w 12084394"/>
                <a:gd name="connsiteY903" fmla="*/ 879636 h 4077840"/>
                <a:gd name="connsiteX904" fmla="*/ 3738289 w 12084394"/>
                <a:gd name="connsiteY904" fmla="*/ 879636 h 4077840"/>
                <a:gd name="connsiteX905" fmla="*/ 3801749 w 12084394"/>
                <a:gd name="connsiteY905" fmla="*/ 943101 h 4077840"/>
                <a:gd name="connsiteX906" fmla="*/ 3738289 w 12084394"/>
                <a:gd name="connsiteY906" fmla="*/ 1006567 h 4077840"/>
                <a:gd name="connsiteX907" fmla="*/ 3674814 w 12084394"/>
                <a:gd name="connsiteY907" fmla="*/ 943101 h 4077840"/>
                <a:gd name="connsiteX908" fmla="*/ 3738289 w 12084394"/>
                <a:gd name="connsiteY908" fmla="*/ 879636 h 4077840"/>
                <a:gd name="connsiteX909" fmla="*/ 3226242 w 12084394"/>
                <a:gd name="connsiteY909" fmla="*/ 879636 h 4077840"/>
                <a:gd name="connsiteX910" fmla="*/ 3289709 w 12084394"/>
                <a:gd name="connsiteY910" fmla="*/ 943101 h 4077840"/>
                <a:gd name="connsiteX911" fmla="*/ 3226242 w 12084394"/>
                <a:gd name="connsiteY911" fmla="*/ 1006567 h 4077840"/>
                <a:gd name="connsiteX912" fmla="*/ 3162775 w 12084394"/>
                <a:gd name="connsiteY912" fmla="*/ 943101 h 4077840"/>
                <a:gd name="connsiteX913" fmla="*/ 3226242 w 12084394"/>
                <a:gd name="connsiteY913" fmla="*/ 879636 h 4077840"/>
                <a:gd name="connsiteX914" fmla="*/ 2714362 w 12084394"/>
                <a:gd name="connsiteY914" fmla="*/ 879636 h 4077840"/>
                <a:gd name="connsiteX915" fmla="*/ 2777827 w 12084394"/>
                <a:gd name="connsiteY915" fmla="*/ 943101 h 4077840"/>
                <a:gd name="connsiteX916" fmla="*/ 2714362 w 12084394"/>
                <a:gd name="connsiteY916" fmla="*/ 1006567 h 4077840"/>
                <a:gd name="connsiteX917" fmla="*/ 2650897 w 12084394"/>
                <a:gd name="connsiteY917" fmla="*/ 943101 h 4077840"/>
                <a:gd name="connsiteX918" fmla="*/ 2714362 w 12084394"/>
                <a:gd name="connsiteY918" fmla="*/ 879636 h 4077840"/>
                <a:gd name="connsiteX919" fmla="*/ 2202305 w 12084394"/>
                <a:gd name="connsiteY919" fmla="*/ 879636 h 4077840"/>
                <a:gd name="connsiteX920" fmla="*/ 2265769 w 12084394"/>
                <a:gd name="connsiteY920" fmla="*/ 943101 h 4077840"/>
                <a:gd name="connsiteX921" fmla="*/ 2202305 w 12084394"/>
                <a:gd name="connsiteY921" fmla="*/ 1006567 h 4077840"/>
                <a:gd name="connsiteX922" fmla="*/ 2138841 w 12084394"/>
                <a:gd name="connsiteY922" fmla="*/ 943101 h 4077840"/>
                <a:gd name="connsiteX923" fmla="*/ 2202305 w 12084394"/>
                <a:gd name="connsiteY923" fmla="*/ 879636 h 4077840"/>
                <a:gd name="connsiteX924" fmla="*/ 1690412 w 12084394"/>
                <a:gd name="connsiteY924" fmla="*/ 879636 h 4077840"/>
                <a:gd name="connsiteX925" fmla="*/ 1753877 w 12084394"/>
                <a:gd name="connsiteY925" fmla="*/ 943101 h 4077840"/>
                <a:gd name="connsiteX926" fmla="*/ 1690412 w 12084394"/>
                <a:gd name="connsiteY926" fmla="*/ 1006567 h 4077840"/>
                <a:gd name="connsiteX927" fmla="*/ 1626948 w 12084394"/>
                <a:gd name="connsiteY927" fmla="*/ 943101 h 4077840"/>
                <a:gd name="connsiteX928" fmla="*/ 1690412 w 12084394"/>
                <a:gd name="connsiteY928" fmla="*/ 879636 h 4077840"/>
                <a:gd name="connsiteX929" fmla="*/ 1178353 w 12084394"/>
                <a:gd name="connsiteY929" fmla="*/ 879636 h 4077840"/>
                <a:gd name="connsiteX930" fmla="*/ 1241817 w 12084394"/>
                <a:gd name="connsiteY930" fmla="*/ 943101 h 4077840"/>
                <a:gd name="connsiteX931" fmla="*/ 1178353 w 12084394"/>
                <a:gd name="connsiteY931" fmla="*/ 1006567 h 4077840"/>
                <a:gd name="connsiteX932" fmla="*/ 1114888 w 12084394"/>
                <a:gd name="connsiteY932" fmla="*/ 943101 h 4077840"/>
                <a:gd name="connsiteX933" fmla="*/ 1178353 w 12084394"/>
                <a:gd name="connsiteY933" fmla="*/ 879636 h 4077840"/>
                <a:gd name="connsiteX934" fmla="*/ 666483 w 12084394"/>
                <a:gd name="connsiteY934" fmla="*/ 879636 h 4077840"/>
                <a:gd name="connsiteX935" fmla="*/ 729947 w 12084394"/>
                <a:gd name="connsiteY935" fmla="*/ 943101 h 4077840"/>
                <a:gd name="connsiteX936" fmla="*/ 666483 w 12084394"/>
                <a:gd name="connsiteY936" fmla="*/ 1006567 h 4077840"/>
                <a:gd name="connsiteX937" fmla="*/ 603018 w 12084394"/>
                <a:gd name="connsiteY937" fmla="*/ 943101 h 4077840"/>
                <a:gd name="connsiteX938" fmla="*/ 666483 w 12084394"/>
                <a:gd name="connsiteY938" fmla="*/ 879636 h 4077840"/>
                <a:gd name="connsiteX939" fmla="*/ 154424 w 12084394"/>
                <a:gd name="connsiteY939" fmla="*/ 879636 h 4077840"/>
                <a:gd name="connsiteX940" fmla="*/ 217889 w 12084394"/>
                <a:gd name="connsiteY940" fmla="*/ 943101 h 4077840"/>
                <a:gd name="connsiteX941" fmla="*/ 154424 w 12084394"/>
                <a:gd name="connsiteY941" fmla="*/ 1006567 h 4077840"/>
                <a:gd name="connsiteX942" fmla="*/ 90960 w 12084394"/>
                <a:gd name="connsiteY942" fmla="*/ 943101 h 4077840"/>
                <a:gd name="connsiteX943" fmla="*/ 154424 w 12084394"/>
                <a:gd name="connsiteY943" fmla="*/ 879636 h 4077840"/>
                <a:gd name="connsiteX944" fmla="*/ 9370014 w 12084394"/>
                <a:gd name="connsiteY944" fmla="*/ 879635 h 4077840"/>
                <a:gd name="connsiteX945" fmla="*/ 9433479 w 12084394"/>
                <a:gd name="connsiteY945" fmla="*/ 943100 h 4077840"/>
                <a:gd name="connsiteX946" fmla="*/ 9370014 w 12084394"/>
                <a:gd name="connsiteY946" fmla="*/ 1006566 h 4077840"/>
                <a:gd name="connsiteX947" fmla="*/ 9306549 w 12084394"/>
                <a:gd name="connsiteY947" fmla="*/ 943100 h 4077840"/>
                <a:gd name="connsiteX948" fmla="*/ 9370014 w 12084394"/>
                <a:gd name="connsiteY948" fmla="*/ 879635 h 4077840"/>
                <a:gd name="connsiteX949" fmla="*/ 8857948 w 12084394"/>
                <a:gd name="connsiteY949" fmla="*/ 879635 h 4077840"/>
                <a:gd name="connsiteX950" fmla="*/ 8921412 w 12084394"/>
                <a:gd name="connsiteY950" fmla="*/ 943100 h 4077840"/>
                <a:gd name="connsiteX951" fmla="*/ 8857948 w 12084394"/>
                <a:gd name="connsiteY951" fmla="*/ 1006566 h 4077840"/>
                <a:gd name="connsiteX952" fmla="*/ 8794482 w 12084394"/>
                <a:gd name="connsiteY952" fmla="*/ 943100 h 4077840"/>
                <a:gd name="connsiteX953" fmla="*/ 8857948 w 12084394"/>
                <a:gd name="connsiteY953" fmla="*/ 879635 h 4077840"/>
                <a:gd name="connsiteX954" fmla="*/ 8346071 w 12084394"/>
                <a:gd name="connsiteY954" fmla="*/ 879635 h 4077840"/>
                <a:gd name="connsiteX955" fmla="*/ 8409535 w 12084394"/>
                <a:gd name="connsiteY955" fmla="*/ 943100 h 4077840"/>
                <a:gd name="connsiteX956" fmla="*/ 8346071 w 12084394"/>
                <a:gd name="connsiteY956" fmla="*/ 1006566 h 4077840"/>
                <a:gd name="connsiteX957" fmla="*/ 8282605 w 12084394"/>
                <a:gd name="connsiteY957" fmla="*/ 943100 h 4077840"/>
                <a:gd name="connsiteX958" fmla="*/ 8346071 w 12084394"/>
                <a:gd name="connsiteY958" fmla="*/ 879635 h 4077840"/>
                <a:gd name="connsiteX959" fmla="*/ 7834005 w 12084394"/>
                <a:gd name="connsiteY959" fmla="*/ 879635 h 4077840"/>
                <a:gd name="connsiteX960" fmla="*/ 7897470 w 12084394"/>
                <a:gd name="connsiteY960" fmla="*/ 943100 h 4077840"/>
                <a:gd name="connsiteX961" fmla="*/ 7834005 w 12084394"/>
                <a:gd name="connsiteY961" fmla="*/ 1006566 h 4077840"/>
                <a:gd name="connsiteX962" fmla="*/ 7770540 w 12084394"/>
                <a:gd name="connsiteY962" fmla="*/ 943100 h 4077840"/>
                <a:gd name="connsiteX963" fmla="*/ 7834005 w 12084394"/>
                <a:gd name="connsiteY963" fmla="*/ 879635 h 4077840"/>
                <a:gd name="connsiteX964" fmla="*/ 7322128 w 12084394"/>
                <a:gd name="connsiteY964" fmla="*/ 879635 h 4077840"/>
                <a:gd name="connsiteX965" fmla="*/ 7385592 w 12084394"/>
                <a:gd name="connsiteY965" fmla="*/ 943100 h 4077840"/>
                <a:gd name="connsiteX966" fmla="*/ 7322128 w 12084394"/>
                <a:gd name="connsiteY966" fmla="*/ 1006566 h 4077840"/>
                <a:gd name="connsiteX967" fmla="*/ 7258662 w 12084394"/>
                <a:gd name="connsiteY967" fmla="*/ 943100 h 4077840"/>
                <a:gd name="connsiteX968" fmla="*/ 7322128 w 12084394"/>
                <a:gd name="connsiteY968" fmla="*/ 879635 h 4077840"/>
                <a:gd name="connsiteX969" fmla="*/ 6810062 w 12084394"/>
                <a:gd name="connsiteY969" fmla="*/ 879635 h 4077840"/>
                <a:gd name="connsiteX970" fmla="*/ 6873527 w 12084394"/>
                <a:gd name="connsiteY970" fmla="*/ 943100 h 4077840"/>
                <a:gd name="connsiteX971" fmla="*/ 6810062 w 12084394"/>
                <a:gd name="connsiteY971" fmla="*/ 1006566 h 4077840"/>
                <a:gd name="connsiteX972" fmla="*/ 6746597 w 12084394"/>
                <a:gd name="connsiteY972" fmla="*/ 943100 h 4077840"/>
                <a:gd name="connsiteX973" fmla="*/ 6810062 w 12084394"/>
                <a:gd name="connsiteY973" fmla="*/ 879635 h 4077840"/>
                <a:gd name="connsiteX974" fmla="*/ 6298186 w 12084394"/>
                <a:gd name="connsiteY974" fmla="*/ 879635 h 4077840"/>
                <a:gd name="connsiteX975" fmla="*/ 6361650 w 12084394"/>
                <a:gd name="connsiteY975" fmla="*/ 943100 h 4077840"/>
                <a:gd name="connsiteX976" fmla="*/ 6298186 w 12084394"/>
                <a:gd name="connsiteY976" fmla="*/ 1006566 h 4077840"/>
                <a:gd name="connsiteX977" fmla="*/ 6234720 w 12084394"/>
                <a:gd name="connsiteY977" fmla="*/ 943100 h 4077840"/>
                <a:gd name="connsiteX978" fmla="*/ 6298186 w 12084394"/>
                <a:gd name="connsiteY978" fmla="*/ 879635 h 4077840"/>
                <a:gd name="connsiteX979" fmla="*/ 5786126 w 12084394"/>
                <a:gd name="connsiteY979" fmla="*/ 879635 h 4077840"/>
                <a:gd name="connsiteX980" fmla="*/ 5849588 w 12084394"/>
                <a:gd name="connsiteY980" fmla="*/ 943100 h 4077840"/>
                <a:gd name="connsiteX981" fmla="*/ 5786126 w 12084394"/>
                <a:gd name="connsiteY981" fmla="*/ 1006566 h 4077840"/>
                <a:gd name="connsiteX982" fmla="*/ 5722663 w 12084394"/>
                <a:gd name="connsiteY982" fmla="*/ 943100 h 4077840"/>
                <a:gd name="connsiteX983" fmla="*/ 5786126 w 12084394"/>
                <a:gd name="connsiteY983" fmla="*/ 879635 h 4077840"/>
                <a:gd name="connsiteX984" fmla="*/ 11417900 w 12084394"/>
                <a:gd name="connsiteY984" fmla="*/ 439913 h 4077840"/>
                <a:gd name="connsiteX985" fmla="*/ 11467010 w 12084394"/>
                <a:gd name="connsiteY985" fmla="*/ 489022 h 4077840"/>
                <a:gd name="connsiteX986" fmla="*/ 11417900 w 12084394"/>
                <a:gd name="connsiteY986" fmla="*/ 538132 h 4077840"/>
                <a:gd name="connsiteX987" fmla="*/ 11368791 w 12084394"/>
                <a:gd name="connsiteY987" fmla="*/ 489022 h 4077840"/>
                <a:gd name="connsiteX988" fmla="*/ 11417900 w 12084394"/>
                <a:gd name="connsiteY988" fmla="*/ 439913 h 4077840"/>
                <a:gd name="connsiteX989" fmla="*/ 10906024 w 12084394"/>
                <a:gd name="connsiteY989" fmla="*/ 439913 h 4077840"/>
                <a:gd name="connsiteX990" fmla="*/ 10955133 w 12084394"/>
                <a:gd name="connsiteY990" fmla="*/ 489022 h 4077840"/>
                <a:gd name="connsiteX991" fmla="*/ 10906024 w 12084394"/>
                <a:gd name="connsiteY991" fmla="*/ 538132 h 4077840"/>
                <a:gd name="connsiteX992" fmla="*/ 10856914 w 12084394"/>
                <a:gd name="connsiteY992" fmla="*/ 489022 h 4077840"/>
                <a:gd name="connsiteX993" fmla="*/ 10906024 w 12084394"/>
                <a:gd name="connsiteY993" fmla="*/ 439913 h 4077840"/>
                <a:gd name="connsiteX994" fmla="*/ 10393958 w 12084394"/>
                <a:gd name="connsiteY994" fmla="*/ 439913 h 4077840"/>
                <a:gd name="connsiteX995" fmla="*/ 10443067 w 12084394"/>
                <a:gd name="connsiteY995" fmla="*/ 489022 h 4077840"/>
                <a:gd name="connsiteX996" fmla="*/ 10393958 w 12084394"/>
                <a:gd name="connsiteY996" fmla="*/ 538132 h 4077840"/>
                <a:gd name="connsiteX997" fmla="*/ 10344848 w 12084394"/>
                <a:gd name="connsiteY997" fmla="*/ 489022 h 4077840"/>
                <a:gd name="connsiteX998" fmla="*/ 10393958 w 12084394"/>
                <a:gd name="connsiteY998" fmla="*/ 439913 h 4077840"/>
                <a:gd name="connsiteX999" fmla="*/ 9882080 w 12084394"/>
                <a:gd name="connsiteY999" fmla="*/ 439913 h 4077840"/>
                <a:gd name="connsiteX1000" fmla="*/ 9931190 w 12084394"/>
                <a:gd name="connsiteY1000" fmla="*/ 489022 h 4077840"/>
                <a:gd name="connsiteX1001" fmla="*/ 9882080 w 12084394"/>
                <a:gd name="connsiteY1001" fmla="*/ 538132 h 4077840"/>
                <a:gd name="connsiteX1002" fmla="*/ 9832971 w 12084394"/>
                <a:gd name="connsiteY1002" fmla="*/ 489022 h 4077840"/>
                <a:gd name="connsiteX1003" fmla="*/ 9882080 w 12084394"/>
                <a:gd name="connsiteY1003" fmla="*/ 439913 h 4077840"/>
                <a:gd name="connsiteX1004" fmla="*/ 9370013 w 12084394"/>
                <a:gd name="connsiteY1004" fmla="*/ 439913 h 4077840"/>
                <a:gd name="connsiteX1005" fmla="*/ 9419123 w 12084394"/>
                <a:gd name="connsiteY1005" fmla="*/ 489022 h 4077840"/>
                <a:gd name="connsiteX1006" fmla="*/ 9370013 w 12084394"/>
                <a:gd name="connsiteY1006" fmla="*/ 538132 h 4077840"/>
                <a:gd name="connsiteX1007" fmla="*/ 9320903 w 12084394"/>
                <a:gd name="connsiteY1007" fmla="*/ 489022 h 4077840"/>
                <a:gd name="connsiteX1008" fmla="*/ 9370013 w 12084394"/>
                <a:gd name="connsiteY1008" fmla="*/ 439913 h 4077840"/>
                <a:gd name="connsiteX1009" fmla="*/ 8858137 w 12084394"/>
                <a:gd name="connsiteY1009" fmla="*/ 439913 h 4077840"/>
                <a:gd name="connsiteX1010" fmla="*/ 8907247 w 12084394"/>
                <a:gd name="connsiteY1010" fmla="*/ 489022 h 4077840"/>
                <a:gd name="connsiteX1011" fmla="*/ 8858137 w 12084394"/>
                <a:gd name="connsiteY1011" fmla="*/ 538132 h 4077840"/>
                <a:gd name="connsiteX1012" fmla="*/ 8809027 w 12084394"/>
                <a:gd name="connsiteY1012" fmla="*/ 489022 h 4077840"/>
                <a:gd name="connsiteX1013" fmla="*/ 8858137 w 12084394"/>
                <a:gd name="connsiteY1013" fmla="*/ 439913 h 4077840"/>
                <a:gd name="connsiteX1014" fmla="*/ 8346071 w 12084394"/>
                <a:gd name="connsiteY1014" fmla="*/ 439913 h 4077840"/>
                <a:gd name="connsiteX1015" fmla="*/ 8395181 w 12084394"/>
                <a:gd name="connsiteY1015" fmla="*/ 489022 h 4077840"/>
                <a:gd name="connsiteX1016" fmla="*/ 8346071 w 12084394"/>
                <a:gd name="connsiteY1016" fmla="*/ 538132 h 4077840"/>
                <a:gd name="connsiteX1017" fmla="*/ 8296961 w 12084394"/>
                <a:gd name="connsiteY1017" fmla="*/ 489022 h 4077840"/>
                <a:gd name="connsiteX1018" fmla="*/ 8346071 w 12084394"/>
                <a:gd name="connsiteY1018" fmla="*/ 439913 h 4077840"/>
                <a:gd name="connsiteX1019" fmla="*/ 7834193 w 12084394"/>
                <a:gd name="connsiteY1019" fmla="*/ 439913 h 4077840"/>
                <a:gd name="connsiteX1020" fmla="*/ 7883303 w 12084394"/>
                <a:gd name="connsiteY1020" fmla="*/ 489022 h 4077840"/>
                <a:gd name="connsiteX1021" fmla="*/ 7834193 w 12084394"/>
                <a:gd name="connsiteY1021" fmla="*/ 538132 h 4077840"/>
                <a:gd name="connsiteX1022" fmla="*/ 7785083 w 12084394"/>
                <a:gd name="connsiteY1022" fmla="*/ 489022 h 4077840"/>
                <a:gd name="connsiteX1023" fmla="*/ 7834193 w 12084394"/>
                <a:gd name="connsiteY1023" fmla="*/ 439913 h 4077840"/>
                <a:gd name="connsiteX1024" fmla="*/ 7322128 w 12084394"/>
                <a:gd name="connsiteY1024" fmla="*/ 439913 h 4077840"/>
                <a:gd name="connsiteX1025" fmla="*/ 7371238 w 12084394"/>
                <a:gd name="connsiteY1025" fmla="*/ 489022 h 4077840"/>
                <a:gd name="connsiteX1026" fmla="*/ 7322128 w 12084394"/>
                <a:gd name="connsiteY1026" fmla="*/ 538132 h 4077840"/>
                <a:gd name="connsiteX1027" fmla="*/ 7273018 w 12084394"/>
                <a:gd name="connsiteY1027" fmla="*/ 489022 h 4077840"/>
                <a:gd name="connsiteX1028" fmla="*/ 7322128 w 12084394"/>
                <a:gd name="connsiteY1028" fmla="*/ 439913 h 4077840"/>
                <a:gd name="connsiteX1029" fmla="*/ 6810251 w 12084394"/>
                <a:gd name="connsiteY1029" fmla="*/ 439913 h 4077840"/>
                <a:gd name="connsiteX1030" fmla="*/ 6859361 w 12084394"/>
                <a:gd name="connsiteY1030" fmla="*/ 489022 h 4077840"/>
                <a:gd name="connsiteX1031" fmla="*/ 6810251 w 12084394"/>
                <a:gd name="connsiteY1031" fmla="*/ 538132 h 4077840"/>
                <a:gd name="connsiteX1032" fmla="*/ 6761141 w 12084394"/>
                <a:gd name="connsiteY1032" fmla="*/ 489022 h 4077840"/>
                <a:gd name="connsiteX1033" fmla="*/ 6810251 w 12084394"/>
                <a:gd name="connsiteY1033" fmla="*/ 439913 h 4077840"/>
                <a:gd name="connsiteX1034" fmla="*/ 6298184 w 12084394"/>
                <a:gd name="connsiteY1034" fmla="*/ 439913 h 4077840"/>
                <a:gd name="connsiteX1035" fmla="*/ 6347295 w 12084394"/>
                <a:gd name="connsiteY1035" fmla="*/ 489022 h 4077840"/>
                <a:gd name="connsiteX1036" fmla="*/ 6298184 w 12084394"/>
                <a:gd name="connsiteY1036" fmla="*/ 538132 h 4077840"/>
                <a:gd name="connsiteX1037" fmla="*/ 6249074 w 12084394"/>
                <a:gd name="connsiteY1037" fmla="*/ 489022 h 4077840"/>
                <a:gd name="connsiteX1038" fmla="*/ 6298184 w 12084394"/>
                <a:gd name="connsiteY1038" fmla="*/ 439913 h 4077840"/>
                <a:gd name="connsiteX1039" fmla="*/ 5786315 w 12084394"/>
                <a:gd name="connsiteY1039" fmla="*/ 439913 h 4077840"/>
                <a:gd name="connsiteX1040" fmla="*/ 5835423 w 12084394"/>
                <a:gd name="connsiteY1040" fmla="*/ 489022 h 4077840"/>
                <a:gd name="connsiteX1041" fmla="*/ 5786315 w 12084394"/>
                <a:gd name="connsiteY1041" fmla="*/ 538132 h 4077840"/>
                <a:gd name="connsiteX1042" fmla="*/ 5737207 w 12084394"/>
                <a:gd name="connsiteY1042" fmla="*/ 489022 h 4077840"/>
                <a:gd name="connsiteX1043" fmla="*/ 5786315 w 12084394"/>
                <a:gd name="connsiteY1043" fmla="*/ 439913 h 4077840"/>
                <a:gd name="connsiteX1044" fmla="*/ 5274270 w 12084394"/>
                <a:gd name="connsiteY1044" fmla="*/ 439913 h 4077840"/>
                <a:gd name="connsiteX1045" fmla="*/ 5323380 w 12084394"/>
                <a:gd name="connsiteY1045" fmla="*/ 489022 h 4077840"/>
                <a:gd name="connsiteX1046" fmla="*/ 5274270 w 12084394"/>
                <a:gd name="connsiteY1046" fmla="*/ 538132 h 4077840"/>
                <a:gd name="connsiteX1047" fmla="*/ 5225158 w 12084394"/>
                <a:gd name="connsiteY1047" fmla="*/ 489022 h 4077840"/>
                <a:gd name="connsiteX1048" fmla="*/ 5274270 w 12084394"/>
                <a:gd name="connsiteY1048" fmla="*/ 439913 h 4077840"/>
                <a:gd name="connsiteX1049" fmla="*/ 4762180 w 12084394"/>
                <a:gd name="connsiteY1049" fmla="*/ 439913 h 4077840"/>
                <a:gd name="connsiteX1050" fmla="*/ 4811308 w 12084394"/>
                <a:gd name="connsiteY1050" fmla="*/ 489022 h 4077840"/>
                <a:gd name="connsiteX1051" fmla="*/ 4762180 w 12084394"/>
                <a:gd name="connsiteY1051" fmla="*/ 538132 h 4077840"/>
                <a:gd name="connsiteX1052" fmla="*/ 4713081 w 12084394"/>
                <a:gd name="connsiteY1052" fmla="*/ 489022 h 4077840"/>
                <a:gd name="connsiteX1053" fmla="*/ 4762180 w 12084394"/>
                <a:gd name="connsiteY1053" fmla="*/ 439913 h 4077840"/>
                <a:gd name="connsiteX1054" fmla="*/ 4250316 w 12084394"/>
                <a:gd name="connsiteY1054" fmla="*/ 439913 h 4077840"/>
                <a:gd name="connsiteX1055" fmla="*/ 4299428 w 12084394"/>
                <a:gd name="connsiteY1055" fmla="*/ 489022 h 4077840"/>
                <a:gd name="connsiteX1056" fmla="*/ 4250316 w 12084394"/>
                <a:gd name="connsiteY1056" fmla="*/ 538132 h 4077840"/>
                <a:gd name="connsiteX1057" fmla="*/ 4201204 w 12084394"/>
                <a:gd name="connsiteY1057" fmla="*/ 489022 h 4077840"/>
                <a:gd name="connsiteX1058" fmla="*/ 4250316 w 12084394"/>
                <a:gd name="connsiteY1058" fmla="*/ 439913 h 4077840"/>
                <a:gd name="connsiteX1059" fmla="*/ 3738287 w 12084394"/>
                <a:gd name="connsiteY1059" fmla="*/ 439913 h 4077840"/>
                <a:gd name="connsiteX1060" fmla="*/ 3787395 w 12084394"/>
                <a:gd name="connsiteY1060" fmla="*/ 489022 h 4077840"/>
                <a:gd name="connsiteX1061" fmla="*/ 3738287 w 12084394"/>
                <a:gd name="connsiteY1061" fmla="*/ 538132 h 4077840"/>
                <a:gd name="connsiteX1062" fmla="*/ 3689172 w 12084394"/>
                <a:gd name="connsiteY1062" fmla="*/ 489022 h 4077840"/>
                <a:gd name="connsiteX1063" fmla="*/ 3738287 w 12084394"/>
                <a:gd name="connsiteY1063" fmla="*/ 439913 h 4077840"/>
                <a:gd name="connsiteX1064" fmla="*/ 3226241 w 12084394"/>
                <a:gd name="connsiteY1064" fmla="*/ 439913 h 4077840"/>
                <a:gd name="connsiteX1065" fmla="*/ 3275356 w 12084394"/>
                <a:gd name="connsiteY1065" fmla="*/ 489022 h 4077840"/>
                <a:gd name="connsiteX1066" fmla="*/ 3226241 w 12084394"/>
                <a:gd name="connsiteY1066" fmla="*/ 538132 h 4077840"/>
                <a:gd name="connsiteX1067" fmla="*/ 3177127 w 12084394"/>
                <a:gd name="connsiteY1067" fmla="*/ 489022 h 4077840"/>
                <a:gd name="connsiteX1068" fmla="*/ 3226241 w 12084394"/>
                <a:gd name="connsiteY1068" fmla="*/ 439913 h 4077840"/>
                <a:gd name="connsiteX1069" fmla="*/ 2714361 w 12084394"/>
                <a:gd name="connsiteY1069" fmla="*/ 439913 h 4077840"/>
                <a:gd name="connsiteX1070" fmla="*/ 2763472 w 12084394"/>
                <a:gd name="connsiteY1070" fmla="*/ 489022 h 4077840"/>
                <a:gd name="connsiteX1071" fmla="*/ 2714361 w 12084394"/>
                <a:gd name="connsiteY1071" fmla="*/ 538132 h 4077840"/>
                <a:gd name="connsiteX1072" fmla="*/ 2665250 w 12084394"/>
                <a:gd name="connsiteY1072" fmla="*/ 489022 h 4077840"/>
                <a:gd name="connsiteX1073" fmla="*/ 2714361 w 12084394"/>
                <a:gd name="connsiteY1073" fmla="*/ 439913 h 4077840"/>
                <a:gd name="connsiteX1074" fmla="*/ 2202305 w 12084394"/>
                <a:gd name="connsiteY1074" fmla="*/ 439913 h 4077840"/>
                <a:gd name="connsiteX1075" fmla="*/ 2251415 w 12084394"/>
                <a:gd name="connsiteY1075" fmla="*/ 489022 h 4077840"/>
                <a:gd name="connsiteX1076" fmla="*/ 2202305 w 12084394"/>
                <a:gd name="connsiteY1076" fmla="*/ 538132 h 4077840"/>
                <a:gd name="connsiteX1077" fmla="*/ 2153195 w 12084394"/>
                <a:gd name="connsiteY1077" fmla="*/ 489022 h 4077840"/>
                <a:gd name="connsiteX1078" fmla="*/ 2202305 w 12084394"/>
                <a:gd name="connsiteY1078" fmla="*/ 439913 h 4077840"/>
                <a:gd name="connsiteX1079" fmla="*/ 1690412 w 12084394"/>
                <a:gd name="connsiteY1079" fmla="*/ 439913 h 4077840"/>
                <a:gd name="connsiteX1080" fmla="*/ 1739522 w 12084394"/>
                <a:gd name="connsiteY1080" fmla="*/ 489022 h 4077840"/>
                <a:gd name="connsiteX1081" fmla="*/ 1690412 w 12084394"/>
                <a:gd name="connsiteY1081" fmla="*/ 538132 h 4077840"/>
                <a:gd name="connsiteX1082" fmla="*/ 1641302 w 12084394"/>
                <a:gd name="connsiteY1082" fmla="*/ 489022 h 4077840"/>
                <a:gd name="connsiteX1083" fmla="*/ 1690412 w 12084394"/>
                <a:gd name="connsiteY1083" fmla="*/ 439913 h 4077840"/>
                <a:gd name="connsiteX1084" fmla="*/ 1178353 w 12084394"/>
                <a:gd name="connsiteY1084" fmla="*/ 439913 h 4077840"/>
                <a:gd name="connsiteX1085" fmla="*/ 1227462 w 12084394"/>
                <a:gd name="connsiteY1085" fmla="*/ 489022 h 4077840"/>
                <a:gd name="connsiteX1086" fmla="*/ 1178353 w 12084394"/>
                <a:gd name="connsiteY1086" fmla="*/ 538132 h 4077840"/>
                <a:gd name="connsiteX1087" fmla="*/ 1129243 w 12084394"/>
                <a:gd name="connsiteY1087" fmla="*/ 489022 h 4077840"/>
                <a:gd name="connsiteX1088" fmla="*/ 1178353 w 12084394"/>
                <a:gd name="connsiteY1088" fmla="*/ 439913 h 4077840"/>
                <a:gd name="connsiteX1089" fmla="*/ 666483 w 12084394"/>
                <a:gd name="connsiteY1089" fmla="*/ 439913 h 4077840"/>
                <a:gd name="connsiteX1090" fmla="*/ 715592 w 12084394"/>
                <a:gd name="connsiteY1090" fmla="*/ 489022 h 4077840"/>
                <a:gd name="connsiteX1091" fmla="*/ 666483 w 12084394"/>
                <a:gd name="connsiteY1091" fmla="*/ 538132 h 4077840"/>
                <a:gd name="connsiteX1092" fmla="*/ 617373 w 12084394"/>
                <a:gd name="connsiteY1092" fmla="*/ 489022 h 4077840"/>
                <a:gd name="connsiteX1093" fmla="*/ 666483 w 12084394"/>
                <a:gd name="connsiteY1093" fmla="*/ 439913 h 4077840"/>
                <a:gd name="connsiteX1094" fmla="*/ 154424 w 12084394"/>
                <a:gd name="connsiteY1094" fmla="*/ 439913 h 4077840"/>
                <a:gd name="connsiteX1095" fmla="*/ 203534 w 12084394"/>
                <a:gd name="connsiteY1095" fmla="*/ 489022 h 4077840"/>
                <a:gd name="connsiteX1096" fmla="*/ 154424 w 12084394"/>
                <a:gd name="connsiteY1096" fmla="*/ 538132 h 4077840"/>
                <a:gd name="connsiteX1097" fmla="*/ 105315 w 12084394"/>
                <a:gd name="connsiteY1097" fmla="*/ 489022 h 4077840"/>
                <a:gd name="connsiteX1098" fmla="*/ 154424 w 12084394"/>
                <a:gd name="connsiteY1098" fmla="*/ 439913 h 4077840"/>
                <a:gd name="connsiteX1099" fmla="*/ 11929966 w 12084394"/>
                <a:gd name="connsiteY1099" fmla="*/ 439912 h 4077840"/>
                <a:gd name="connsiteX1100" fmla="*/ 11979075 w 12084394"/>
                <a:gd name="connsiteY1100" fmla="*/ 489022 h 4077840"/>
                <a:gd name="connsiteX1101" fmla="*/ 11929966 w 12084394"/>
                <a:gd name="connsiteY1101" fmla="*/ 538132 h 4077840"/>
                <a:gd name="connsiteX1102" fmla="*/ 11880856 w 12084394"/>
                <a:gd name="connsiteY1102" fmla="*/ 489022 h 4077840"/>
                <a:gd name="connsiteX1103" fmla="*/ 11929966 w 12084394"/>
                <a:gd name="connsiteY1103" fmla="*/ 439912 h 4077840"/>
                <a:gd name="connsiteX1104" fmla="*/ 11929965 w 12084394"/>
                <a:gd name="connsiteY1104" fmla="*/ 0 h 4077840"/>
                <a:gd name="connsiteX1105" fmla="*/ 11964908 w 12084394"/>
                <a:gd name="connsiteY1105" fmla="*/ 34944 h 4077840"/>
                <a:gd name="connsiteX1106" fmla="*/ 11929965 w 12084394"/>
                <a:gd name="connsiteY1106" fmla="*/ 69887 h 4077840"/>
                <a:gd name="connsiteX1107" fmla="*/ 11895022 w 12084394"/>
                <a:gd name="connsiteY1107" fmla="*/ 34944 h 4077840"/>
                <a:gd name="connsiteX1108" fmla="*/ 11929965 w 12084394"/>
                <a:gd name="connsiteY1108" fmla="*/ 0 h 4077840"/>
                <a:gd name="connsiteX1109" fmla="*/ 11417900 w 12084394"/>
                <a:gd name="connsiteY1109" fmla="*/ 0 h 4077840"/>
                <a:gd name="connsiteX1110" fmla="*/ 11452843 w 12084394"/>
                <a:gd name="connsiteY1110" fmla="*/ 34944 h 4077840"/>
                <a:gd name="connsiteX1111" fmla="*/ 11417900 w 12084394"/>
                <a:gd name="connsiteY1111" fmla="*/ 69887 h 4077840"/>
                <a:gd name="connsiteX1112" fmla="*/ 11382957 w 12084394"/>
                <a:gd name="connsiteY1112" fmla="*/ 34944 h 4077840"/>
                <a:gd name="connsiteX1113" fmla="*/ 11417900 w 12084394"/>
                <a:gd name="connsiteY1113" fmla="*/ 0 h 4077840"/>
                <a:gd name="connsiteX1114" fmla="*/ 10906023 w 12084394"/>
                <a:gd name="connsiteY1114" fmla="*/ 0 h 4077840"/>
                <a:gd name="connsiteX1115" fmla="*/ 10940966 w 12084394"/>
                <a:gd name="connsiteY1115" fmla="*/ 34944 h 4077840"/>
                <a:gd name="connsiteX1116" fmla="*/ 10906023 w 12084394"/>
                <a:gd name="connsiteY1116" fmla="*/ 69887 h 4077840"/>
                <a:gd name="connsiteX1117" fmla="*/ 10871080 w 12084394"/>
                <a:gd name="connsiteY1117" fmla="*/ 34944 h 4077840"/>
                <a:gd name="connsiteX1118" fmla="*/ 10906023 w 12084394"/>
                <a:gd name="connsiteY1118" fmla="*/ 0 h 4077840"/>
                <a:gd name="connsiteX1119" fmla="*/ 10393958 w 12084394"/>
                <a:gd name="connsiteY1119" fmla="*/ 0 h 4077840"/>
                <a:gd name="connsiteX1120" fmla="*/ 10428901 w 12084394"/>
                <a:gd name="connsiteY1120" fmla="*/ 34944 h 4077840"/>
                <a:gd name="connsiteX1121" fmla="*/ 10393958 w 12084394"/>
                <a:gd name="connsiteY1121" fmla="*/ 69887 h 4077840"/>
                <a:gd name="connsiteX1122" fmla="*/ 10359014 w 12084394"/>
                <a:gd name="connsiteY1122" fmla="*/ 34944 h 4077840"/>
                <a:gd name="connsiteX1123" fmla="*/ 10393958 w 12084394"/>
                <a:gd name="connsiteY1123" fmla="*/ 0 h 4077840"/>
                <a:gd name="connsiteX1124" fmla="*/ 9882080 w 12084394"/>
                <a:gd name="connsiteY1124" fmla="*/ 0 h 4077840"/>
                <a:gd name="connsiteX1125" fmla="*/ 9917023 w 12084394"/>
                <a:gd name="connsiteY1125" fmla="*/ 34944 h 4077840"/>
                <a:gd name="connsiteX1126" fmla="*/ 9882080 w 12084394"/>
                <a:gd name="connsiteY1126" fmla="*/ 69887 h 4077840"/>
                <a:gd name="connsiteX1127" fmla="*/ 9847137 w 12084394"/>
                <a:gd name="connsiteY1127" fmla="*/ 34944 h 4077840"/>
                <a:gd name="connsiteX1128" fmla="*/ 9882080 w 12084394"/>
                <a:gd name="connsiteY1128" fmla="*/ 0 h 4077840"/>
                <a:gd name="connsiteX1129" fmla="*/ 9370014 w 12084394"/>
                <a:gd name="connsiteY1129" fmla="*/ 0 h 4077840"/>
                <a:gd name="connsiteX1130" fmla="*/ 9404958 w 12084394"/>
                <a:gd name="connsiteY1130" fmla="*/ 34944 h 4077840"/>
                <a:gd name="connsiteX1131" fmla="*/ 9370014 w 12084394"/>
                <a:gd name="connsiteY1131" fmla="*/ 69887 h 4077840"/>
                <a:gd name="connsiteX1132" fmla="*/ 9335070 w 12084394"/>
                <a:gd name="connsiteY1132" fmla="*/ 34944 h 4077840"/>
                <a:gd name="connsiteX1133" fmla="*/ 9370014 w 12084394"/>
                <a:gd name="connsiteY1133" fmla="*/ 0 h 4077840"/>
                <a:gd name="connsiteX1134" fmla="*/ 8857948 w 12084394"/>
                <a:gd name="connsiteY1134" fmla="*/ 0 h 4077840"/>
                <a:gd name="connsiteX1135" fmla="*/ 8892891 w 12084394"/>
                <a:gd name="connsiteY1135" fmla="*/ 34944 h 4077840"/>
                <a:gd name="connsiteX1136" fmla="*/ 8857948 w 12084394"/>
                <a:gd name="connsiteY1136" fmla="*/ 69887 h 4077840"/>
                <a:gd name="connsiteX1137" fmla="*/ 8823004 w 12084394"/>
                <a:gd name="connsiteY1137" fmla="*/ 34944 h 4077840"/>
                <a:gd name="connsiteX1138" fmla="*/ 8857948 w 12084394"/>
                <a:gd name="connsiteY1138" fmla="*/ 0 h 4077840"/>
                <a:gd name="connsiteX1139" fmla="*/ 8346071 w 12084394"/>
                <a:gd name="connsiteY1139" fmla="*/ 0 h 4077840"/>
                <a:gd name="connsiteX1140" fmla="*/ 8381015 w 12084394"/>
                <a:gd name="connsiteY1140" fmla="*/ 34944 h 4077840"/>
                <a:gd name="connsiteX1141" fmla="*/ 8346071 w 12084394"/>
                <a:gd name="connsiteY1141" fmla="*/ 69887 h 4077840"/>
                <a:gd name="connsiteX1142" fmla="*/ 8311127 w 12084394"/>
                <a:gd name="connsiteY1142" fmla="*/ 34944 h 4077840"/>
                <a:gd name="connsiteX1143" fmla="*/ 8346071 w 12084394"/>
                <a:gd name="connsiteY1143" fmla="*/ 0 h 4077840"/>
                <a:gd name="connsiteX1144" fmla="*/ 7834004 w 12084394"/>
                <a:gd name="connsiteY1144" fmla="*/ 0 h 4077840"/>
                <a:gd name="connsiteX1145" fmla="*/ 7868948 w 12084394"/>
                <a:gd name="connsiteY1145" fmla="*/ 34944 h 4077840"/>
                <a:gd name="connsiteX1146" fmla="*/ 7834004 w 12084394"/>
                <a:gd name="connsiteY1146" fmla="*/ 69887 h 4077840"/>
                <a:gd name="connsiteX1147" fmla="*/ 7799061 w 12084394"/>
                <a:gd name="connsiteY1147" fmla="*/ 34944 h 4077840"/>
                <a:gd name="connsiteX1148" fmla="*/ 7834004 w 12084394"/>
                <a:gd name="connsiteY1148" fmla="*/ 0 h 4077840"/>
                <a:gd name="connsiteX1149" fmla="*/ 7322128 w 12084394"/>
                <a:gd name="connsiteY1149" fmla="*/ 0 h 4077840"/>
                <a:gd name="connsiteX1150" fmla="*/ 7357071 w 12084394"/>
                <a:gd name="connsiteY1150" fmla="*/ 34944 h 4077840"/>
                <a:gd name="connsiteX1151" fmla="*/ 7322128 w 12084394"/>
                <a:gd name="connsiteY1151" fmla="*/ 69887 h 4077840"/>
                <a:gd name="connsiteX1152" fmla="*/ 7287184 w 12084394"/>
                <a:gd name="connsiteY1152" fmla="*/ 34944 h 4077840"/>
                <a:gd name="connsiteX1153" fmla="*/ 7322128 w 12084394"/>
                <a:gd name="connsiteY1153" fmla="*/ 0 h 4077840"/>
                <a:gd name="connsiteX1154" fmla="*/ 6810062 w 12084394"/>
                <a:gd name="connsiteY1154" fmla="*/ 0 h 4077840"/>
                <a:gd name="connsiteX1155" fmla="*/ 6845006 w 12084394"/>
                <a:gd name="connsiteY1155" fmla="*/ 34944 h 4077840"/>
                <a:gd name="connsiteX1156" fmla="*/ 6810062 w 12084394"/>
                <a:gd name="connsiteY1156" fmla="*/ 69887 h 4077840"/>
                <a:gd name="connsiteX1157" fmla="*/ 6775118 w 12084394"/>
                <a:gd name="connsiteY1157" fmla="*/ 34944 h 4077840"/>
                <a:gd name="connsiteX1158" fmla="*/ 6810062 w 12084394"/>
                <a:gd name="connsiteY1158" fmla="*/ 0 h 4077840"/>
                <a:gd name="connsiteX1159" fmla="*/ 6298186 w 12084394"/>
                <a:gd name="connsiteY1159" fmla="*/ 0 h 4077840"/>
                <a:gd name="connsiteX1160" fmla="*/ 6333129 w 12084394"/>
                <a:gd name="connsiteY1160" fmla="*/ 34944 h 4077840"/>
                <a:gd name="connsiteX1161" fmla="*/ 6298186 w 12084394"/>
                <a:gd name="connsiteY1161" fmla="*/ 69887 h 4077840"/>
                <a:gd name="connsiteX1162" fmla="*/ 6263242 w 12084394"/>
                <a:gd name="connsiteY1162" fmla="*/ 34944 h 4077840"/>
                <a:gd name="connsiteX1163" fmla="*/ 6298186 w 12084394"/>
                <a:gd name="connsiteY1163" fmla="*/ 0 h 4077840"/>
                <a:gd name="connsiteX1164" fmla="*/ 5786126 w 12084394"/>
                <a:gd name="connsiteY1164" fmla="*/ 0 h 4077840"/>
                <a:gd name="connsiteX1165" fmla="*/ 5821068 w 12084394"/>
                <a:gd name="connsiteY1165" fmla="*/ 34944 h 4077840"/>
                <a:gd name="connsiteX1166" fmla="*/ 5786126 w 12084394"/>
                <a:gd name="connsiteY1166" fmla="*/ 69887 h 4077840"/>
                <a:gd name="connsiteX1167" fmla="*/ 5751183 w 12084394"/>
                <a:gd name="connsiteY1167" fmla="*/ 34944 h 4077840"/>
                <a:gd name="connsiteX1168" fmla="*/ 5786126 w 12084394"/>
                <a:gd name="connsiteY1168" fmla="*/ 0 h 4077840"/>
                <a:gd name="connsiteX1169" fmla="*/ 5274270 w 12084394"/>
                <a:gd name="connsiteY1169" fmla="*/ 0 h 4077840"/>
                <a:gd name="connsiteX1170" fmla="*/ 5309213 w 12084394"/>
                <a:gd name="connsiteY1170" fmla="*/ 34944 h 4077840"/>
                <a:gd name="connsiteX1171" fmla="*/ 5274270 w 12084394"/>
                <a:gd name="connsiteY1171" fmla="*/ 69887 h 4077840"/>
                <a:gd name="connsiteX1172" fmla="*/ 5239326 w 12084394"/>
                <a:gd name="connsiteY1172" fmla="*/ 34944 h 4077840"/>
                <a:gd name="connsiteX1173" fmla="*/ 5274270 w 12084394"/>
                <a:gd name="connsiteY1173" fmla="*/ 0 h 4077840"/>
                <a:gd name="connsiteX1174" fmla="*/ 4762180 w 12084394"/>
                <a:gd name="connsiteY1174" fmla="*/ 0 h 4077840"/>
                <a:gd name="connsiteX1175" fmla="*/ 4797138 w 12084394"/>
                <a:gd name="connsiteY1175" fmla="*/ 34944 h 4077840"/>
                <a:gd name="connsiteX1176" fmla="*/ 4762180 w 12084394"/>
                <a:gd name="connsiteY1176" fmla="*/ 69887 h 4077840"/>
                <a:gd name="connsiteX1177" fmla="*/ 4727244 w 12084394"/>
                <a:gd name="connsiteY1177" fmla="*/ 34944 h 4077840"/>
                <a:gd name="connsiteX1178" fmla="*/ 4762180 w 12084394"/>
                <a:gd name="connsiteY1178" fmla="*/ 0 h 4077840"/>
                <a:gd name="connsiteX1179" fmla="*/ 4250316 w 12084394"/>
                <a:gd name="connsiteY1179" fmla="*/ 0 h 4077840"/>
                <a:gd name="connsiteX1180" fmla="*/ 4285260 w 12084394"/>
                <a:gd name="connsiteY1180" fmla="*/ 34944 h 4077840"/>
                <a:gd name="connsiteX1181" fmla="*/ 4250316 w 12084394"/>
                <a:gd name="connsiteY1181" fmla="*/ 69887 h 4077840"/>
                <a:gd name="connsiteX1182" fmla="*/ 4215371 w 12084394"/>
                <a:gd name="connsiteY1182" fmla="*/ 34944 h 4077840"/>
                <a:gd name="connsiteX1183" fmla="*/ 4250316 w 12084394"/>
                <a:gd name="connsiteY1183" fmla="*/ 0 h 4077840"/>
                <a:gd name="connsiteX1184" fmla="*/ 3738287 w 12084394"/>
                <a:gd name="connsiteY1184" fmla="*/ 0 h 4077840"/>
                <a:gd name="connsiteX1185" fmla="*/ 3773228 w 12084394"/>
                <a:gd name="connsiteY1185" fmla="*/ 34944 h 4077840"/>
                <a:gd name="connsiteX1186" fmla="*/ 3738287 w 12084394"/>
                <a:gd name="connsiteY1186" fmla="*/ 69887 h 4077840"/>
                <a:gd name="connsiteX1187" fmla="*/ 3703339 w 12084394"/>
                <a:gd name="connsiteY1187" fmla="*/ 34944 h 4077840"/>
                <a:gd name="connsiteX1188" fmla="*/ 3738287 w 12084394"/>
                <a:gd name="connsiteY1188" fmla="*/ 0 h 4077840"/>
                <a:gd name="connsiteX1189" fmla="*/ 3226239 w 12084394"/>
                <a:gd name="connsiteY1189" fmla="*/ 0 h 4077840"/>
                <a:gd name="connsiteX1190" fmla="*/ 3261187 w 12084394"/>
                <a:gd name="connsiteY1190" fmla="*/ 34944 h 4077840"/>
                <a:gd name="connsiteX1191" fmla="*/ 3226239 w 12084394"/>
                <a:gd name="connsiteY1191" fmla="*/ 69887 h 4077840"/>
                <a:gd name="connsiteX1192" fmla="*/ 3191293 w 12084394"/>
                <a:gd name="connsiteY1192" fmla="*/ 34944 h 4077840"/>
                <a:gd name="connsiteX1193" fmla="*/ 3226239 w 12084394"/>
                <a:gd name="connsiteY1193" fmla="*/ 0 h 4077840"/>
                <a:gd name="connsiteX1194" fmla="*/ 2714361 w 12084394"/>
                <a:gd name="connsiteY1194" fmla="*/ 0 h 4077840"/>
                <a:gd name="connsiteX1195" fmla="*/ 2749305 w 12084394"/>
                <a:gd name="connsiteY1195" fmla="*/ 34944 h 4077840"/>
                <a:gd name="connsiteX1196" fmla="*/ 2714361 w 12084394"/>
                <a:gd name="connsiteY1196" fmla="*/ 69887 h 4077840"/>
                <a:gd name="connsiteX1197" fmla="*/ 2679418 w 12084394"/>
                <a:gd name="connsiteY1197" fmla="*/ 34944 h 4077840"/>
                <a:gd name="connsiteX1198" fmla="*/ 2714361 w 12084394"/>
                <a:gd name="connsiteY1198" fmla="*/ 0 h 4077840"/>
                <a:gd name="connsiteX1199" fmla="*/ 2202305 w 12084394"/>
                <a:gd name="connsiteY1199" fmla="*/ 0 h 4077840"/>
                <a:gd name="connsiteX1200" fmla="*/ 2237248 w 12084394"/>
                <a:gd name="connsiteY1200" fmla="*/ 34944 h 4077840"/>
                <a:gd name="connsiteX1201" fmla="*/ 2202305 w 12084394"/>
                <a:gd name="connsiteY1201" fmla="*/ 69887 h 4077840"/>
                <a:gd name="connsiteX1202" fmla="*/ 2167360 w 12084394"/>
                <a:gd name="connsiteY1202" fmla="*/ 34944 h 4077840"/>
                <a:gd name="connsiteX1203" fmla="*/ 2202305 w 12084394"/>
                <a:gd name="connsiteY1203" fmla="*/ 0 h 4077840"/>
                <a:gd name="connsiteX1204" fmla="*/ 1690412 w 12084394"/>
                <a:gd name="connsiteY1204" fmla="*/ 0 h 4077840"/>
                <a:gd name="connsiteX1205" fmla="*/ 1725355 w 12084394"/>
                <a:gd name="connsiteY1205" fmla="*/ 34944 h 4077840"/>
                <a:gd name="connsiteX1206" fmla="*/ 1690412 w 12084394"/>
                <a:gd name="connsiteY1206" fmla="*/ 69887 h 4077840"/>
                <a:gd name="connsiteX1207" fmla="*/ 1655468 w 12084394"/>
                <a:gd name="connsiteY1207" fmla="*/ 34944 h 4077840"/>
                <a:gd name="connsiteX1208" fmla="*/ 1690412 w 12084394"/>
                <a:gd name="connsiteY1208" fmla="*/ 0 h 4077840"/>
                <a:gd name="connsiteX1209" fmla="*/ 1178353 w 12084394"/>
                <a:gd name="connsiteY1209" fmla="*/ 0 h 4077840"/>
                <a:gd name="connsiteX1210" fmla="*/ 1213295 w 12084394"/>
                <a:gd name="connsiteY1210" fmla="*/ 34944 h 4077840"/>
                <a:gd name="connsiteX1211" fmla="*/ 1178353 w 12084394"/>
                <a:gd name="connsiteY1211" fmla="*/ 69887 h 4077840"/>
                <a:gd name="connsiteX1212" fmla="*/ 1143409 w 12084394"/>
                <a:gd name="connsiteY1212" fmla="*/ 34944 h 4077840"/>
                <a:gd name="connsiteX1213" fmla="*/ 1178353 w 12084394"/>
                <a:gd name="connsiteY1213" fmla="*/ 0 h 4077840"/>
                <a:gd name="connsiteX1214" fmla="*/ 666483 w 12084394"/>
                <a:gd name="connsiteY1214" fmla="*/ 0 h 4077840"/>
                <a:gd name="connsiteX1215" fmla="*/ 701425 w 12084394"/>
                <a:gd name="connsiteY1215" fmla="*/ 34944 h 4077840"/>
                <a:gd name="connsiteX1216" fmla="*/ 666483 w 12084394"/>
                <a:gd name="connsiteY1216" fmla="*/ 69887 h 4077840"/>
                <a:gd name="connsiteX1217" fmla="*/ 631539 w 12084394"/>
                <a:gd name="connsiteY1217" fmla="*/ 34944 h 4077840"/>
                <a:gd name="connsiteX1218" fmla="*/ 666483 w 12084394"/>
                <a:gd name="connsiteY1218" fmla="*/ 0 h 4077840"/>
                <a:gd name="connsiteX1219" fmla="*/ 154424 w 12084394"/>
                <a:gd name="connsiteY1219" fmla="*/ 0 h 4077840"/>
                <a:gd name="connsiteX1220" fmla="*/ 189367 w 12084394"/>
                <a:gd name="connsiteY1220" fmla="*/ 34944 h 4077840"/>
                <a:gd name="connsiteX1221" fmla="*/ 154424 w 12084394"/>
                <a:gd name="connsiteY1221" fmla="*/ 69887 h 4077840"/>
                <a:gd name="connsiteX1222" fmla="*/ 119480 w 12084394"/>
                <a:gd name="connsiteY1222" fmla="*/ 34944 h 4077840"/>
                <a:gd name="connsiteX1223" fmla="*/ 154424 w 12084394"/>
                <a:gd name="connsiteY1223" fmla="*/ 0 h 4077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</a:cxnLst>
              <a:rect l="l" t="t" r="r" b="b"/>
              <a:pathLst>
                <a:path w="12084394" h="4077840">
                  <a:moveTo>
                    <a:pt x="11929965" y="3958074"/>
                  </a:moveTo>
                  <a:cubicBezTo>
                    <a:pt x="11997563" y="3958074"/>
                    <a:pt x="12055562" y="3999174"/>
                    <a:pt x="12080337" y="4057748"/>
                  </a:cubicBezTo>
                  <a:lnTo>
                    <a:pt x="12084394" y="4077840"/>
                  </a:lnTo>
                  <a:lnTo>
                    <a:pt x="11775537" y="4077840"/>
                  </a:lnTo>
                  <a:lnTo>
                    <a:pt x="11779594" y="4057748"/>
                  </a:lnTo>
                  <a:cubicBezTo>
                    <a:pt x="11804369" y="3999174"/>
                    <a:pt x="11862367" y="3958074"/>
                    <a:pt x="11929965" y="3958074"/>
                  </a:cubicBezTo>
                  <a:close/>
                  <a:moveTo>
                    <a:pt x="11417899" y="3958074"/>
                  </a:moveTo>
                  <a:cubicBezTo>
                    <a:pt x="11485497" y="3958074"/>
                    <a:pt x="11543496" y="3999174"/>
                    <a:pt x="11568271" y="4057748"/>
                  </a:cubicBezTo>
                  <a:lnTo>
                    <a:pt x="11572328" y="4077840"/>
                  </a:lnTo>
                  <a:lnTo>
                    <a:pt x="11263471" y="4077840"/>
                  </a:lnTo>
                  <a:lnTo>
                    <a:pt x="11267528" y="4057748"/>
                  </a:lnTo>
                  <a:cubicBezTo>
                    <a:pt x="11292303" y="3999174"/>
                    <a:pt x="11350302" y="3958074"/>
                    <a:pt x="11417899" y="3958074"/>
                  </a:cubicBezTo>
                  <a:close/>
                  <a:moveTo>
                    <a:pt x="10906022" y="3958074"/>
                  </a:moveTo>
                  <a:cubicBezTo>
                    <a:pt x="10973620" y="3958074"/>
                    <a:pt x="11031619" y="3999174"/>
                    <a:pt x="11056393" y="4057748"/>
                  </a:cubicBezTo>
                  <a:lnTo>
                    <a:pt x="11060450" y="4077840"/>
                  </a:lnTo>
                  <a:lnTo>
                    <a:pt x="10751593" y="4077840"/>
                  </a:lnTo>
                  <a:lnTo>
                    <a:pt x="10755650" y="4057748"/>
                  </a:lnTo>
                  <a:cubicBezTo>
                    <a:pt x="10780425" y="3999174"/>
                    <a:pt x="10838424" y="3958074"/>
                    <a:pt x="10906022" y="3958074"/>
                  </a:cubicBezTo>
                  <a:close/>
                  <a:moveTo>
                    <a:pt x="10393956" y="3958074"/>
                  </a:moveTo>
                  <a:cubicBezTo>
                    <a:pt x="10461554" y="3958074"/>
                    <a:pt x="10519553" y="3999174"/>
                    <a:pt x="10544328" y="4057748"/>
                  </a:cubicBezTo>
                  <a:lnTo>
                    <a:pt x="10548385" y="4077840"/>
                  </a:lnTo>
                  <a:lnTo>
                    <a:pt x="10239527" y="4077840"/>
                  </a:lnTo>
                  <a:lnTo>
                    <a:pt x="10243584" y="4057748"/>
                  </a:lnTo>
                  <a:cubicBezTo>
                    <a:pt x="10268359" y="3999174"/>
                    <a:pt x="10326358" y="3958074"/>
                    <a:pt x="10393956" y="3958074"/>
                  </a:cubicBezTo>
                  <a:close/>
                  <a:moveTo>
                    <a:pt x="9882079" y="3958074"/>
                  </a:moveTo>
                  <a:cubicBezTo>
                    <a:pt x="9949677" y="3958074"/>
                    <a:pt x="10007676" y="3999174"/>
                    <a:pt x="10032451" y="4057748"/>
                  </a:cubicBezTo>
                  <a:lnTo>
                    <a:pt x="10036508" y="4077840"/>
                  </a:lnTo>
                  <a:lnTo>
                    <a:pt x="9727651" y="4077840"/>
                  </a:lnTo>
                  <a:lnTo>
                    <a:pt x="9731708" y="4057748"/>
                  </a:lnTo>
                  <a:cubicBezTo>
                    <a:pt x="9756482" y="3999174"/>
                    <a:pt x="9814482" y="3958074"/>
                    <a:pt x="9882079" y="3958074"/>
                  </a:cubicBezTo>
                  <a:close/>
                  <a:moveTo>
                    <a:pt x="9370013" y="3958074"/>
                  </a:moveTo>
                  <a:cubicBezTo>
                    <a:pt x="9437610" y="3958074"/>
                    <a:pt x="9495610" y="3999174"/>
                    <a:pt x="9520384" y="4057748"/>
                  </a:cubicBezTo>
                  <a:lnTo>
                    <a:pt x="9524441" y="4077840"/>
                  </a:lnTo>
                  <a:lnTo>
                    <a:pt x="9215584" y="4077840"/>
                  </a:lnTo>
                  <a:lnTo>
                    <a:pt x="9219641" y="4057748"/>
                  </a:lnTo>
                  <a:cubicBezTo>
                    <a:pt x="9244415" y="3999174"/>
                    <a:pt x="9302414" y="3958074"/>
                    <a:pt x="9370013" y="3958074"/>
                  </a:cubicBezTo>
                  <a:close/>
                  <a:moveTo>
                    <a:pt x="8858136" y="3958074"/>
                  </a:moveTo>
                  <a:cubicBezTo>
                    <a:pt x="8925734" y="3958074"/>
                    <a:pt x="8983733" y="3999174"/>
                    <a:pt x="9008508" y="4057748"/>
                  </a:cubicBezTo>
                  <a:lnTo>
                    <a:pt x="9012565" y="4077840"/>
                  </a:lnTo>
                  <a:lnTo>
                    <a:pt x="8703708" y="4077840"/>
                  </a:lnTo>
                  <a:lnTo>
                    <a:pt x="8707765" y="4057748"/>
                  </a:lnTo>
                  <a:cubicBezTo>
                    <a:pt x="8732539" y="3999174"/>
                    <a:pt x="8790538" y="3958074"/>
                    <a:pt x="8858136" y="3958074"/>
                  </a:cubicBezTo>
                  <a:close/>
                  <a:moveTo>
                    <a:pt x="8346070" y="3958074"/>
                  </a:moveTo>
                  <a:cubicBezTo>
                    <a:pt x="8413668" y="3958074"/>
                    <a:pt x="8471666" y="3999174"/>
                    <a:pt x="8496441" y="4057748"/>
                  </a:cubicBezTo>
                  <a:lnTo>
                    <a:pt x="8500498" y="4077840"/>
                  </a:lnTo>
                  <a:lnTo>
                    <a:pt x="8191642" y="4077840"/>
                  </a:lnTo>
                  <a:lnTo>
                    <a:pt x="8195698" y="4057748"/>
                  </a:lnTo>
                  <a:cubicBezTo>
                    <a:pt x="8220473" y="3999174"/>
                    <a:pt x="8278472" y="3958074"/>
                    <a:pt x="8346070" y="3958074"/>
                  </a:cubicBezTo>
                  <a:close/>
                  <a:moveTo>
                    <a:pt x="7834193" y="3958074"/>
                  </a:moveTo>
                  <a:cubicBezTo>
                    <a:pt x="7901792" y="3958074"/>
                    <a:pt x="7959791" y="3999174"/>
                    <a:pt x="7984565" y="4057748"/>
                  </a:cubicBezTo>
                  <a:lnTo>
                    <a:pt x="7988622" y="4077840"/>
                  </a:lnTo>
                  <a:lnTo>
                    <a:pt x="7679765" y="4077840"/>
                  </a:lnTo>
                  <a:lnTo>
                    <a:pt x="7683822" y="4057748"/>
                  </a:lnTo>
                  <a:cubicBezTo>
                    <a:pt x="7708596" y="3999174"/>
                    <a:pt x="7766595" y="3958074"/>
                    <a:pt x="7834193" y="3958074"/>
                  </a:cubicBezTo>
                  <a:close/>
                  <a:moveTo>
                    <a:pt x="7322127" y="3958074"/>
                  </a:moveTo>
                  <a:cubicBezTo>
                    <a:pt x="7389725" y="3958074"/>
                    <a:pt x="7447724" y="3999174"/>
                    <a:pt x="7472498" y="4057748"/>
                  </a:cubicBezTo>
                  <a:lnTo>
                    <a:pt x="7476555" y="4077840"/>
                  </a:lnTo>
                  <a:lnTo>
                    <a:pt x="7167699" y="4077840"/>
                  </a:lnTo>
                  <a:lnTo>
                    <a:pt x="7171755" y="4057748"/>
                  </a:lnTo>
                  <a:cubicBezTo>
                    <a:pt x="7196530" y="3999174"/>
                    <a:pt x="7254529" y="3958074"/>
                    <a:pt x="7322127" y="3958074"/>
                  </a:cubicBezTo>
                  <a:close/>
                  <a:moveTo>
                    <a:pt x="6810062" y="3958074"/>
                  </a:moveTo>
                  <a:cubicBezTo>
                    <a:pt x="6877661" y="3958074"/>
                    <a:pt x="6935660" y="3999174"/>
                    <a:pt x="6960434" y="4057748"/>
                  </a:cubicBezTo>
                  <a:lnTo>
                    <a:pt x="6964491" y="4077840"/>
                  </a:lnTo>
                  <a:lnTo>
                    <a:pt x="6655635" y="4077840"/>
                  </a:lnTo>
                  <a:lnTo>
                    <a:pt x="6659691" y="4057748"/>
                  </a:lnTo>
                  <a:cubicBezTo>
                    <a:pt x="6684466" y="3999174"/>
                    <a:pt x="6742464" y="3958074"/>
                    <a:pt x="6810062" y="3958074"/>
                  </a:cubicBezTo>
                  <a:close/>
                  <a:moveTo>
                    <a:pt x="6298184" y="3958074"/>
                  </a:moveTo>
                  <a:cubicBezTo>
                    <a:pt x="6365783" y="3958074"/>
                    <a:pt x="6423782" y="3999174"/>
                    <a:pt x="6448557" y="4057748"/>
                  </a:cubicBezTo>
                  <a:lnTo>
                    <a:pt x="6452613" y="4077840"/>
                  </a:lnTo>
                  <a:lnTo>
                    <a:pt x="6143757" y="4077840"/>
                  </a:lnTo>
                  <a:lnTo>
                    <a:pt x="6147813" y="4057748"/>
                  </a:lnTo>
                  <a:cubicBezTo>
                    <a:pt x="6172588" y="3999174"/>
                    <a:pt x="6230586" y="3958074"/>
                    <a:pt x="6298184" y="3958074"/>
                  </a:cubicBezTo>
                  <a:close/>
                  <a:moveTo>
                    <a:pt x="5786126" y="3958074"/>
                  </a:moveTo>
                  <a:cubicBezTo>
                    <a:pt x="5853721" y="3958074"/>
                    <a:pt x="5911718" y="3999174"/>
                    <a:pt x="5936491" y="4057748"/>
                  </a:cubicBezTo>
                  <a:lnTo>
                    <a:pt x="5940548" y="4077840"/>
                  </a:lnTo>
                  <a:lnTo>
                    <a:pt x="5631705" y="4077840"/>
                  </a:lnTo>
                  <a:lnTo>
                    <a:pt x="5635761" y="4057748"/>
                  </a:lnTo>
                  <a:cubicBezTo>
                    <a:pt x="5660535" y="3999174"/>
                    <a:pt x="5718532" y="3958074"/>
                    <a:pt x="5786126" y="3958074"/>
                  </a:cubicBezTo>
                  <a:close/>
                  <a:moveTo>
                    <a:pt x="5274270" y="3958074"/>
                  </a:moveTo>
                  <a:cubicBezTo>
                    <a:pt x="5341866" y="3958074"/>
                    <a:pt x="5399863" y="3999174"/>
                    <a:pt x="5424637" y="4057748"/>
                  </a:cubicBezTo>
                  <a:lnTo>
                    <a:pt x="5428693" y="4077840"/>
                  </a:lnTo>
                  <a:lnTo>
                    <a:pt x="5119842" y="4077840"/>
                  </a:lnTo>
                  <a:lnTo>
                    <a:pt x="5123898" y="4057748"/>
                  </a:lnTo>
                  <a:cubicBezTo>
                    <a:pt x="5148673" y="3999174"/>
                    <a:pt x="5206672" y="3958074"/>
                    <a:pt x="5274270" y="3958074"/>
                  </a:cubicBezTo>
                  <a:close/>
                  <a:moveTo>
                    <a:pt x="4762180" y="3958074"/>
                  </a:moveTo>
                  <a:cubicBezTo>
                    <a:pt x="4829804" y="3958074"/>
                    <a:pt x="4887811" y="3999174"/>
                    <a:pt x="4912588" y="4057748"/>
                  </a:cubicBezTo>
                  <a:lnTo>
                    <a:pt x="4916645" y="4077840"/>
                  </a:lnTo>
                  <a:lnTo>
                    <a:pt x="4607771" y="4077840"/>
                  </a:lnTo>
                  <a:lnTo>
                    <a:pt x="4611827" y="4057748"/>
                  </a:lnTo>
                  <a:cubicBezTo>
                    <a:pt x="4636599" y="3999174"/>
                    <a:pt x="4694593" y="3958074"/>
                    <a:pt x="4762180" y="3958074"/>
                  </a:cubicBezTo>
                  <a:close/>
                  <a:moveTo>
                    <a:pt x="4250316" y="3958074"/>
                  </a:moveTo>
                  <a:cubicBezTo>
                    <a:pt x="4317919" y="3958074"/>
                    <a:pt x="4375920" y="3999174"/>
                    <a:pt x="4400696" y="4057748"/>
                  </a:cubicBezTo>
                  <a:lnTo>
                    <a:pt x="4404753" y="4077840"/>
                  </a:lnTo>
                  <a:lnTo>
                    <a:pt x="4095930" y="4077840"/>
                  </a:lnTo>
                  <a:lnTo>
                    <a:pt x="4099984" y="4057748"/>
                  </a:lnTo>
                  <a:cubicBezTo>
                    <a:pt x="4124744" y="3999174"/>
                    <a:pt x="4182715" y="3958074"/>
                    <a:pt x="4250316" y="3958074"/>
                  </a:cubicBezTo>
                  <a:close/>
                  <a:moveTo>
                    <a:pt x="3738289" y="3958074"/>
                  </a:moveTo>
                  <a:cubicBezTo>
                    <a:pt x="3805888" y="3958074"/>
                    <a:pt x="3863888" y="3999174"/>
                    <a:pt x="3888663" y="4057748"/>
                  </a:cubicBezTo>
                  <a:lnTo>
                    <a:pt x="3892720" y="4077840"/>
                  </a:lnTo>
                  <a:lnTo>
                    <a:pt x="3583860" y="4077840"/>
                  </a:lnTo>
                  <a:lnTo>
                    <a:pt x="3587916" y="4057748"/>
                  </a:lnTo>
                  <a:cubicBezTo>
                    <a:pt x="3612688" y="3999174"/>
                    <a:pt x="3670683" y="3958074"/>
                    <a:pt x="3738289" y="3958074"/>
                  </a:cubicBezTo>
                  <a:close/>
                  <a:moveTo>
                    <a:pt x="3226242" y="3958074"/>
                  </a:moveTo>
                  <a:cubicBezTo>
                    <a:pt x="3293846" y="3958074"/>
                    <a:pt x="3351848" y="3999174"/>
                    <a:pt x="3376624" y="4057748"/>
                  </a:cubicBezTo>
                  <a:lnTo>
                    <a:pt x="3380681" y="4077840"/>
                  </a:lnTo>
                  <a:lnTo>
                    <a:pt x="3071812" y="4077840"/>
                  </a:lnTo>
                  <a:lnTo>
                    <a:pt x="3075868" y="4057748"/>
                  </a:lnTo>
                  <a:cubicBezTo>
                    <a:pt x="3100643" y="3999174"/>
                    <a:pt x="3158643" y="3958074"/>
                    <a:pt x="3226242" y="3958074"/>
                  </a:cubicBezTo>
                  <a:close/>
                  <a:moveTo>
                    <a:pt x="2714363" y="3958074"/>
                  </a:moveTo>
                  <a:cubicBezTo>
                    <a:pt x="2781962" y="3958074"/>
                    <a:pt x="2839961" y="3999174"/>
                    <a:pt x="2864736" y="4057748"/>
                  </a:cubicBezTo>
                  <a:lnTo>
                    <a:pt x="2868792" y="4077840"/>
                  </a:lnTo>
                  <a:lnTo>
                    <a:pt x="2559936" y="4077840"/>
                  </a:lnTo>
                  <a:lnTo>
                    <a:pt x="2563993" y="4057748"/>
                  </a:lnTo>
                  <a:cubicBezTo>
                    <a:pt x="2588767" y="3999174"/>
                    <a:pt x="2646765" y="3958074"/>
                    <a:pt x="2714363" y="3958074"/>
                  </a:cubicBezTo>
                  <a:close/>
                  <a:moveTo>
                    <a:pt x="2202307" y="3958074"/>
                  </a:moveTo>
                  <a:cubicBezTo>
                    <a:pt x="2269904" y="3958074"/>
                    <a:pt x="2327902" y="3999174"/>
                    <a:pt x="2352676" y="4057748"/>
                  </a:cubicBezTo>
                  <a:lnTo>
                    <a:pt x="2356732" y="4077840"/>
                  </a:lnTo>
                  <a:lnTo>
                    <a:pt x="2047866" y="4077840"/>
                  </a:lnTo>
                  <a:lnTo>
                    <a:pt x="2051924" y="4057748"/>
                  </a:lnTo>
                  <a:cubicBezTo>
                    <a:pt x="2076703" y="3999174"/>
                    <a:pt x="2134711" y="3958074"/>
                    <a:pt x="2202307" y="3958074"/>
                  </a:cubicBezTo>
                  <a:close/>
                  <a:moveTo>
                    <a:pt x="1690413" y="3958074"/>
                  </a:moveTo>
                  <a:cubicBezTo>
                    <a:pt x="1758012" y="3958074"/>
                    <a:pt x="1816010" y="3999174"/>
                    <a:pt x="1840785" y="4057748"/>
                  </a:cubicBezTo>
                  <a:lnTo>
                    <a:pt x="1844841" y="4077840"/>
                  </a:lnTo>
                  <a:lnTo>
                    <a:pt x="1535987" y="4077840"/>
                  </a:lnTo>
                  <a:lnTo>
                    <a:pt x="1540043" y="4057748"/>
                  </a:lnTo>
                  <a:cubicBezTo>
                    <a:pt x="1564818" y="3999174"/>
                    <a:pt x="1622817" y="3958074"/>
                    <a:pt x="1690413" y="3958074"/>
                  </a:cubicBezTo>
                  <a:close/>
                  <a:moveTo>
                    <a:pt x="1178354" y="3958074"/>
                  </a:moveTo>
                  <a:cubicBezTo>
                    <a:pt x="1245952" y="3958074"/>
                    <a:pt x="1303950" y="3999174"/>
                    <a:pt x="1328724" y="4057748"/>
                  </a:cubicBezTo>
                  <a:lnTo>
                    <a:pt x="1332781" y="4077840"/>
                  </a:lnTo>
                  <a:lnTo>
                    <a:pt x="1023928" y="4077840"/>
                  </a:lnTo>
                  <a:lnTo>
                    <a:pt x="1027984" y="4057748"/>
                  </a:lnTo>
                  <a:cubicBezTo>
                    <a:pt x="1052759" y="3999174"/>
                    <a:pt x="1110758" y="3958074"/>
                    <a:pt x="1178354" y="3958074"/>
                  </a:cubicBezTo>
                  <a:close/>
                  <a:moveTo>
                    <a:pt x="666484" y="3958074"/>
                  </a:moveTo>
                  <a:cubicBezTo>
                    <a:pt x="734082" y="3958074"/>
                    <a:pt x="792080" y="3999174"/>
                    <a:pt x="816855" y="4057748"/>
                  </a:cubicBezTo>
                  <a:lnTo>
                    <a:pt x="820911" y="4077840"/>
                  </a:lnTo>
                  <a:lnTo>
                    <a:pt x="512057" y="4077840"/>
                  </a:lnTo>
                  <a:lnTo>
                    <a:pt x="516114" y="4057748"/>
                  </a:lnTo>
                  <a:cubicBezTo>
                    <a:pt x="540888" y="3999174"/>
                    <a:pt x="598887" y="3958074"/>
                    <a:pt x="666484" y="3958074"/>
                  </a:cubicBezTo>
                  <a:close/>
                  <a:moveTo>
                    <a:pt x="154426" y="3958074"/>
                  </a:moveTo>
                  <a:cubicBezTo>
                    <a:pt x="222024" y="3958074"/>
                    <a:pt x="280023" y="3999174"/>
                    <a:pt x="304797" y="4057748"/>
                  </a:cubicBezTo>
                  <a:lnTo>
                    <a:pt x="308853" y="4077840"/>
                  </a:lnTo>
                  <a:lnTo>
                    <a:pt x="0" y="4077840"/>
                  </a:lnTo>
                  <a:lnTo>
                    <a:pt x="4057" y="4057748"/>
                  </a:lnTo>
                  <a:cubicBezTo>
                    <a:pt x="28831" y="3999174"/>
                    <a:pt x="86829" y="3958074"/>
                    <a:pt x="154426" y="3958074"/>
                  </a:cubicBezTo>
                  <a:close/>
                  <a:moveTo>
                    <a:pt x="11929966" y="3518352"/>
                  </a:moveTo>
                  <a:cubicBezTo>
                    <a:pt x="12012273" y="3518352"/>
                    <a:pt x="12078996" y="3585074"/>
                    <a:pt x="12078996" y="3667382"/>
                  </a:cubicBezTo>
                  <a:cubicBezTo>
                    <a:pt x="12078996" y="3749688"/>
                    <a:pt x="12012273" y="3816412"/>
                    <a:pt x="11929966" y="3816412"/>
                  </a:cubicBezTo>
                  <a:cubicBezTo>
                    <a:pt x="11847659" y="3816412"/>
                    <a:pt x="11780936" y="3749689"/>
                    <a:pt x="11780936" y="3667382"/>
                  </a:cubicBezTo>
                  <a:cubicBezTo>
                    <a:pt x="11780936" y="3585075"/>
                    <a:pt x="11847659" y="3518352"/>
                    <a:pt x="11929966" y="3518352"/>
                  </a:cubicBezTo>
                  <a:close/>
                  <a:moveTo>
                    <a:pt x="11417900" y="3518352"/>
                  </a:moveTo>
                  <a:cubicBezTo>
                    <a:pt x="11500207" y="3518352"/>
                    <a:pt x="11566930" y="3585074"/>
                    <a:pt x="11566930" y="3667382"/>
                  </a:cubicBezTo>
                  <a:cubicBezTo>
                    <a:pt x="11566930" y="3749688"/>
                    <a:pt x="11500207" y="3816412"/>
                    <a:pt x="11417900" y="3816412"/>
                  </a:cubicBezTo>
                  <a:cubicBezTo>
                    <a:pt x="11335593" y="3816412"/>
                    <a:pt x="11268870" y="3749689"/>
                    <a:pt x="11268870" y="3667382"/>
                  </a:cubicBezTo>
                  <a:cubicBezTo>
                    <a:pt x="11268870" y="3585075"/>
                    <a:pt x="11335593" y="3518352"/>
                    <a:pt x="11417900" y="3518352"/>
                  </a:cubicBezTo>
                  <a:close/>
                  <a:moveTo>
                    <a:pt x="10906022" y="3518352"/>
                  </a:moveTo>
                  <a:cubicBezTo>
                    <a:pt x="10988330" y="3518352"/>
                    <a:pt x="11055053" y="3585074"/>
                    <a:pt x="11055053" y="3667382"/>
                  </a:cubicBezTo>
                  <a:cubicBezTo>
                    <a:pt x="11055053" y="3749688"/>
                    <a:pt x="10988330" y="3816412"/>
                    <a:pt x="10906022" y="3816412"/>
                  </a:cubicBezTo>
                  <a:cubicBezTo>
                    <a:pt x="10823715" y="3816412"/>
                    <a:pt x="10756992" y="3749689"/>
                    <a:pt x="10756992" y="3667382"/>
                  </a:cubicBezTo>
                  <a:cubicBezTo>
                    <a:pt x="10756992" y="3585075"/>
                    <a:pt x="10823715" y="3518352"/>
                    <a:pt x="10906022" y="3518352"/>
                  </a:cubicBezTo>
                  <a:close/>
                  <a:moveTo>
                    <a:pt x="10393957" y="3518352"/>
                  </a:moveTo>
                  <a:cubicBezTo>
                    <a:pt x="10476264" y="3518352"/>
                    <a:pt x="10542987" y="3585074"/>
                    <a:pt x="10542987" y="3667382"/>
                  </a:cubicBezTo>
                  <a:cubicBezTo>
                    <a:pt x="10542987" y="3749688"/>
                    <a:pt x="10476264" y="3816412"/>
                    <a:pt x="10393957" y="3816412"/>
                  </a:cubicBezTo>
                  <a:cubicBezTo>
                    <a:pt x="10311649" y="3816412"/>
                    <a:pt x="10244926" y="3749689"/>
                    <a:pt x="10244926" y="3667382"/>
                  </a:cubicBezTo>
                  <a:cubicBezTo>
                    <a:pt x="10244926" y="3585075"/>
                    <a:pt x="10311649" y="3518352"/>
                    <a:pt x="10393957" y="3518352"/>
                  </a:cubicBezTo>
                  <a:close/>
                  <a:moveTo>
                    <a:pt x="9882080" y="3518352"/>
                  </a:moveTo>
                  <a:cubicBezTo>
                    <a:pt x="9964387" y="3518352"/>
                    <a:pt x="10031110" y="3585074"/>
                    <a:pt x="10031110" y="3667382"/>
                  </a:cubicBezTo>
                  <a:cubicBezTo>
                    <a:pt x="10031110" y="3749688"/>
                    <a:pt x="9964387" y="3816412"/>
                    <a:pt x="9882080" y="3816412"/>
                  </a:cubicBezTo>
                  <a:cubicBezTo>
                    <a:pt x="9799773" y="3816412"/>
                    <a:pt x="9733050" y="3749689"/>
                    <a:pt x="9733050" y="3667382"/>
                  </a:cubicBezTo>
                  <a:cubicBezTo>
                    <a:pt x="9733050" y="3585075"/>
                    <a:pt x="9799773" y="3518352"/>
                    <a:pt x="9882080" y="3518352"/>
                  </a:cubicBezTo>
                  <a:close/>
                  <a:moveTo>
                    <a:pt x="9370013" y="3518352"/>
                  </a:moveTo>
                  <a:cubicBezTo>
                    <a:pt x="9452320" y="3518352"/>
                    <a:pt x="9519043" y="3585074"/>
                    <a:pt x="9519043" y="3667382"/>
                  </a:cubicBezTo>
                  <a:cubicBezTo>
                    <a:pt x="9519043" y="3749688"/>
                    <a:pt x="9452321" y="3816412"/>
                    <a:pt x="9370013" y="3816412"/>
                  </a:cubicBezTo>
                  <a:cubicBezTo>
                    <a:pt x="9287707" y="3816412"/>
                    <a:pt x="9220983" y="3749689"/>
                    <a:pt x="9220983" y="3667382"/>
                  </a:cubicBezTo>
                  <a:cubicBezTo>
                    <a:pt x="9220983" y="3585075"/>
                    <a:pt x="9287706" y="3518352"/>
                    <a:pt x="9370013" y="3518352"/>
                  </a:cubicBezTo>
                  <a:close/>
                  <a:moveTo>
                    <a:pt x="8858137" y="3518352"/>
                  </a:moveTo>
                  <a:cubicBezTo>
                    <a:pt x="8940443" y="3518352"/>
                    <a:pt x="9007167" y="3585074"/>
                    <a:pt x="9007167" y="3667382"/>
                  </a:cubicBezTo>
                  <a:cubicBezTo>
                    <a:pt x="9007167" y="3749688"/>
                    <a:pt x="8940444" y="3816412"/>
                    <a:pt x="8858137" y="3816412"/>
                  </a:cubicBezTo>
                  <a:cubicBezTo>
                    <a:pt x="8775830" y="3816412"/>
                    <a:pt x="8709107" y="3749689"/>
                    <a:pt x="8709107" y="3667382"/>
                  </a:cubicBezTo>
                  <a:cubicBezTo>
                    <a:pt x="8709107" y="3585075"/>
                    <a:pt x="8775829" y="3518352"/>
                    <a:pt x="8858137" y="3518352"/>
                  </a:cubicBezTo>
                  <a:close/>
                  <a:moveTo>
                    <a:pt x="8346070" y="3518352"/>
                  </a:moveTo>
                  <a:cubicBezTo>
                    <a:pt x="8428377" y="3518352"/>
                    <a:pt x="8495101" y="3585074"/>
                    <a:pt x="8495101" y="3667382"/>
                  </a:cubicBezTo>
                  <a:cubicBezTo>
                    <a:pt x="8495101" y="3749688"/>
                    <a:pt x="8428378" y="3816412"/>
                    <a:pt x="8346070" y="3816412"/>
                  </a:cubicBezTo>
                  <a:cubicBezTo>
                    <a:pt x="8263764" y="3816412"/>
                    <a:pt x="8197040" y="3749689"/>
                    <a:pt x="8197040" y="3667382"/>
                  </a:cubicBezTo>
                  <a:cubicBezTo>
                    <a:pt x="8197040" y="3585075"/>
                    <a:pt x="8263763" y="3518352"/>
                    <a:pt x="8346070" y="3518352"/>
                  </a:cubicBezTo>
                  <a:close/>
                  <a:moveTo>
                    <a:pt x="7834194" y="3518352"/>
                  </a:moveTo>
                  <a:cubicBezTo>
                    <a:pt x="7916501" y="3518352"/>
                    <a:pt x="7983224" y="3585074"/>
                    <a:pt x="7983224" y="3667382"/>
                  </a:cubicBezTo>
                  <a:cubicBezTo>
                    <a:pt x="7983224" y="3749688"/>
                    <a:pt x="7916501" y="3816412"/>
                    <a:pt x="7834194" y="3816412"/>
                  </a:cubicBezTo>
                  <a:cubicBezTo>
                    <a:pt x="7751887" y="3816412"/>
                    <a:pt x="7685164" y="3749689"/>
                    <a:pt x="7685164" y="3667382"/>
                  </a:cubicBezTo>
                  <a:cubicBezTo>
                    <a:pt x="7685164" y="3585075"/>
                    <a:pt x="7751887" y="3518352"/>
                    <a:pt x="7834194" y="3518352"/>
                  </a:cubicBezTo>
                  <a:close/>
                  <a:moveTo>
                    <a:pt x="7322128" y="3518352"/>
                  </a:moveTo>
                  <a:cubicBezTo>
                    <a:pt x="7404434" y="3518352"/>
                    <a:pt x="7471158" y="3585074"/>
                    <a:pt x="7471158" y="3667382"/>
                  </a:cubicBezTo>
                  <a:cubicBezTo>
                    <a:pt x="7471158" y="3749688"/>
                    <a:pt x="7404435" y="3816412"/>
                    <a:pt x="7322128" y="3816412"/>
                  </a:cubicBezTo>
                  <a:cubicBezTo>
                    <a:pt x="7239821" y="3816412"/>
                    <a:pt x="7173097" y="3749689"/>
                    <a:pt x="7173097" y="3667382"/>
                  </a:cubicBezTo>
                  <a:cubicBezTo>
                    <a:pt x="7173097" y="3585075"/>
                    <a:pt x="7239820" y="3518352"/>
                    <a:pt x="7322128" y="3518352"/>
                  </a:cubicBezTo>
                  <a:close/>
                  <a:moveTo>
                    <a:pt x="6810062" y="3518352"/>
                  </a:moveTo>
                  <a:cubicBezTo>
                    <a:pt x="6892369" y="3518352"/>
                    <a:pt x="6959092" y="3585074"/>
                    <a:pt x="6959092" y="3667382"/>
                  </a:cubicBezTo>
                  <a:cubicBezTo>
                    <a:pt x="6959092" y="3749688"/>
                    <a:pt x="6892369" y="3816412"/>
                    <a:pt x="6810062" y="3816412"/>
                  </a:cubicBezTo>
                  <a:cubicBezTo>
                    <a:pt x="6727755" y="3816412"/>
                    <a:pt x="6661032" y="3749689"/>
                    <a:pt x="6661032" y="3667382"/>
                  </a:cubicBezTo>
                  <a:cubicBezTo>
                    <a:pt x="6661032" y="3585075"/>
                    <a:pt x="6727755" y="3518352"/>
                    <a:pt x="6810062" y="3518352"/>
                  </a:cubicBezTo>
                  <a:close/>
                  <a:moveTo>
                    <a:pt x="6298186" y="3518352"/>
                  </a:moveTo>
                  <a:cubicBezTo>
                    <a:pt x="6380491" y="3518352"/>
                    <a:pt x="6447215" y="3585074"/>
                    <a:pt x="6447215" y="3667382"/>
                  </a:cubicBezTo>
                  <a:cubicBezTo>
                    <a:pt x="6447215" y="3749688"/>
                    <a:pt x="6380493" y="3816412"/>
                    <a:pt x="6298186" y="3816412"/>
                  </a:cubicBezTo>
                  <a:cubicBezTo>
                    <a:pt x="6215878" y="3816412"/>
                    <a:pt x="6149155" y="3749689"/>
                    <a:pt x="6149155" y="3667382"/>
                  </a:cubicBezTo>
                  <a:cubicBezTo>
                    <a:pt x="6149155" y="3585075"/>
                    <a:pt x="6215877" y="3518352"/>
                    <a:pt x="6298186" y="3518352"/>
                  </a:cubicBezTo>
                  <a:close/>
                  <a:moveTo>
                    <a:pt x="5786126" y="3518352"/>
                  </a:moveTo>
                  <a:cubicBezTo>
                    <a:pt x="5868430" y="3518352"/>
                    <a:pt x="5935149" y="3585074"/>
                    <a:pt x="5935149" y="3667382"/>
                  </a:cubicBezTo>
                  <a:cubicBezTo>
                    <a:pt x="5935149" y="3749688"/>
                    <a:pt x="5868430" y="3816412"/>
                    <a:pt x="5786126" y="3816412"/>
                  </a:cubicBezTo>
                  <a:cubicBezTo>
                    <a:pt x="5703824" y="3816412"/>
                    <a:pt x="5637102" y="3749689"/>
                    <a:pt x="5637102" y="3667382"/>
                  </a:cubicBezTo>
                  <a:cubicBezTo>
                    <a:pt x="5637102" y="3585075"/>
                    <a:pt x="5703823" y="3518352"/>
                    <a:pt x="5786126" y="3518352"/>
                  </a:cubicBezTo>
                  <a:close/>
                  <a:moveTo>
                    <a:pt x="5274270" y="3518352"/>
                  </a:moveTo>
                  <a:cubicBezTo>
                    <a:pt x="5356576" y="3518352"/>
                    <a:pt x="5423296" y="3585074"/>
                    <a:pt x="5423296" y="3667382"/>
                  </a:cubicBezTo>
                  <a:cubicBezTo>
                    <a:pt x="5423296" y="3749688"/>
                    <a:pt x="5356576" y="3816412"/>
                    <a:pt x="5274270" y="3816412"/>
                  </a:cubicBezTo>
                  <a:cubicBezTo>
                    <a:pt x="5191962" y="3816412"/>
                    <a:pt x="5125232" y="3749689"/>
                    <a:pt x="5125232" y="3667382"/>
                  </a:cubicBezTo>
                  <a:cubicBezTo>
                    <a:pt x="5125232" y="3585075"/>
                    <a:pt x="5191962" y="3518352"/>
                    <a:pt x="5274270" y="3518352"/>
                  </a:cubicBezTo>
                  <a:close/>
                  <a:moveTo>
                    <a:pt x="4762180" y="3518352"/>
                  </a:moveTo>
                  <a:cubicBezTo>
                    <a:pt x="4844514" y="3518352"/>
                    <a:pt x="4911249" y="3585074"/>
                    <a:pt x="4911249" y="3667382"/>
                  </a:cubicBezTo>
                  <a:cubicBezTo>
                    <a:pt x="4911249" y="3749688"/>
                    <a:pt x="4844516" y="3816412"/>
                    <a:pt x="4762180" y="3816412"/>
                  </a:cubicBezTo>
                  <a:cubicBezTo>
                    <a:pt x="4679887" y="3816412"/>
                    <a:pt x="4613169" y="3749689"/>
                    <a:pt x="4613169" y="3667382"/>
                  </a:cubicBezTo>
                  <a:cubicBezTo>
                    <a:pt x="4613169" y="3585075"/>
                    <a:pt x="4679887" y="3518352"/>
                    <a:pt x="4762180" y="3518352"/>
                  </a:cubicBezTo>
                  <a:close/>
                  <a:moveTo>
                    <a:pt x="4250316" y="3518352"/>
                  </a:moveTo>
                  <a:cubicBezTo>
                    <a:pt x="4332628" y="3518352"/>
                    <a:pt x="4399355" y="3585074"/>
                    <a:pt x="4399355" y="3667382"/>
                  </a:cubicBezTo>
                  <a:cubicBezTo>
                    <a:pt x="4399355" y="3749688"/>
                    <a:pt x="4332628" y="3816412"/>
                    <a:pt x="4250316" y="3816412"/>
                  </a:cubicBezTo>
                  <a:cubicBezTo>
                    <a:pt x="4168006" y="3816412"/>
                    <a:pt x="4101334" y="3749689"/>
                    <a:pt x="4101334" y="3667382"/>
                  </a:cubicBezTo>
                  <a:cubicBezTo>
                    <a:pt x="4101334" y="3585075"/>
                    <a:pt x="4168006" y="3518352"/>
                    <a:pt x="4250316" y="3518352"/>
                  </a:cubicBezTo>
                  <a:close/>
                  <a:moveTo>
                    <a:pt x="3738289" y="3518352"/>
                  </a:moveTo>
                  <a:cubicBezTo>
                    <a:pt x="3820593" y="3518352"/>
                    <a:pt x="3887320" y="3585074"/>
                    <a:pt x="3887320" y="3667382"/>
                  </a:cubicBezTo>
                  <a:cubicBezTo>
                    <a:pt x="3887320" y="3749688"/>
                    <a:pt x="3820593" y="3816412"/>
                    <a:pt x="3738289" y="3816412"/>
                  </a:cubicBezTo>
                  <a:cubicBezTo>
                    <a:pt x="3655972" y="3816412"/>
                    <a:pt x="3589256" y="3749689"/>
                    <a:pt x="3589256" y="3667382"/>
                  </a:cubicBezTo>
                  <a:cubicBezTo>
                    <a:pt x="3589256" y="3585075"/>
                    <a:pt x="3655972" y="3518352"/>
                    <a:pt x="3738289" y="3518352"/>
                  </a:cubicBezTo>
                  <a:close/>
                  <a:moveTo>
                    <a:pt x="3226242" y="3518352"/>
                  </a:moveTo>
                  <a:cubicBezTo>
                    <a:pt x="3308555" y="3518352"/>
                    <a:pt x="3375284" y="3585074"/>
                    <a:pt x="3375284" y="3667382"/>
                  </a:cubicBezTo>
                  <a:cubicBezTo>
                    <a:pt x="3375284" y="3749688"/>
                    <a:pt x="3308555" y="3816412"/>
                    <a:pt x="3226242" y="3816412"/>
                  </a:cubicBezTo>
                  <a:cubicBezTo>
                    <a:pt x="3143933" y="3816412"/>
                    <a:pt x="3077210" y="3749689"/>
                    <a:pt x="3077210" y="3667382"/>
                  </a:cubicBezTo>
                  <a:cubicBezTo>
                    <a:pt x="3077210" y="3585075"/>
                    <a:pt x="3143933" y="3518352"/>
                    <a:pt x="3226242" y="3518352"/>
                  </a:cubicBezTo>
                  <a:close/>
                  <a:moveTo>
                    <a:pt x="2714363" y="3518352"/>
                  </a:moveTo>
                  <a:cubicBezTo>
                    <a:pt x="2796672" y="3518352"/>
                    <a:pt x="2863399" y="3585074"/>
                    <a:pt x="2863399" y="3667382"/>
                  </a:cubicBezTo>
                  <a:cubicBezTo>
                    <a:pt x="2863399" y="3749688"/>
                    <a:pt x="2796672" y="3816412"/>
                    <a:pt x="2714363" y="3816412"/>
                  </a:cubicBezTo>
                  <a:cubicBezTo>
                    <a:pt x="2632054" y="3816412"/>
                    <a:pt x="2565335" y="3749689"/>
                    <a:pt x="2565335" y="3667382"/>
                  </a:cubicBezTo>
                  <a:cubicBezTo>
                    <a:pt x="2565335" y="3585075"/>
                    <a:pt x="2632054" y="3518352"/>
                    <a:pt x="2714363" y="3518352"/>
                  </a:cubicBezTo>
                  <a:close/>
                  <a:moveTo>
                    <a:pt x="2202307" y="3518352"/>
                  </a:moveTo>
                  <a:cubicBezTo>
                    <a:pt x="2284612" y="3518352"/>
                    <a:pt x="2351334" y="3585074"/>
                    <a:pt x="2351334" y="3667382"/>
                  </a:cubicBezTo>
                  <a:cubicBezTo>
                    <a:pt x="2351334" y="3749688"/>
                    <a:pt x="2284612" y="3816412"/>
                    <a:pt x="2202307" y="3816412"/>
                  </a:cubicBezTo>
                  <a:cubicBezTo>
                    <a:pt x="2120002" y="3816412"/>
                    <a:pt x="2053277" y="3749689"/>
                    <a:pt x="2053277" y="3667382"/>
                  </a:cubicBezTo>
                  <a:cubicBezTo>
                    <a:pt x="2053277" y="3585075"/>
                    <a:pt x="2120002" y="3518352"/>
                    <a:pt x="2202307" y="3518352"/>
                  </a:cubicBezTo>
                  <a:close/>
                  <a:moveTo>
                    <a:pt x="1690413" y="3518352"/>
                  </a:moveTo>
                  <a:cubicBezTo>
                    <a:pt x="1772720" y="3518352"/>
                    <a:pt x="1839443" y="3585074"/>
                    <a:pt x="1839443" y="3667382"/>
                  </a:cubicBezTo>
                  <a:cubicBezTo>
                    <a:pt x="1839443" y="3749688"/>
                    <a:pt x="1772720" y="3816412"/>
                    <a:pt x="1690413" y="3816412"/>
                  </a:cubicBezTo>
                  <a:cubicBezTo>
                    <a:pt x="1608107" y="3816412"/>
                    <a:pt x="1541384" y="3749689"/>
                    <a:pt x="1541384" y="3667382"/>
                  </a:cubicBezTo>
                  <a:cubicBezTo>
                    <a:pt x="1541384" y="3585075"/>
                    <a:pt x="1608107" y="3518352"/>
                    <a:pt x="1690413" y="3518352"/>
                  </a:cubicBezTo>
                  <a:close/>
                  <a:moveTo>
                    <a:pt x="1178354" y="3518352"/>
                  </a:moveTo>
                  <a:cubicBezTo>
                    <a:pt x="1260660" y="3518352"/>
                    <a:pt x="1327383" y="3585074"/>
                    <a:pt x="1327383" y="3667382"/>
                  </a:cubicBezTo>
                  <a:cubicBezTo>
                    <a:pt x="1327383" y="3749688"/>
                    <a:pt x="1260660" y="3816412"/>
                    <a:pt x="1178354" y="3816412"/>
                  </a:cubicBezTo>
                  <a:cubicBezTo>
                    <a:pt x="1096047" y="3816412"/>
                    <a:pt x="1029325" y="3749689"/>
                    <a:pt x="1029325" y="3667382"/>
                  </a:cubicBezTo>
                  <a:cubicBezTo>
                    <a:pt x="1029325" y="3585075"/>
                    <a:pt x="1096047" y="3518352"/>
                    <a:pt x="1178354" y="3518352"/>
                  </a:cubicBezTo>
                  <a:close/>
                  <a:moveTo>
                    <a:pt x="666484" y="3518352"/>
                  </a:moveTo>
                  <a:cubicBezTo>
                    <a:pt x="748790" y="3518352"/>
                    <a:pt x="815513" y="3585074"/>
                    <a:pt x="815513" y="3667382"/>
                  </a:cubicBezTo>
                  <a:cubicBezTo>
                    <a:pt x="815513" y="3749688"/>
                    <a:pt x="748790" y="3816412"/>
                    <a:pt x="666484" y="3816412"/>
                  </a:cubicBezTo>
                  <a:cubicBezTo>
                    <a:pt x="584178" y="3816412"/>
                    <a:pt x="517455" y="3749689"/>
                    <a:pt x="517455" y="3667382"/>
                  </a:cubicBezTo>
                  <a:cubicBezTo>
                    <a:pt x="517455" y="3585075"/>
                    <a:pt x="584178" y="3518352"/>
                    <a:pt x="666484" y="3518352"/>
                  </a:cubicBezTo>
                  <a:close/>
                  <a:moveTo>
                    <a:pt x="154426" y="3518352"/>
                  </a:moveTo>
                  <a:cubicBezTo>
                    <a:pt x="236733" y="3518352"/>
                    <a:pt x="303455" y="3585074"/>
                    <a:pt x="303455" y="3667382"/>
                  </a:cubicBezTo>
                  <a:cubicBezTo>
                    <a:pt x="303455" y="3749688"/>
                    <a:pt x="236733" y="3816412"/>
                    <a:pt x="154426" y="3816412"/>
                  </a:cubicBezTo>
                  <a:cubicBezTo>
                    <a:pt x="72120" y="3816412"/>
                    <a:pt x="5397" y="3749689"/>
                    <a:pt x="5397" y="3667382"/>
                  </a:cubicBezTo>
                  <a:cubicBezTo>
                    <a:pt x="5397" y="3585075"/>
                    <a:pt x="72120" y="3518352"/>
                    <a:pt x="154426" y="3518352"/>
                  </a:cubicBezTo>
                  <a:close/>
                  <a:moveTo>
                    <a:pt x="11929966" y="3078629"/>
                  </a:moveTo>
                  <a:cubicBezTo>
                    <a:pt x="12004345" y="3078629"/>
                    <a:pt x="12064640" y="3138925"/>
                    <a:pt x="12064640" y="3213304"/>
                  </a:cubicBezTo>
                  <a:cubicBezTo>
                    <a:pt x="12064640" y="3287683"/>
                    <a:pt x="12004345" y="3347979"/>
                    <a:pt x="11929966" y="3347979"/>
                  </a:cubicBezTo>
                  <a:cubicBezTo>
                    <a:pt x="11855587" y="3347979"/>
                    <a:pt x="11795291" y="3287683"/>
                    <a:pt x="11795291" y="3213304"/>
                  </a:cubicBezTo>
                  <a:cubicBezTo>
                    <a:pt x="11795291" y="3138925"/>
                    <a:pt x="11855587" y="3078629"/>
                    <a:pt x="11929966" y="3078629"/>
                  </a:cubicBezTo>
                  <a:close/>
                  <a:moveTo>
                    <a:pt x="11417900" y="3078629"/>
                  </a:moveTo>
                  <a:cubicBezTo>
                    <a:pt x="11492279" y="3078629"/>
                    <a:pt x="11552575" y="3138925"/>
                    <a:pt x="11552575" y="3213304"/>
                  </a:cubicBezTo>
                  <a:cubicBezTo>
                    <a:pt x="11552575" y="3287683"/>
                    <a:pt x="11492279" y="3347979"/>
                    <a:pt x="11417900" y="3347979"/>
                  </a:cubicBezTo>
                  <a:cubicBezTo>
                    <a:pt x="11343521" y="3347979"/>
                    <a:pt x="11283225" y="3287683"/>
                    <a:pt x="11283225" y="3213304"/>
                  </a:cubicBezTo>
                  <a:cubicBezTo>
                    <a:pt x="11283225" y="3138925"/>
                    <a:pt x="11343521" y="3078629"/>
                    <a:pt x="11417900" y="3078629"/>
                  </a:cubicBezTo>
                  <a:close/>
                  <a:moveTo>
                    <a:pt x="10906022" y="3078629"/>
                  </a:moveTo>
                  <a:cubicBezTo>
                    <a:pt x="10980401" y="3078629"/>
                    <a:pt x="11040697" y="3138925"/>
                    <a:pt x="11040697" y="3213304"/>
                  </a:cubicBezTo>
                  <a:cubicBezTo>
                    <a:pt x="11040697" y="3287683"/>
                    <a:pt x="10980401" y="3347979"/>
                    <a:pt x="10906022" y="3347979"/>
                  </a:cubicBezTo>
                  <a:cubicBezTo>
                    <a:pt x="10831643" y="3347979"/>
                    <a:pt x="10771347" y="3287683"/>
                    <a:pt x="10771347" y="3213304"/>
                  </a:cubicBezTo>
                  <a:cubicBezTo>
                    <a:pt x="10771347" y="3138925"/>
                    <a:pt x="10831643" y="3078629"/>
                    <a:pt x="10906022" y="3078629"/>
                  </a:cubicBezTo>
                  <a:close/>
                  <a:moveTo>
                    <a:pt x="10393956" y="3078629"/>
                  </a:moveTo>
                  <a:cubicBezTo>
                    <a:pt x="10468335" y="3078629"/>
                    <a:pt x="10528631" y="3138925"/>
                    <a:pt x="10528631" y="3213304"/>
                  </a:cubicBezTo>
                  <a:cubicBezTo>
                    <a:pt x="10528631" y="3287683"/>
                    <a:pt x="10468335" y="3347979"/>
                    <a:pt x="10393956" y="3347979"/>
                  </a:cubicBezTo>
                  <a:cubicBezTo>
                    <a:pt x="10319577" y="3347979"/>
                    <a:pt x="10259282" y="3287683"/>
                    <a:pt x="10259282" y="3213304"/>
                  </a:cubicBezTo>
                  <a:cubicBezTo>
                    <a:pt x="10259282" y="3138925"/>
                    <a:pt x="10319577" y="3078629"/>
                    <a:pt x="10393956" y="3078629"/>
                  </a:cubicBezTo>
                  <a:close/>
                  <a:moveTo>
                    <a:pt x="9882080" y="3078629"/>
                  </a:moveTo>
                  <a:cubicBezTo>
                    <a:pt x="9956459" y="3078629"/>
                    <a:pt x="10016755" y="3138925"/>
                    <a:pt x="10016755" y="3213304"/>
                  </a:cubicBezTo>
                  <a:cubicBezTo>
                    <a:pt x="10016755" y="3287683"/>
                    <a:pt x="9956459" y="3347979"/>
                    <a:pt x="9882080" y="3347979"/>
                  </a:cubicBezTo>
                  <a:cubicBezTo>
                    <a:pt x="9807701" y="3347979"/>
                    <a:pt x="9747405" y="3287683"/>
                    <a:pt x="9747405" y="3213304"/>
                  </a:cubicBezTo>
                  <a:cubicBezTo>
                    <a:pt x="9747405" y="3138925"/>
                    <a:pt x="9807701" y="3078629"/>
                    <a:pt x="9882080" y="3078629"/>
                  </a:cubicBezTo>
                  <a:close/>
                  <a:moveTo>
                    <a:pt x="9370014" y="3078629"/>
                  </a:moveTo>
                  <a:cubicBezTo>
                    <a:pt x="9444393" y="3078629"/>
                    <a:pt x="9504688" y="3138925"/>
                    <a:pt x="9504688" y="3213304"/>
                  </a:cubicBezTo>
                  <a:cubicBezTo>
                    <a:pt x="9504688" y="3287683"/>
                    <a:pt x="9444393" y="3347979"/>
                    <a:pt x="9370014" y="3347979"/>
                  </a:cubicBezTo>
                  <a:cubicBezTo>
                    <a:pt x="9295635" y="3347979"/>
                    <a:pt x="9235339" y="3287683"/>
                    <a:pt x="9235339" y="3213304"/>
                  </a:cubicBezTo>
                  <a:cubicBezTo>
                    <a:pt x="9235339" y="3138925"/>
                    <a:pt x="9295635" y="3078629"/>
                    <a:pt x="9370014" y="3078629"/>
                  </a:cubicBezTo>
                  <a:close/>
                  <a:moveTo>
                    <a:pt x="8858136" y="3078629"/>
                  </a:moveTo>
                  <a:cubicBezTo>
                    <a:pt x="8932516" y="3078629"/>
                    <a:pt x="8992811" y="3138925"/>
                    <a:pt x="8992811" y="3213304"/>
                  </a:cubicBezTo>
                  <a:cubicBezTo>
                    <a:pt x="8992811" y="3287683"/>
                    <a:pt x="8932516" y="3347979"/>
                    <a:pt x="8858136" y="3347979"/>
                  </a:cubicBezTo>
                  <a:cubicBezTo>
                    <a:pt x="8783757" y="3347979"/>
                    <a:pt x="8723462" y="3287683"/>
                    <a:pt x="8723462" y="3213304"/>
                  </a:cubicBezTo>
                  <a:cubicBezTo>
                    <a:pt x="8723462" y="3138925"/>
                    <a:pt x="8783757" y="3078629"/>
                    <a:pt x="8858136" y="3078629"/>
                  </a:cubicBezTo>
                  <a:close/>
                  <a:moveTo>
                    <a:pt x="8346071" y="3078629"/>
                  </a:moveTo>
                  <a:cubicBezTo>
                    <a:pt x="8420450" y="3078629"/>
                    <a:pt x="8480746" y="3138925"/>
                    <a:pt x="8480746" y="3213304"/>
                  </a:cubicBezTo>
                  <a:cubicBezTo>
                    <a:pt x="8480746" y="3287683"/>
                    <a:pt x="8420450" y="3347979"/>
                    <a:pt x="8346071" y="3347979"/>
                  </a:cubicBezTo>
                  <a:cubicBezTo>
                    <a:pt x="8271692" y="3347979"/>
                    <a:pt x="8211396" y="3287683"/>
                    <a:pt x="8211396" y="3213304"/>
                  </a:cubicBezTo>
                  <a:cubicBezTo>
                    <a:pt x="8211396" y="3138925"/>
                    <a:pt x="8271692" y="3078629"/>
                    <a:pt x="8346071" y="3078629"/>
                  </a:cubicBezTo>
                  <a:close/>
                  <a:moveTo>
                    <a:pt x="7834194" y="3078629"/>
                  </a:moveTo>
                  <a:cubicBezTo>
                    <a:pt x="7908573" y="3078629"/>
                    <a:pt x="7968868" y="3138925"/>
                    <a:pt x="7968868" y="3213304"/>
                  </a:cubicBezTo>
                  <a:cubicBezTo>
                    <a:pt x="7968868" y="3287683"/>
                    <a:pt x="7908573" y="3347979"/>
                    <a:pt x="7834194" y="3347979"/>
                  </a:cubicBezTo>
                  <a:cubicBezTo>
                    <a:pt x="7759815" y="3347979"/>
                    <a:pt x="7699519" y="3287683"/>
                    <a:pt x="7699519" y="3213304"/>
                  </a:cubicBezTo>
                  <a:cubicBezTo>
                    <a:pt x="7699519" y="3138925"/>
                    <a:pt x="7759815" y="3078629"/>
                    <a:pt x="7834194" y="3078629"/>
                  </a:cubicBezTo>
                  <a:close/>
                  <a:moveTo>
                    <a:pt x="7322127" y="3078629"/>
                  </a:moveTo>
                  <a:cubicBezTo>
                    <a:pt x="7396506" y="3078629"/>
                    <a:pt x="7456802" y="3138925"/>
                    <a:pt x="7456802" y="3213304"/>
                  </a:cubicBezTo>
                  <a:cubicBezTo>
                    <a:pt x="7456802" y="3287683"/>
                    <a:pt x="7396506" y="3347979"/>
                    <a:pt x="7322127" y="3347979"/>
                  </a:cubicBezTo>
                  <a:cubicBezTo>
                    <a:pt x="7247748" y="3347979"/>
                    <a:pt x="7187453" y="3287683"/>
                    <a:pt x="7187453" y="3213304"/>
                  </a:cubicBezTo>
                  <a:cubicBezTo>
                    <a:pt x="7187453" y="3138925"/>
                    <a:pt x="7247748" y="3078629"/>
                    <a:pt x="7322127" y="3078629"/>
                  </a:cubicBezTo>
                  <a:close/>
                  <a:moveTo>
                    <a:pt x="6810062" y="3078629"/>
                  </a:moveTo>
                  <a:cubicBezTo>
                    <a:pt x="6884441" y="3078629"/>
                    <a:pt x="6944736" y="3138925"/>
                    <a:pt x="6944736" y="3213304"/>
                  </a:cubicBezTo>
                  <a:cubicBezTo>
                    <a:pt x="6944736" y="3287683"/>
                    <a:pt x="6884441" y="3347979"/>
                    <a:pt x="6810062" y="3347979"/>
                  </a:cubicBezTo>
                  <a:cubicBezTo>
                    <a:pt x="6735683" y="3347979"/>
                    <a:pt x="6675387" y="3287683"/>
                    <a:pt x="6675387" y="3213304"/>
                  </a:cubicBezTo>
                  <a:cubicBezTo>
                    <a:pt x="6675387" y="3138925"/>
                    <a:pt x="6735683" y="3078629"/>
                    <a:pt x="6810062" y="3078629"/>
                  </a:cubicBezTo>
                  <a:close/>
                  <a:moveTo>
                    <a:pt x="6298186" y="3078629"/>
                  </a:moveTo>
                  <a:cubicBezTo>
                    <a:pt x="6372564" y="3078629"/>
                    <a:pt x="6432860" y="3138925"/>
                    <a:pt x="6432860" y="3213304"/>
                  </a:cubicBezTo>
                  <a:cubicBezTo>
                    <a:pt x="6432860" y="3287683"/>
                    <a:pt x="6372564" y="3347979"/>
                    <a:pt x="6298186" y="3347979"/>
                  </a:cubicBezTo>
                  <a:cubicBezTo>
                    <a:pt x="6223806" y="3347979"/>
                    <a:pt x="6163510" y="3287683"/>
                    <a:pt x="6163510" y="3213304"/>
                  </a:cubicBezTo>
                  <a:cubicBezTo>
                    <a:pt x="6163510" y="3138925"/>
                    <a:pt x="6223806" y="3078629"/>
                    <a:pt x="6298186" y="3078629"/>
                  </a:cubicBezTo>
                  <a:close/>
                  <a:moveTo>
                    <a:pt x="5786126" y="3078629"/>
                  </a:moveTo>
                  <a:cubicBezTo>
                    <a:pt x="5860504" y="3078629"/>
                    <a:pt x="5920794" y="3138925"/>
                    <a:pt x="5920794" y="3213304"/>
                  </a:cubicBezTo>
                  <a:cubicBezTo>
                    <a:pt x="5920794" y="3287683"/>
                    <a:pt x="5860504" y="3347979"/>
                    <a:pt x="5786126" y="3347979"/>
                  </a:cubicBezTo>
                  <a:cubicBezTo>
                    <a:pt x="5711750" y="3347979"/>
                    <a:pt x="5651456" y="3287683"/>
                    <a:pt x="5651456" y="3213304"/>
                  </a:cubicBezTo>
                  <a:cubicBezTo>
                    <a:pt x="5651456" y="3138925"/>
                    <a:pt x="5711750" y="3078629"/>
                    <a:pt x="5786126" y="3078629"/>
                  </a:cubicBezTo>
                  <a:close/>
                  <a:moveTo>
                    <a:pt x="5274270" y="3078629"/>
                  </a:moveTo>
                  <a:cubicBezTo>
                    <a:pt x="5348647" y="3078629"/>
                    <a:pt x="5408941" y="3138925"/>
                    <a:pt x="5408941" y="3213304"/>
                  </a:cubicBezTo>
                  <a:cubicBezTo>
                    <a:pt x="5408941" y="3287683"/>
                    <a:pt x="5348647" y="3347979"/>
                    <a:pt x="5274270" y="3347979"/>
                  </a:cubicBezTo>
                  <a:cubicBezTo>
                    <a:pt x="5199890" y="3347979"/>
                    <a:pt x="5139595" y="3287683"/>
                    <a:pt x="5139595" y="3213304"/>
                  </a:cubicBezTo>
                  <a:cubicBezTo>
                    <a:pt x="5139595" y="3138925"/>
                    <a:pt x="5199890" y="3078629"/>
                    <a:pt x="5274270" y="3078629"/>
                  </a:cubicBezTo>
                  <a:close/>
                  <a:moveTo>
                    <a:pt x="4762180" y="3078629"/>
                  </a:moveTo>
                  <a:cubicBezTo>
                    <a:pt x="4836585" y="3078629"/>
                    <a:pt x="4896897" y="3138925"/>
                    <a:pt x="4896897" y="3213304"/>
                  </a:cubicBezTo>
                  <a:cubicBezTo>
                    <a:pt x="4896897" y="3287683"/>
                    <a:pt x="4836585" y="3347979"/>
                    <a:pt x="4762180" y="3347979"/>
                  </a:cubicBezTo>
                  <a:cubicBezTo>
                    <a:pt x="4687815" y="3347979"/>
                    <a:pt x="4627526" y="3287683"/>
                    <a:pt x="4627526" y="3213304"/>
                  </a:cubicBezTo>
                  <a:cubicBezTo>
                    <a:pt x="4627526" y="3138925"/>
                    <a:pt x="4687815" y="3078629"/>
                    <a:pt x="4762180" y="3078629"/>
                  </a:cubicBezTo>
                  <a:close/>
                  <a:moveTo>
                    <a:pt x="4250316" y="3078629"/>
                  </a:moveTo>
                  <a:cubicBezTo>
                    <a:pt x="4324700" y="3078629"/>
                    <a:pt x="4385000" y="3138925"/>
                    <a:pt x="4385000" y="3213304"/>
                  </a:cubicBezTo>
                  <a:cubicBezTo>
                    <a:pt x="4385000" y="3287683"/>
                    <a:pt x="4324700" y="3347979"/>
                    <a:pt x="4250316" y="3347979"/>
                  </a:cubicBezTo>
                  <a:cubicBezTo>
                    <a:pt x="4175935" y="3347979"/>
                    <a:pt x="4115689" y="3287683"/>
                    <a:pt x="4115689" y="3213304"/>
                  </a:cubicBezTo>
                  <a:cubicBezTo>
                    <a:pt x="4115689" y="3138925"/>
                    <a:pt x="4175935" y="3078629"/>
                    <a:pt x="4250316" y="3078629"/>
                  </a:cubicBezTo>
                  <a:close/>
                  <a:moveTo>
                    <a:pt x="3738289" y="3078629"/>
                  </a:moveTo>
                  <a:cubicBezTo>
                    <a:pt x="3812664" y="3078629"/>
                    <a:pt x="3872963" y="3138925"/>
                    <a:pt x="3872963" y="3213304"/>
                  </a:cubicBezTo>
                  <a:cubicBezTo>
                    <a:pt x="3872963" y="3287683"/>
                    <a:pt x="3812664" y="3347979"/>
                    <a:pt x="3738289" y="3347979"/>
                  </a:cubicBezTo>
                  <a:cubicBezTo>
                    <a:pt x="3663899" y="3347979"/>
                    <a:pt x="3603609" y="3287683"/>
                    <a:pt x="3603609" y="3213304"/>
                  </a:cubicBezTo>
                  <a:cubicBezTo>
                    <a:pt x="3603609" y="3138925"/>
                    <a:pt x="3663899" y="3078629"/>
                    <a:pt x="3738289" y="3078629"/>
                  </a:cubicBezTo>
                  <a:close/>
                  <a:moveTo>
                    <a:pt x="3226242" y="3078629"/>
                  </a:moveTo>
                  <a:cubicBezTo>
                    <a:pt x="3300623" y="3078629"/>
                    <a:pt x="3360931" y="3138925"/>
                    <a:pt x="3360931" y="3213304"/>
                  </a:cubicBezTo>
                  <a:cubicBezTo>
                    <a:pt x="3360931" y="3287683"/>
                    <a:pt x="3300623" y="3347979"/>
                    <a:pt x="3226242" y="3347979"/>
                  </a:cubicBezTo>
                  <a:cubicBezTo>
                    <a:pt x="3151856" y="3347979"/>
                    <a:pt x="3091565" y="3287683"/>
                    <a:pt x="3091565" y="3213304"/>
                  </a:cubicBezTo>
                  <a:cubicBezTo>
                    <a:pt x="3091565" y="3138925"/>
                    <a:pt x="3151856" y="3078629"/>
                    <a:pt x="3226242" y="3078629"/>
                  </a:cubicBezTo>
                  <a:close/>
                  <a:moveTo>
                    <a:pt x="2714363" y="3078629"/>
                  </a:moveTo>
                  <a:cubicBezTo>
                    <a:pt x="2788741" y="3078629"/>
                    <a:pt x="2849039" y="3138925"/>
                    <a:pt x="2849039" y="3213304"/>
                  </a:cubicBezTo>
                  <a:cubicBezTo>
                    <a:pt x="2849039" y="3287683"/>
                    <a:pt x="2788741" y="3347979"/>
                    <a:pt x="2714363" y="3347979"/>
                  </a:cubicBezTo>
                  <a:cubicBezTo>
                    <a:pt x="2639985" y="3347979"/>
                    <a:pt x="2579687" y="3287683"/>
                    <a:pt x="2579687" y="3213304"/>
                  </a:cubicBezTo>
                  <a:cubicBezTo>
                    <a:pt x="2579687" y="3138925"/>
                    <a:pt x="2639985" y="3078629"/>
                    <a:pt x="2714363" y="3078629"/>
                  </a:cubicBezTo>
                  <a:close/>
                  <a:moveTo>
                    <a:pt x="2202306" y="3078629"/>
                  </a:moveTo>
                  <a:cubicBezTo>
                    <a:pt x="2276684" y="3078629"/>
                    <a:pt x="2336978" y="3138925"/>
                    <a:pt x="2336978" y="3213304"/>
                  </a:cubicBezTo>
                  <a:cubicBezTo>
                    <a:pt x="2336978" y="3287683"/>
                    <a:pt x="2276683" y="3347979"/>
                    <a:pt x="2202306" y="3347979"/>
                  </a:cubicBezTo>
                  <a:cubicBezTo>
                    <a:pt x="2127929" y="3347979"/>
                    <a:pt x="2067631" y="3287683"/>
                    <a:pt x="2067631" y="3213304"/>
                  </a:cubicBezTo>
                  <a:cubicBezTo>
                    <a:pt x="2067631" y="3138925"/>
                    <a:pt x="2127929" y="3078629"/>
                    <a:pt x="2202306" y="3078629"/>
                  </a:cubicBezTo>
                  <a:close/>
                  <a:moveTo>
                    <a:pt x="1690413" y="3078629"/>
                  </a:moveTo>
                  <a:cubicBezTo>
                    <a:pt x="1764791" y="3078629"/>
                    <a:pt x="1825086" y="3138925"/>
                    <a:pt x="1825086" y="3213304"/>
                  </a:cubicBezTo>
                  <a:cubicBezTo>
                    <a:pt x="1825086" y="3287683"/>
                    <a:pt x="1764791" y="3347979"/>
                    <a:pt x="1690413" y="3347979"/>
                  </a:cubicBezTo>
                  <a:cubicBezTo>
                    <a:pt x="1616035" y="3347979"/>
                    <a:pt x="1555739" y="3287683"/>
                    <a:pt x="1555739" y="3213304"/>
                  </a:cubicBezTo>
                  <a:cubicBezTo>
                    <a:pt x="1555739" y="3138925"/>
                    <a:pt x="1616035" y="3078629"/>
                    <a:pt x="1690413" y="3078629"/>
                  </a:cubicBezTo>
                  <a:close/>
                  <a:moveTo>
                    <a:pt x="1178354" y="3078629"/>
                  </a:moveTo>
                  <a:cubicBezTo>
                    <a:pt x="1252731" y="3078629"/>
                    <a:pt x="1313027" y="3138925"/>
                    <a:pt x="1313027" y="3213304"/>
                  </a:cubicBezTo>
                  <a:cubicBezTo>
                    <a:pt x="1313027" y="3287683"/>
                    <a:pt x="1252731" y="3347979"/>
                    <a:pt x="1178354" y="3347979"/>
                  </a:cubicBezTo>
                  <a:cubicBezTo>
                    <a:pt x="1103975" y="3347979"/>
                    <a:pt x="1043680" y="3287683"/>
                    <a:pt x="1043680" y="3213304"/>
                  </a:cubicBezTo>
                  <a:cubicBezTo>
                    <a:pt x="1043680" y="3138925"/>
                    <a:pt x="1103975" y="3078629"/>
                    <a:pt x="1178354" y="3078629"/>
                  </a:cubicBezTo>
                  <a:close/>
                  <a:moveTo>
                    <a:pt x="666484" y="3078629"/>
                  </a:moveTo>
                  <a:cubicBezTo>
                    <a:pt x="740861" y="3078629"/>
                    <a:pt x="801157" y="3138925"/>
                    <a:pt x="801157" y="3213304"/>
                  </a:cubicBezTo>
                  <a:cubicBezTo>
                    <a:pt x="801157" y="3287683"/>
                    <a:pt x="740861" y="3347979"/>
                    <a:pt x="666484" y="3347979"/>
                  </a:cubicBezTo>
                  <a:cubicBezTo>
                    <a:pt x="592105" y="3347979"/>
                    <a:pt x="531810" y="3287683"/>
                    <a:pt x="531810" y="3213304"/>
                  </a:cubicBezTo>
                  <a:cubicBezTo>
                    <a:pt x="531810" y="3138925"/>
                    <a:pt x="592105" y="3078629"/>
                    <a:pt x="666484" y="3078629"/>
                  </a:cubicBezTo>
                  <a:close/>
                  <a:moveTo>
                    <a:pt x="154426" y="3078629"/>
                  </a:moveTo>
                  <a:cubicBezTo>
                    <a:pt x="228804" y="3078629"/>
                    <a:pt x="289099" y="3138925"/>
                    <a:pt x="289099" y="3213304"/>
                  </a:cubicBezTo>
                  <a:cubicBezTo>
                    <a:pt x="289099" y="3287683"/>
                    <a:pt x="228804" y="3347979"/>
                    <a:pt x="154426" y="3347979"/>
                  </a:cubicBezTo>
                  <a:cubicBezTo>
                    <a:pt x="80048" y="3347979"/>
                    <a:pt x="19752" y="3287683"/>
                    <a:pt x="19752" y="3213304"/>
                  </a:cubicBezTo>
                  <a:cubicBezTo>
                    <a:pt x="19752" y="3138925"/>
                    <a:pt x="80048" y="3078629"/>
                    <a:pt x="154426" y="3078629"/>
                  </a:cubicBezTo>
                  <a:close/>
                  <a:moveTo>
                    <a:pt x="11929965" y="2638717"/>
                  </a:moveTo>
                  <a:cubicBezTo>
                    <a:pt x="11996520" y="2638717"/>
                    <a:pt x="12050474" y="2692670"/>
                    <a:pt x="12050474" y="2759225"/>
                  </a:cubicBezTo>
                  <a:cubicBezTo>
                    <a:pt x="12050474" y="2825780"/>
                    <a:pt x="11996520" y="2879734"/>
                    <a:pt x="11929965" y="2879734"/>
                  </a:cubicBezTo>
                  <a:cubicBezTo>
                    <a:pt x="11863411" y="2879734"/>
                    <a:pt x="11809457" y="2825780"/>
                    <a:pt x="11809457" y="2759225"/>
                  </a:cubicBezTo>
                  <a:cubicBezTo>
                    <a:pt x="11809457" y="2692670"/>
                    <a:pt x="11863411" y="2638717"/>
                    <a:pt x="11929965" y="2638717"/>
                  </a:cubicBezTo>
                  <a:close/>
                  <a:moveTo>
                    <a:pt x="11417900" y="2638717"/>
                  </a:moveTo>
                  <a:cubicBezTo>
                    <a:pt x="11484454" y="2638717"/>
                    <a:pt x="11538408" y="2692670"/>
                    <a:pt x="11538408" y="2759225"/>
                  </a:cubicBezTo>
                  <a:cubicBezTo>
                    <a:pt x="11538408" y="2825780"/>
                    <a:pt x="11484454" y="2879734"/>
                    <a:pt x="11417900" y="2879734"/>
                  </a:cubicBezTo>
                  <a:cubicBezTo>
                    <a:pt x="11351345" y="2879734"/>
                    <a:pt x="11297391" y="2825780"/>
                    <a:pt x="11297391" y="2759225"/>
                  </a:cubicBezTo>
                  <a:cubicBezTo>
                    <a:pt x="11297391" y="2692670"/>
                    <a:pt x="11351345" y="2638717"/>
                    <a:pt x="11417900" y="2638717"/>
                  </a:cubicBezTo>
                  <a:close/>
                  <a:moveTo>
                    <a:pt x="10906022" y="2638717"/>
                  </a:moveTo>
                  <a:cubicBezTo>
                    <a:pt x="10972576" y="2638717"/>
                    <a:pt x="11026530" y="2692670"/>
                    <a:pt x="11026530" y="2759225"/>
                  </a:cubicBezTo>
                  <a:cubicBezTo>
                    <a:pt x="11026530" y="2825780"/>
                    <a:pt x="10972576" y="2879734"/>
                    <a:pt x="10906022" y="2879734"/>
                  </a:cubicBezTo>
                  <a:cubicBezTo>
                    <a:pt x="10839467" y="2879734"/>
                    <a:pt x="10785513" y="2825780"/>
                    <a:pt x="10785513" y="2759225"/>
                  </a:cubicBezTo>
                  <a:cubicBezTo>
                    <a:pt x="10785513" y="2692670"/>
                    <a:pt x="10839467" y="2638717"/>
                    <a:pt x="10906022" y="2638717"/>
                  </a:cubicBezTo>
                  <a:close/>
                  <a:moveTo>
                    <a:pt x="10393956" y="2638717"/>
                  </a:moveTo>
                  <a:cubicBezTo>
                    <a:pt x="10460511" y="2638717"/>
                    <a:pt x="10514465" y="2692670"/>
                    <a:pt x="10514465" y="2759225"/>
                  </a:cubicBezTo>
                  <a:cubicBezTo>
                    <a:pt x="10514465" y="2825780"/>
                    <a:pt x="10460511" y="2879734"/>
                    <a:pt x="10393956" y="2879734"/>
                  </a:cubicBezTo>
                  <a:cubicBezTo>
                    <a:pt x="10327402" y="2879734"/>
                    <a:pt x="10273448" y="2825780"/>
                    <a:pt x="10273448" y="2759225"/>
                  </a:cubicBezTo>
                  <a:cubicBezTo>
                    <a:pt x="10273448" y="2692670"/>
                    <a:pt x="10327402" y="2638717"/>
                    <a:pt x="10393956" y="2638717"/>
                  </a:cubicBezTo>
                  <a:close/>
                  <a:moveTo>
                    <a:pt x="9882080" y="2638717"/>
                  </a:moveTo>
                  <a:cubicBezTo>
                    <a:pt x="9948634" y="2638717"/>
                    <a:pt x="10002588" y="2692670"/>
                    <a:pt x="10002588" y="2759225"/>
                  </a:cubicBezTo>
                  <a:cubicBezTo>
                    <a:pt x="10002588" y="2825780"/>
                    <a:pt x="9948634" y="2879734"/>
                    <a:pt x="9882080" y="2879734"/>
                  </a:cubicBezTo>
                  <a:cubicBezTo>
                    <a:pt x="9815525" y="2879734"/>
                    <a:pt x="9761571" y="2825780"/>
                    <a:pt x="9761571" y="2759225"/>
                  </a:cubicBezTo>
                  <a:cubicBezTo>
                    <a:pt x="9761571" y="2692670"/>
                    <a:pt x="9815525" y="2638717"/>
                    <a:pt x="9882080" y="2638717"/>
                  </a:cubicBezTo>
                  <a:close/>
                  <a:moveTo>
                    <a:pt x="9370013" y="2638717"/>
                  </a:moveTo>
                  <a:cubicBezTo>
                    <a:pt x="9436568" y="2638717"/>
                    <a:pt x="9490522" y="2692670"/>
                    <a:pt x="9490522" y="2759225"/>
                  </a:cubicBezTo>
                  <a:cubicBezTo>
                    <a:pt x="9490522" y="2825780"/>
                    <a:pt x="9436568" y="2879734"/>
                    <a:pt x="9370013" y="2879734"/>
                  </a:cubicBezTo>
                  <a:cubicBezTo>
                    <a:pt x="9303458" y="2879734"/>
                    <a:pt x="9249505" y="2825780"/>
                    <a:pt x="9249505" y="2759225"/>
                  </a:cubicBezTo>
                  <a:cubicBezTo>
                    <a:pt x="9249505" y="2692670"/>
                    <a:pt x="9303458" y="2638717"/>
                    <a:pt x="9370013" y="2638717"/>
                  </a:cubicBezTo>
                  <a:close/>
                  <a:moveTo>
                    <a:pt x="8858136" y="2638717"/>
                  </a:moveTo>
                  <a:cubicBezTo>
                    <a:pt x="8924691" y="2638717"/>
                    <a:pt x="8978645" y="2692670"/>
                    <a:pt x="8978645" y="2759225"/>
                  </a:cubicBezTo>
                  <a:cubicBezTo>
                    <a:pt x="8978645" y="2825780"/>
                    <a:pt x="8924691" y="2879734"/>
                    <a:pt x="8858136" y="2879734"/>
                  </a:cubicBezTo>
                  <a:cubicBezTo>
                    <a:pt x="8791581" y="2879734"/>
                    <a:pt x="8737628" y="2825780"/>
                    <a:pt x="8737628" y="2759225"/>
                  </a:cubicBezTo>
                  <a:cubicBezTo>
                    <a:pt x="8737628" y="2692670"/>
                    <a:pt x="8791581" y="2638717"/>
                    <a:pt x="8858136" y="2638717"/>
                  </a:cubicBezTo>
                  <a:close/>
                  <a:moveTo>
                    <a:pt x="8346070" y="2638717"/>
                  </a:moveTo>
                  <a:cubicBezTo>
                    <a:pt x="8412626" y="2638717"/>
                    <a:pt x="8466579" y="2692670"/>
                    <a:pt x="8466579" y="2759225"/>
                  </a:cubicBezTo>
                  <a:cubicBezTo>
                    <a:pt x="8466579" y="2825780"/>
                    <a:pt x="8412626" y="2879734"/>
                    <a:pt x="8346070" y="2879734"/>
                  </a:cubicBezTo>
                  <a:cubicBezTo>
                    <a:pt x="8279515" y="2879734"/>
                    <a:pt x="8225562" y="2825780"/>
                    <a:pt x="8225562" y="2759225"/>
                  </a:cubicBezTo>
                  <a:cubicBezTo>
                    <a:pt x="8225562" y="2692670"/>
                    <a:pt x="8279515" y="2638717"/>
                    <a:pt x="8346070" y="2638717"/>
                  </a:cubicBezTo>
                  <a:close/>
                  <a:moveTo>
                    <a:pt x="7834193" y="2638717"/>
                  </a:moveTo>
                  <a:cubicBezTo>
                    <a:pt x="7900748" y="2638717"/>
                    <a:pt x="7954702" y="2692670"/>
                    <a:pt x="7954702" y="2759225"/>
                  </a:cubicBezTo>
                  <a:cubicBezTo>
                    <a:pt x="7954702" y="2825780"/>
                    <a:pt x="7900748" y="2879734"/>
                    <a:pt x="7834193" y="2879734"/>
                  </a:cubicBezTo>
                  <a:cubicBezTo>
                    <a:pt x="7767638" y="2879734"/>
                    <a:pt x="7713685" y="2825780"/>
                    <a:pt x="7713685" y="2759225"/>
                  </a:cubicBezTo>
                  <a:cubicBezTo>
                    <a:pt x="7713685" y="2692670"/>
                    <a:pt x="7767638" y="2638717"/>
                    <a:pt x="7834193" y="2638717"/>
                  </a:cubicBezTo>
                  <a:close/>
                  <a:moveTo>
                    <a:pt x="7322127" y="2638717"/>
                  </a:moveTo>
                  <a:cubicBezTo>
                    <a:pt x="7388682" y="2638717"/>
                    <a:pt x="7442635" y="2692670"/>
                    <a:pt x="7442635" y="2759225"/>
                  </a:cubicBezTo>
                  <a:cubicBezTo>
                    <a:pt x="7442635" y="2825780"/>
                    <a:pt x="7388682" y="2879734"/>
                    <a:pt x="7322127" y="2879734"/>
                  </a:cubicBezTo>
                  <a:cubicBezTo>
                    <a:pt x="7255572" y="2879734"/>
                    <a:pt x="7201619" y="2825780"/>
                    <a:pt x="7201619" y="2759225"/>
                  </a:cubicBezTo>
                  <a:cubicBezTo>
                    <a:pt x="7201619" y="2692670"/>
                    <a:pt x="7255572" y="2638717"/>
                    <a:pt x="7322127" y="2638717"/>
                  </a:cubicBezTo>
                  <a:close/>
                  <a:moveTo>
                    <a:pt x="6810061" y="2638717"/>
                  </a:moveTo>
                  <a:cubicBezTo>
                    <a:pt x="6876616" y="2638717"/>
                    <a:pt x="6930570" y="2692670"/>
                    <a:pt x="6930570" y="2759225"/>
                  </a:cubicBezTo>
                  <a:cubicBezTo>
                    <a:pt x="6930570" y="2825780"/>
                    <a:pt x="6876616" y="2879734"/>
                    <a:pt x="6810061" y="2879734"/>
                  </a:cubicBezTo>
                  <a:cubicBezTo>
                    <a:pt x="6743506" y="2879734"/>
                    <a:pt x="6689553" y="2825780"/>
                    <a:pt x="6689553" y="2759225"/>
                  </a:cubicBezTo>
                  <a:cubicBezTo>
                    <a:pt x="6689553" y="2692670"/>
                    <a:pt x="6743506" y="2638717"/>
                    <a:pt x="6810061" y="2638717"/>
                  </a:cubicBezTo>
                  <a:close/>
                  <a:moveTo>
                    <a:pt x="6298184" y="2638717"/>
                  </a:moveTo>
                  <a:cubicBezTo>
                    <a:pt x="6364739" y="2638717"/>
                    <a:pt x="6418693" y="2692670"/>
                    <a:pt x="6418693" y="2759225"/>
                  </a:cubicBezTo>
                  <a:cubicBezTo>
                    <a:pt x="6418693" y="2825780"/>
                    <a:pt x="6364739" y="2879734"/>
                    <a:pt x="6298184" y="2879734"/>
                  </a:cubicBezTo>
                  <a:cubicBezTo>
                    <a:pt x="6231629" y="2879734"/>
                    <a:pt x="6177677" y="2825780"/>
                    <a:pt x="6177677" y="2759225"/>
                  </a:cubicBezTo>
                  <a:cubicBezTo>
                    <a:pt x="6177677" y="2692670"/>
                    <a:pt x="6231629" y="2638717"/>
                    <a:pt x="6298184" y="2638717"/>
                  </a:cubicBezTo>
                  <a:close/>
                  <a:moveTo>
                    <a:pt x="5786126" y="2638717"/>
                  </a:moveTo>
                  <a:cubicBezTo>
                    <a:pt x="5852678" y="2638717"/>
                    <a:pt x="5906628" y="2692670"/>
                    <a:pt x="5906628" y="2759225"/>
                  </a:cubicBezTo>
                  <a:cubicBezTo>
                    <a:pt x="5906628" y="2825780"/>
                    <a:pt x="5852678" y="2879734"/>
                    <a:pt x="5786126" y="2879734"/>
                  </a:cubicBezTo>
                  <a:cubicBezTo>
                    <a:pt x="5719573" y="2879734"/>
                    <a:pt x="5665623" y="2825780"/>
                    <a:pt x="5665623" y="2759225"/>
                  </a:cubicBezTo>
                  <a:cubicBezTo>
                    <a:pt x="5665623" y="2692670"/>
                    <a:pt x="5719573" y="2638717"/>
                    <a:pt x="5786126" y="2638717"/>
                  </a:cubicBezTo>
                  <a:close/>
                  <a:moveTo>
                    <a:pt x="5274270" y="2638717"/>
                  </a:moveTo>
                  <a:cubicBezTo>
                    <a:pt x="5340824" y="2638717"/>
                    <a:pt x="5394775" y="2692670"/>
                    <a:pt x="5394775" y="2759225"/>
                  </a:cubicBezTo>
                  <a:cubicBezTo>
                    <a:pt x="5394775" y="2825780"/>
                    <a:pt x="5340824" y="2879734"/>
                    <a:pt x="5274270" y="2879734"/>
                  </a:cubicBezTo>
                  <a:cubicBezTo>
                    <a:pt x="5207718" y="2879734"/>
                    <a:pt x="5153767" y="2825780"/>
                    <a:pt x="5153767" y="2759225"/>
                  </a:cubicBezTo>
                  <a:cubicBezTo>
                    <a:pt x="5153767" y="2692670"/>
                    <a:pt x="5207718" y="2638717"/>
                    <a:pt x="5274270" y="2638717"/>
                  </a:cubicBezTo>
                  <a:close/>
                  <a:moveTo>
                    <a:pt x="4762180" y="2638717"/>
                  </a:moveTo>
                  <a:cubicBezTo>
                    <a:pt x="4828758" y="2638717"/>
                    <a:pt x="4882728" y="2692670"/>
                    <a:pt x="4882728" y="2759225"/>
                  </a:cubicBezTo>
                  <a:cubicBezTo>
                    <a:pt x="4882728" y="2825780"/>
                    <a:pt x="4828758" y="2879734"/>
                    <a:pt x="4762180" y="2879734"/>
                  </a:cubicBezTo>
                  <a:cubicBezTo>
                    <a:pt x="4695639" y="2879734"/>
                    <a:pt x="4641689" y="2825780"/>
                    <a:pt x="4641689" y="2759225"/>
                  </a:cubicBezTo>
                  <a:cubicBezTo>
                    <a:pt x="4641689" y="2692670"/>
                    <a:pt x="4695639" y="2638717"/>
                    <a:pt x="4762180" y="2638717"/>
                  </a:cubicBezTo>
                  <a:close/>
                  <a:moveTo>
                    <a:pt x="4250316" y="2638717"/>
                  </a:moveTo>
                  <a:cubicBezTo>
                    <a:pt x="4316876" y="2638717"/>
                    <a:pt x="4370831" y="2692670"/>
                    <a:pt x="4370831" y="2759225"/>
                  </a:cubicBezTo>
                  <a:cubicBezTo>
                    <a:pt x="4370831" y="2825780"/>
                    <a:pt x="4316876" y="2879734"/>
                    <a:pt x="4250316" y="2879734"/>
                  </a:cubicBezTo>
                  <a:cubicBezTo>
                    <a:pt x="4183758" y="2879734"/>
                    <a:pt x="4129855" y="2825780"/>
                    <a:pt x="4129855" y="2759225"/>
                  </a:cubicBezTo>
                  <a:cubicBezTo>
                    <a:pt x="4129855" y="2692670"/>
                    <a:pt x="4183758" y="2638717"/>
                    <a:pt x="4250316" y="2638717"/>
                  </a:cubicBezTo>
                  <a:close/>
                  <a:moveTo>
                    <a:pt x="3738287" y="2638717"/>
                  </a:moveTo>
                  <a:cubicBezTo>
                    <a:pt x="3804840" y="2638717"/>
                    <a:pt x="3858795" y="2692670"/>
                    <a:pt x="3858795" y="2759225"/>
                  </a:cubicBezTo>
                  <a:cubicBezTo>
                    <a:pt x="3858795" y="2825780"/>
                    <a:pt x="3804840" y="2879734"/>
                    <a:pt x="3738287" y="2879734"/>
                  </a:cubicBezTo>
                  <a:cubicBezTo>
                    <a:pt x="3671724" y="2879734"/>
                    <a:pt x="3617773" y="2825780"/>
                    <a:pt x="3617773" y="2759225"/>
                  </a:cubicBezTo>
                  <a:cubicBezTo>
                    <a:pt x="3617773" y="2692670"/>
                    <a:pt x="3671724" y="2638717"/>
                    <a:pt x="3738287" y="2638717"/>
                  </a:cubicBezTo>
                  <a:close/>
                  <a:moveTo>
                    <a:pt x="3226242" y="2638717"/>
                  </a:moveTo>
                  <a:cubicBezTo>
                    <a:pt x="3292801" y="2638717"/>
                    <a:pt x="3346764" y="2692670"/>
                    <a:pt x="3346764" y="2759225"/>
                  </a:cubicBezTo>
                  <a:cubicBezTo>
                    <a:pt x="3346764" y="2825780"/>
                    <a:pt x="3292801" y="2879734"/>
                    <a:pt x="3226242" y="2879734"/>
                  </a:cubicBezTo>
                  <a:cubicBezTo>
                    <a:pt x="3159683" y="2879734"/>
                    <a:pt x="3105731" y="2825780"/>
                    <a:pt x="3105731" y="2759225"/>
                  </a:cubicBezTo>
                  <a:cubicBezTo>
                    <a:pt x="3105731" y="2692670"/>
                    <a:pt x="3159683" y="2638717"/>
                    <a:pt x="3226242" y="2638717"/>
                  </a:cubicBezTo>
                  <a:close/>
                  <a:moveTo>
                    <a:pt x="2714362" y="2638717"/>
                  </a:moveTo>
                  <a:cubicBezTo>
                    <a:pt x="2780917" y="2638717"/>
                    <a:pt x="2834873" y="2692670"/>
                    <a:pt x="2834873" y="2759225"/>
                  </a:cubicBezTo>
                  <a:cubicBezTo>
                    <a:pt x="2834873" y="2825780"/>
                    <a:pt x="2780917" y="2879734"/>
                    <a:pt x="2714362" y="2879734"/>
                  </a:cubicBezTo>
                  <a:cubicBezTo>
                    <a:pt x="2647808" y="2879734"/>
                    <a:pt x="2593854" y="2825780"/>
                    <a:pt x="2593854" y="2759225"/>
                  </a:cubicBezTo>
                  <a:cubicBezTo>
                    <a:pt x="2593854" y="2692670"/>
                    <a:pt x="2647808" y="2638717"/>
                    <a:pt x="2714362" y="2638717"/>
                  </a:cubicBezTo>
                  <a:close/>
                  <a:moveTo>
                    <a:pt x="2202306" y="2638717"/>
                  </a:moveTo>
                  <a:cubicBezTo>
                    <a:pt x="2268862" y="2638717"/>
                    <a:pt x="2322813" y="2692670"/>
                    <a:pt x="2322813" y="2759225"/>
                  </a:cubicBezTo>
                  <a:cubicBezTo>
                    <a:pt x="2322813" y="2825780"/>
                    <a:pt x="2268860" y="2879734"/>
                    <a:pt x="2202306" y="2879734"/>
                  </a:cubicBezTo>
                  <a:cubicBezTo>
                    <a:pt x="2135752" y="2879734"/>
                    <a:pt x="2081795" y="2825780"/>
                    <a:pt x="2081795" y="2759225"/>
                  </a:cubicBezTo>
                  <a:cubicBezTo>
                    <a:pt x="2081795" y="2692670"/>
                    <a:pt x="2135752" y="2638717"/>
                    <a:pt x="2202306" y="2638717"/>
                  </a:cubicBezTo>
                  <a:close/>
                  <a:moveTo>
                    <a:pt x="1690412" y="2638717"/>
                  </a:moveTo>
                  <a:cubicBezTo>
                    <a:pt x="1756967" y="2638717"/>
                    <a:pt x="1810920" y="2692670"/>
                    <a:pt x="1810920" y="2759225"/>
                  </a:cubicBezTo>
                  <a:cubicBezTo>
                    <a:pt x="1810920" y="2825780"/>
                    <a:pt x="1756967" y="2879734"/>
                    <a:pt x="1690412" y="2879734"/>
                  </a:cubicBezTo>
                  <a:cubicBezTo>
                    <a:pt x="1623857" y="2879734"/>
                    <a:pt x="1569905" y="2825780"/>
                    <a:pt x="1569905" y="2759225"/>
                  </a:cubicBezTo>
                  <a:cubicBezTo>
                    <a:pt x="1569905" y="2692670"/>
                    <a:pt x="1623857" y="2638717"/>
                    <a:pt x="1690412" y="2638717"/>
                  </a:cubicBezTo>
                  <a:close/>
                  <a:moveTo>
                    <a:pt x="1178354" y="2638717"/>
                  </a:moveTo>
                  <a:cubicBezTo>
                    <a:pt x="1244908" y="2638717"/>
                    <a:pt x="1298862" y="2692670"/>
                    <a:pt x="1298862" y="2759225"/>
                  </a:cubicBezTo>
                  <a:cubicBezTo>
                    <a:pt x="1298862" y="2825780"/>
                    <a:pt x="1244908" y="2879734"/>
                    <a:pt x="1178354" y="2879734"/>
                  </a:cubicBezTo>
                  <a:cubicBezTo>
                    <a:pt x="1111799" y="2879734"/>
                    <a:pt x="1057846" y="2825780"/>
                    <a:pt x="1057846" y="2759225"/>
                  </a:cubicBezTo>
                  <a:cubicBezTo>
                    <a:pt x="1057846" y="2692670"/>
                    <a:pt x="1111799" y="2638717"/>
                    <a:pt x="1178354" y="2638717"/>
                  </a:cubicBezTo>
                  <a:close/>
                  <a:moveTo>
                    <a:pt x="666483" y="2638717"/>
                  </a:moveTo>
                  <a:cubicBezTo>
                    <a:pt x="733037" y="2638717"/>
                    <a:pt x="786991" y="2692670"/>
                    <a:pt x="786991" y="2759225"/>
                  </a:cubicBezTo>
                  <a:cubicBezTo>
                    <a:pt x="786991" y="2825780"/>
                    <a:pt x="733037" y="2879734"/>
                    <a:pt x="666483" y="2879734"/>
                  </a:cubicBezTo>
                  <a:cubicBezTo>
                    <a:pt x="599928" y="2879734"/>
                    <a:pt x="545976" y="2825780"/>
                    <a:pt x="545976" y="2759225"/>
                  </a:cubicBezTo>
                  <a:cubicBezTo>
                    <a:pt x="545976" y="2692670"/>
                    <a:pt x="599928" y="2638717"/>
                    <a:pt x="666483" y="2638717"/>
                  </a:cubicBezTo>
                  <a:close/>
                  <a:moveTo>
                    <a:pt x="154426" y="2638717"/>
                  </a:moveTo>
                  <a:cubicBezTo>
                    <a:pt x="220980" y="2638717"/>
                    <a:pt x="274934" y="2692670"/>
                    <a:pt x="274934" y="2759225"/>
                  </a:cubicBezTo>
                  <a:cubicBezTo>
                    <a:pt x="274934" y="2825780"/>
                    <a:pt x="220980" y="2879734"/>
                    <a:pt x="154426" y="2879734"/>
                  </a:cubicBezTo>
                  <a:cubicBezTo>
                    <a:pt x="87871" y="2879734"/>
                    <a:pt x="33919" y="2825780"/>
                    <a:pt x="33919" y="2759225"/>
                  </a:cubicBezTo>
                  <a:cubicBezTo>
                    <a:pt x="33919" y="2692670"/>
                    <a:pt x="87871" y="2638717"/>
                    <a:pt x="154426" y="2638717"/>
                  </a:cubicBezTo>
                  <a:close/>
                  <a:moveTo>
                    <a:pt x="11929965" y="2198994"/>
                  </a:moveTo>
                  <a:cubicBezTo>
                    <a:pt x="11988591" y="2198994"/>
                    <a:pt x="12036118" y="2246520"/>
                    <a:pt x="12036118" y="2305147"/>
                  </a:cubicBezTo>
                  <a:cubicBezTo>
                    <a:pt x="12036118" y="2363774"/>
                    <a:pt x="11988591" y="2411300"/>
                    <a:pt x="11929965" y="2411300"/>
                  </a:cubicBezTo>
                  <a:cubicBezTo>
                    <a:pt x="11871339" y="2411300"/>
                    <a:pt x="11823812" y="2363774"/>
                    <a:pt x="11823812" y="2305147"/>
                  </a:cubicBezTo>
                  <a:cubicBezTo>
                    <a:pt x="11823812" y="2246520"/>
                    <a:pt x="11871339" y="2198994"/>
                    <a:pt x="11929965" y="2198994"/>
                  </a:cubicBezTo>
                  <a:close/>
                  <a:moveTo>
                    <a:pt x="11417900" y="2198994"/>
                  </a:moveTo>
                  <a:cubicBezTo>
                    <a:pt x="11476527" y="2198994"/>
                    <a:pt x="11524053" y="2246520"/>
                    <a:pt x="11524053" y="2305147"/>
                  </a:cubicBezTo>
                  <a:cubicBezTo>
                    <a:pt x="11524053" y="2363774"/>
                    <a:pt x="11476527" y="2411300"/>
                    <a:pt x="11417900" y="2411300"/>
                  </a:cubicBezTo>
                  <a:cubicBezTo>
                    <a:pt x="11359274" y="2411300"/>
                    <a:pt x="11311747" y="2363774"/>
                    <a:pt x="11311747" y="2305147"/>
                  </a:cubicBezTo>
                  <a:cubicBezTo>
                    <a:pt x="11311747" y="2246520"/>
                    <a:pt x="11359274" y="2198994"/>
                    <a:pt x="11417900" y="2198994"/>
                  </a:cubicBezTo>
                  <a:close/>
                  <a:moveTo>
                    <a:pt x="10906023" y="2198994"/>
                  </a:moveTo>
                  <a:cubicBezTo>
                    <a:pt x="10964649" y="2198994"/>
                    <a:pt x="11012176" y="2246520"/>
                    <a:pt x="11012176" y="2305147"/>
                  </a:cubicBezTo>
                  <a:cubicBezTo>
                    <a:pt x="11012176" y="2363774"/>
                    <a:pt x="10964649" y="2411300"/>
                    <a:pt x="10906023" y="2411300"/>
                  </a:cubicBezTo>
                  <a:cubicBezTo>
                    <a:pt x="10847396" y="2411300"/>
                    <a:pt x="10799870" y="2363774"/>
                    <a:pt x="10799870" y="2305147"/>
                  </a:cubicBezTo>
                  <a:cubicBezTo>
                    <a:pt x="10799870" y="2246520"/>
                    <a:pt x="10847396" y="2198994"/>
                    <a:pt x="10906023" y="2198994"/>
                  </a:cubicBezTo>
                  <a:close/>
                  <a:moveTo>
                    <a:pt x="10393957" y="2198994"/>
                  </a:moveTo>
                  <a:cubicBezTo>
                    <a:pt x="10452583" y="2198994"/>
                    <a:pt x="10500110" y="2246520"/>
                    <a:pt x="10500110" y="2305147"/>
                  </a:cubicBezTo>
                  <a:cubicBezTo>
                    <a:pt x="10500110" y="2363774"/>
                    <a:pt x="10452583" y="2411300"/>
                    <a:pt x="10393957" y="2411300"/>
                  </a:cubicBezTo>
                  <a:cubicBezTo>
                    <a:pt x="10335331" y="2411300"/>
                    <a:pt x="10287804" y="2363774"/>
                    <a:pt x="10287804" y="2305147"/>
                  </a:cubicBezTo>
                  <a:cubicBezTo>
                    <a:pt x="10287804" y="2246520"/>
                    <a:pt x="10335331" y="2198994"/>
                    <a:pt x="10393957" y="2198994"/>
                  </a:cubicBezTo>
                  <a:close/>
                  <a:moveTo>
                    <a:pt x="9882079" y="2198994"/>
                  </a:moveTo>
                  <a:cubicBezTo>
                    <a:pt x="9940706" y="2198994"/>
                    <a:pt x="9988232" y="2246520"/>
                    <a:pt x="9988232" y="2305147"/>
                  </a:cubicBezTo>
                  <a:cubicBezTo>
                    <a:pt x="9988232" y="2363774"/>
                    <a:pt x="9940706" y="2411300"/>
                    <a:pt x="9882079" y="2411300"/>
                  </a:cubicBezTo>
                  <a:cubicBezTo>
                    <a:pt x="9823453" y="2411300"/>
                    <a:pt x="9775926" y="2363774"/>
                    <a:pt x="9775926" y="2305147"/>
                  </a:cubicBezTo>
                  <a:cubicBezTo>
                    <a:pt x="9775926" y="2246520"/>
                    <a:pt x="9823453" y="2198994"/>
                    <a:pt x="9882079" y="2198994"/>
                  </a:cubicBezTo>
                  <a:close/>
                  <a:moveTo>
                    <a:pt x="9370014" y="2198994"/>
                  </a:moveTo>
                  <a:cubicBezTo>
                    <a:pt x="9428568" y="2198994"/>
                    <a:pt x="9476167" y="2246593"/>
                    <a:pt x="9476167" y="2305147"/>
                  </a:cubicBezTo>
                  <a:cubicBezTo>
                    <a:pt x="9476167" y="2363701"/>
                    <a:pt x="9428568" y="2411300"/>
                    <a:pt x="9370014" y="2411300"/>
                  </a:cubicBezTo>
                  <a:cubicBezTo>
                    <a:pt x="9311460" y="2411300"/>
                    <a:pt x="9263861" y="2363701"/>
                    <a:pt x="9263861" y="2305147"/>
                  </a:cubicBezTo>
                  <a:cubicBezTo>
                    <a:pt x="9263861" y="2246593"/>
                    <a:pt x="9311460" y="2198994"/>
                    <a:pt x="9370014" y="2198994"/>
                  </a:cubicBezTo>
                  <a:close/>
                  <a:moveTo>
                    <a:pt x="8858136" y="2198994"/>
                  </a:moveTo>
                  <a:cubicBezTo>
                    <a:pt x="8916763" y="2198994"/>
                    <a:pt x="8964289" y="2246520"/>
                    <a:pt x="8964289" y="2305147"/>
                  </a:cubicBezTo>
                  <a:cubicBezTo>
                    <a:pt x="8964289" y="2363774"/>
                    <a:pt x="8916762" y="2411300"/>
                    <a:pt x="8858136" y="2411300"/>
                  </a:cubicBezTo>
                  <a:cubicBezTo>
                    <a:pt x="8799509" y="2411300"/>
                    <a:pt x="8751983" y="2363774"/>
                    <a:pt x="8751983" y="2305147"/>
                  </a:cubicBezTo>
                  <a:cubicBezTo>
                    <a:pt x="8751983" y="2246520"/>
                    <a:pt x="8799510" y="2198994"/>
                    <a:pt x="8858136" y="2198994"/>
                  </a:cubicBezTo>
                  <a:close/>
                  <a:moveTo>
                    <a:pt x="8346071" y="2198994"/>
                  </a:moveTo>
                  <a:cubicBezTo>
                    <a:pt x="8404698" y="2198994"/>
                    <a:pt x="8452224" y="2246520"/>
                    <a:pt x="8452224" y="2305147"/>
                  </a:cubicBezTo>
                  <a:cubicBezTo>
                    <a:pt x="8452224" y="2363774"/>
                    <a:pt x="8404698" y="2411300"/>
                    <a:pt x="8346071" y="2411300"/>
                  </a:cubicBezTo>
                  <a:cubicBezTo>
                    <a:pt x="8287444" y="2411300"/>
                    <a:pt x="8239918" y="2363774"/>
                    <a:pt x="8239918" y="2305147"/>
                  </a:cubicBezTo>
                  <a:cubicBezTo>
                    <a:pt x="8239918" y="2246520"/>
                    <a:pt x="8287445" y="2198994"/>
                    <a:pt x="8346071" y="2198994"/>
                  </a:cubicBezTo>
                  <a:close/>
                  <a:moveTo>
                    <a:pt x="7834194" y="2198994"/>
                  </a:moveTo>
                  <a:cubicBezTo>
                    <a:pt x="7892748" y="2198994"/>
                    <a:pt x="7940347" y="2246593"/>
                    <a:pt x="7940347" y="2305147"/>
                  </a:cubicBezTo>
                  <a:cubicBezTo>
                    <a:pt x="7940347" y="2363701"/>
                    <a:pt x="7892748" y="2411300"/>
                    <a:pt x="7834194" y="2411300"/>
                  </a:cubicBezTo>
                  <a:cubicBezTo>
                    <a:pt x="7775640" y="2411300"/>
                    <a:pt x="7728041" y="2363701"/>
                    <a:pt x="7728041" y="2305147"/>
                  </a:cubicBezTo>
                  <a:cubicBezTo>
                    <a:pt x="7728041" y="2246593"/>
                    <a:pt x="7775640" y="2198994"/>
                    <a:pt x="7834194" y="2198994"/>
                  </a:cubicBezTo>
                  <a:close/>
                  <a:moveTo>
                    <a:pt x="7322128" y="2198994"/>
                  </a:moveTo>
                  <a:cubicBezTo>
                    <a:pt x="7380755" y="2198994"/>
                    <a:pt x="7428281" y="2246520"/>
                    <a:pt x="7428281" y="2305147"/>
                  </a:cubicBezTo>
                  <a:cubicBezTo>
                    <a:pt x="7428281" y="2363774"/>
                    <a:pt x="7380755" y="2411300"/>
                    <a:pt x="7322128" y="2411300"/>
                  </a:cubicBezTo>
                  <a:cubicBezTo>
                    <a:pt x="7263501" y="2411300"/>
                    <a:pt x="7215975" y="2363774"/>
                    <a:pt x="7215975" y="2305147"/>
                  </a:cubicBezTo>
                  <a:cubicBezTo>
                    <a:pt x="7215975" y="2246520"/>
                    <a:pt x="7263502" y="2198994"/>
                    <a:pt x="7322128" y="2198994"/>
                  </a:cubicBezTo>
                  <a:close/>
                  <a:moveTo>
                    <a:pt x="6810062" y="2198994"/>
                  </a:moveTo>
                  <a:cubicBezTo>
                    <a:pt x="6868689" y="2198994"/>
                    <a:pt x="6916215" y="2246520"/>
                    <a:pt x="6916215" y="2305147"/>
                  </a:cubicBezTo>
                  <a:cubicBezTo>
                    <a:pt x="6916215" y="2363774"/>
                    <a:pt x="6868688" y="2411300"/>
                    <a:pt x="6810062" y="2411300"/>
                  </a:cubicBezTo>
                  <a:cubicBezTo>
                    <a:pt x="6751435" y="2411300"/>
                    <a:pt x="6703909" y="2363774"/>
                    <a:pt x="6703909" y="2305147"/>
                  </a:cubicBezTo>
                  <a:cubicBezTo>
                    <a:pt x="6703909" y="2246520"/>
                    <a:pt x="6751436" y="2198994"/>
                    <a:pt x="6810062" y="2198994"/>
                  </a:cubicBezTo>
                  <a:close/>
                  <a:moveTo>
                    <a:pt x="6298186" y="2198994"/>
                  </a:moveTo>
                  <a:cubicBezTo>
                    <a:pt x="6356812" y="2198994"/>
                    <a:pt x="6404338" y="2246520"/>
                    <a:pt x="6404338" y="2305147"/>
                  </a:cubicBezTo>
                  <a:cubicBezTo>
                    <a:pt x="6404338" y="2363774"/>
                    <a:pt x="6356812" y="2411300"/>
                    <a:pt x="6298186" y="2411300"/>
                  </a:cubicBezTo>
                  <a:cubicBezTo>
                    <a:pt x="6239558" y="2411300"/>
                    <a:pt x="6192032" y="2363774"/>
                    <a:pt x="6192032" y="2305147"/>
                  </a:cubicBezTo>
                  <a:cubicBezTo>
                    <a:pt x="6192032" y="2246520"/>
                    <a:pt x="6239559" y="2198994"/>
                    <a:pt x="6298186" y="2198994"/>
                  </a:cubicBezTo>
                  <a:close/>
                  <a:moveTo>
                    <a:pt x="5786126" y="2198994"/>
                  </a:moveTo>
                  <a:cubicBezTo>
                    <a:pt x="5844751" y="2198994"/>
                    <a:pt x="5892275" y="2246520"/>
                    <a:pt x="5892275" y="2305147"/>
                  </a:cubicBezTo>
                  <a:cubicBezTo>
                    <a:pt x="5892275" y="2363774"/>
                    <a:pt x="5844751" y="2411300"/>
                    <a:pt x="5786126" y="2411300"/>
                  </a:cubicBezTo>
                  <a:cubicBezTo>
                    <a:pt x="5727502" y="2411300"/>
                    <a:pt x="5679979" y="2363774"/>
                    <a:pt x="5679979" y="2305147"/>
                  </a:cubicBezTo>
                  <a:cubicBezTo>
                    <a:pt x="5679979" y="2246520"/>
                    <a:pt x="5727502" y="2198994"/>
                    <a:pt x="5786126" y="2198994"/>
                  </a:cubicBezTo>
                  <a:close/>
                  <a:moveTo>
                    <a:pt x="5274270" y="2198994"/>
                  </a:moveTo>
                  <a:cubicBezTo>
                    <a:pt x="5332896" y="2198994"/>
                    <a:pt x="5380420" y="2246520"/>
                    <a:pt x="5380420" y="2305147"/>
                  </a:cubicBezTo>
                  <a:cubicBezTo>
                    <a:pt x="5380420" y="2363774"/>
                    <a:pt x="5332895" y="2411300"/>
                    <a:pt x="5274270" y="2411300"/>
                  </a:cubicBezTo>
                  <a:cubicBezTo>
                    <a:pt x="5215644" y="2411300"/>
                    <a:pt x="5168119" y="2363774"/>
                    <a:pt x="5168119" y="2305147"/>
                  </a:cubicBezTo>
                  <a:cubicBezTo>
                    <a:pt x="5168119" y="2246520"/>
                    <a:pt x="5215645" y="2198994"/>
                    <a:pt x="5274270" y="2198994"/>
                  </a:cubicBezTo>
                  <a:close/>
                  <a:moveTo>
                    <a:pt x="4762180" y="2198994"/>
                  </a:moveTo>
                  <a:cubicBezTo>
                    <a:pt x="4820832" y="2198994"/>
                    <a:pt x="4868369" y="2246520"/>
                    <a:pt x="4868369" y="2305147"/>
                  </a:cubicBezTo>
                  <a:cubicBezTo>
                    <a:pt x="4868369" y="2363774"/>
                    <a:pt x="4820832" y="2411300"/>
                    <a:pt x="4762180" y="2411300"/>
                  </a:cubicBezTo>
                  <a:cubicBezTo>
                    <a:pt x="4703568" y="2411300"/>
                    <a:pt x="4656043" y="2363774"/>
                    <a:pt x="4656043" y="2305147"/>
                  </a:cubicBezTo>
                  <a:cubicBezTo>
                    <a:pt x="4656043" y="2246520"/>
                    <a:pt x="4703568" y="2198994"/>
                    <a:pt x="4762180" y="2198994"/>
                  </a:cubicBezTo>
                  <a:close/>
                  <a:moveTo>
                    <a:pt x="4250316" y="2198994"/>
                  </a:moveTo>
                  <a:cubicBezTo>
                    <a:pt x="4308947" y="2198994"/>
                    <a:pt x="4356476" y="2246520"/>
                    <a:pt x="4356476" y="2305147"/>
                  </a:cubicBezTo>
                  <a:cubicBezTo>
                    <a:pt x="4356476" y="2363774"/>
                    <a:pt x="4308947" y="2411300"/>
                    <a:pt x="4250316" y="2411300"/>
                  </a:cubicBezTo>
                  <a:cubicBezTo>
                    <a:pt x="4191688" y="2411300"/>
                    <a:pt x="4144156" y="2363774"/>
                    <a:pt x="4144156" y="2305147"/>
                  </a:cubicBezTo>
                  <a:cubicBezTo>
                    <a:pt x="4144156" y="2246520"/>
                    <a:pt x="4191688" y="2198994"/>
                    <a:pt x="4250316" y="2198994"/>
                  </a:cubicBezTo>
                  <a:close/>
                  <a:moveTo>
                    <a:pt x="3738289" y="2198994"/>
                  </a:moveTo>
                  <a:cubicBezTo>
                    <a:pt x="3796911" y="2198994"/>
                    <a:pt x="3844442" y="2246520"/>
                    <a:pt x="3844442" y="2305147"/>
                  </a:cubicBezTo>
                  <a:cubicBezTo>
                    <a:pt x="3844442" y="2363774"/>
                    <a:pt x="3796911" y="2411300"/>
                    <a:pt x="3738289" y="2411300"/>
                  </a:cubicBezTo>
                  <a:cubicBezTo>
                    <a:pt x="3679655" y="2411300"/>
                    <a:pt x="3632128" y="2363774"/>
                    <a:pt x="3632128" y="2305147"/>
                  </a:cubicBezTo>
                  <a:cubicBezTo>
                    <a:pt x="3632128" y="2246520"/>
                    <a:pt x="3679655" y="2198994"/>
                    <a:pt x="3738289" y="2198994"/>
                  </a:cubicBezTo>
                  <a:close/>
                  <a:moveTo>
                    <a:pt x="3226242" y="2198994"/>
                  </a:moveTo>
                  <a:cubicBezTo>
                    <a:pt x="3284873" y="2198994"/>
                    <a:pt x="3332405" y="2246520"/>
                    <a:pt x="3332405" y="2305147"/>
                  </a:cubicBezTo>
                  <a:cubicBezTo>
                    <a:pt x="3332405" y="2363774"/>
                    <a:pt x="3284873" y="2411300"/>
                    <a:pt x="3226242" y="2411300"/>
                  </a:cubicBezTo>
                  <a:cubicBezTo>
                    <a:pt x="3167617" y="2411300"/>
                    <a:pt x="3120089" y="2363774"/>
                    <a:pt x="3120089" y="2305147"/>
                  </a:cubicBezTo>
                  <a:cubicBezTo>
                    <a:pt x="3120089" y="2246520"/>
                    <a:pt x="3167617" y="2198994"/>
                    <a:pt x="3226242" y="2198994"/>
                  </a:cubicBezTo>
                  <a:close/>
                  <a:moveTo>
                    <a:pt x="2714363" y="2198994"/>
                  </a:moveTo>
                  <a:cubicBezTo>
                    <a:pt x="2772989" y="2198994"/>
                    <a:pt x="2820518" y="2246520"/>
                    <a:pt x="2820518" y="2305147"/>
                  </a:cubicBezTo>
                  <a:cubicBezTo>
                    <a:pt x="2820518" y="2363774"/>
                    <a:pt x="2772989" y="2411300"/>
                    <a:pt x="2714363" y="2411300"/>
                  </a:cubicBezTo>
                  <a:cubicBezTo>
                    <a:pt x="2655735" y="2411300"/>
                    <a:pt x="2608208" y="2363774"/>
                    <a:pt x="2608208" y="2305147"/>
                  </a:cubicBezTo>
                  <a:cubicBezTo>
                    <a:pt x="2608208" y="2246520"/>
                    <a:pt x="2655735" y="2198994"/>
                    <a:pt x="2714363" y="2198994"/>
                  </a:cubicBezTo>
                  <a:close/>
                  <a:moveTo>
                    <a:pt x="2202306" y="2198994"/>
                  </a:moveTo>
                  <a:cubicBezTo>
                    <a:pt x="2260932" y="2198994"/>
                    <a:pt x="2308457" y="2246520"/>
                    <a:pt x="2308457" y="2305147"/>
                  </a:cubicBezTo>
                  <a:cubicBezTo>
                    <a:pt x="2308457" y="2363774"/>
                    <a:pt x="2260932" y="2411300"/>
                    <a:pt x="2202306" y="2411300"/>
                  </a:cubicBezTo>
                  <a:cubicBezTo>
                    <a:pt x="2143679" y="2411300"/>
                    <a:pt x="2096153" y="2363774"/>
                    <a:pt x="2096153" y="2305147"/>
                  </a:cubicBezTo>
                  <a:cubicBezTo>
                    <a:pt x="2096153" y="2246520"/>
                    <a:pt x="2143679" y="2198994"/>
                    <a:pt x="2202306" y="2198994"/>
                  </a:cubicBezTo>
                  <a:close/>
                  <a:moveTo>
                    <a:pt x="1690413" y="2198994"/>
                  </a:moveTo>
                  <a:cubicBezTo>
                    <a:pt x="1749039" y="2198994"/>
                    <a:pt x="1796565" y="2246520"/>
                    <a:pt x="1796565" y="2305147"/>
                  </a:cubicBezTo>
                  <a:cubicBezTo>
                    <a:pt x="1796565" y="2363774"/>
                    <a:pt x="1749039" y="2411300"/>
                    <a:pt x="1690413" y="2411300"/>
                  </a:cubicBezTo>
                  <a:cubicBezTo>
                    <a:pt x="1631786" y="2411300"/>
                    <a:pt x="1584260" y="2363774"/>
                    <a:pt x="1584260" y="2305147"/>
                  </a:cubicBezTo>
                  <a:cubicBezTo>
                    <a:pt x="1584260" y="2246520"/>
                    <a:pt x="1631786" y="2198994"/>
                    <a:pt x="1690413" y="2198994"/>
                  </a:cubicBezTo>
                  <a:close/>
                  <a:moveTo>
                    <a:pt x="1178353" y="2198994"/>
                  </a:moveTo>
                  <a:cubicBezTo>
                    <a:pt x="1236980" y="2198994"/>
                    <a:pt x="1284506" y="2246520"/>
                    <a:pt x="1284506" y="2305147"/>
                  </a:cubicBezTo>
                  <a:cubicBezTo>
                    <a:pt x="1284506" y="2363774"/>
                    <a:pt x="1236980" y="2411300"/>
                    <a:pt x="1178353" y="2411300"/>
                  </a:cubicBezTo>
                  <a:cubicBezTo>
                    <a:pt x="1119727" y="2411300"/>
                    <a:pt x="1072201" y="2363774"/>
                    <a:pt x="1072201" y="2305147"/>
                  </a:cubicBezTo>
                  <a:cubicBezTo>
                    <a:pt x="1072201" y="2246520"/>
                    <a:pt x="1119727" y="2198994"/>
                    <a:pt x="1178353" y="2198994"/>
                  </a:cubicBezTo>
                  <a:close/>
                  <a:moveTo>
                    <a:pt x="666483" y="2198994"/>
                  </a:moveTo>
                  <a:cubicBezTo>
                    <a:pt x="725110" y="2198994"/>
                    <a:pt x="772636" y="2246520"/>
                    <a:pt x="772636" y="2305147"/>
                  </a:cubicBezTo>
                  <a:cubicBezTo>
                    <a:pt x="772636" y="2363774"/>
                    <a:pt x="725110" y="2411300"/>
                    <a:pt x="666483" y="2411300"/>
                  </a:cubicBezTo>
                  <a:cubicBezTo>
                    <a:pt x="607857" y="2411300"/>
                    <a:pt x="560331" y="2363774"/>
                    <a:pt x="560331" y="2305147"/>
                  </a:cubicBezTo>
                  <a:cubicBezTo>
                    <a:pt x="560331" y="2246520"/>
                    <a:pt x="607857" y="2198994"/>
                    <a:pt x="666483" y="2198994"/>
                  </a:cubicBezTo>
                  <a:close/>
                  <a:moveTo>
                    <a:pt x="154426" y="2198994"/>
                  </a:moveTo>
                  <a:cubicBezTo>
                    <a:pt x="213052" y="2198994"/>
                    <a:pt x="260578" y="2246520"/>
                    <a:pt x="260578" y="2305147"/>
                  </a:cubicBezTo>
                  <a:cubicBezTo>
                    <a:pt x="260578" y="2363774"/>
                    <a:pt x="213052" y="2411300"/>
                    <a:pt x="154426" y="2411300"/>
                  </a:cubicBezTo>
                  <a:cubicBezTo>
                    <a:pt x="95799" y="2411300"/>
                    <a:pt x="48274" y="2363774"/>
                    <a:pt x="48274" y="2305147"/>
                  </a:cubicBezTo>
                  <a:cubicBezTo>
                    <a:pt x="48274" y="2246520"/>
                    <a:pt x="95799" y="2198994"/>
                    <a:pt x="154426" y="2198994"/>
                  </a:cubicBezTo>
                  <a:close/>
                  <a:moveTo>
                    <a:pt x="11929966" y="1759082"/>
                  </a:moveTo>
                  <a:cubicBezTo>
                    <a:pt x="11980769" y="1759082"/>
                    <a:pt x="12021952" y="1800266"/>
                    <a:pt x="12021952" y="1851069"/>
                  </a:cubicBezTo>
                  <a:cubicBezTo>
                    <a:pt x="12021952" y="1901872"/>
                    <a:pt x="11980769" y="1943055"/>
                    <a:pt x="11929966" y="1943055"/>
                  </a:cubicBezTo>
                  <a:cubicBezTo>
                    <a:pt x="11879163" y="1943055"/>
                    <a:pt x="11837979" y="1901872"/>
                    <a:pt x="11837979" y="1851069"/>
                  </a:cubicBezTo>
                  <a:cubicBezTo>
                    <a:pt x="11837979" y="1800266"/>
                    <a:pt x="11879163" y="1759082"/>
                    <a:pt x="11929966" y="1759082"/>
                  </a:cubicBezTo>
                  <a:close/>
                  <a:moveTo>
                    <a:pt x="11417900" y="1759082"/>
                  </a:moveTo>
                  <a:cubicBezTo>
                    <a:pt x="11468703" y="1759082"/>
                    <a:pt x="11509887" y="1800266"/>
                    <a:pt x="11509887" y="1851069"/>
                  </a:cubicBezTo>
                  <a:cubicBezTo>
                    <a:pt x="11509887" y="1901872"/>
                    <a:pt x="11468703" y="1943055"/>
                    <a:pt x="11417900" y="1943055"/>
                  </a:cubicBezTo>
                  <a:cubicBezTo>
                    <a:pt x="11367097" y="1943055"/>
                    <a:pt x="11325913" y="1901872"/>
                    <a:pt x="11325913" y="1851069"/>
                  </a:cubicBezTo>
                  <a:cubicBezTo>
                    <a:pt x="11325913" y="1800266"/>
                    <a:pt x="11367097" y="1759082"/>
                    <a:pt x="11417900" y="1759082"/>
                  </a:cubicBezTo>
                  <a:close/>
                  <a:moveTo>
                    <a:pt x="10906023" y="1759082"/>
                  </a:moveTo>
                  <a:cubicBezTo>
                    <a:pt x="10956826" y="1759082"/>
                    <a:pt x="10998010" y="1800266"/>
                    <a:pt x="10998010" y="1851069"/>
                  </a:cubicBezTo>
                  <a:cubicBezTo>
                    <a:pt x="10998010" y="1901872"/>
                    <a:pt x="10956826" y="1943055"/>
                    <a:pt x="10906023" y="1943055"/>
                  </a:cubicBezTo>
                  <a:cubicBezTo>
                    <a:pt x="10855220" y="1943055"/>
                    <a:pt x="10814037" y="1901872"/>
                    <a:pt x="10814037" y="1851069"/>
                  </a:cubicBezTo>
                  <a:cubicBezTo>
                    <a:pt x="10814037" y="1800266"/>
                    <a:pt x="10855220" y="1759082"/>
                    <a:pt x="10906023" y="1759082"/>
                  </a:cubicBezTo>
                  <a:close/>
                  <a:moveTo>
                    <a:pt x="10393957" y="1759082"/>
                  </a:moveTo>
                  <a:cubicBezTo>
                    <a:pt x="10444760" y="1759082"/>
                    <a:pt x="10485943" y="1800266"/>
                    <a:pt x="10485943" y="1851069"/>
                  </a:cubicBezTo>
                  <a:cubicBezTo>
                    <a:pt x="10485943" y="1901872"/>
                    <a:pt x="10444760" y="1943055"/>
                    <a:pt x="10393957" y="1943055"/>
                  </a:cubicBezTo>
                  <a:cubicBezTo>
                    <a:pt x="10343153" y="1943055"/>
                    <a:pt x="10301970" y="1901872"/>
                    <a:pt x="10301970" y="1851069"/>
                  </a:cubicBezTo>
                  <a:cubicBezTo>
                    <a:pt x="10301970" y="1800266"/>
                    <a:pt x="10343153" y="1759082"/>
                    <a:pt x="10393957" y="1759082"/>
                  </a:cubicBezTo>
                  <a:close/>
                  <a:moveTo>
                    <a:pt x="9882080" y="1759082"/>
                  </a:moveTo>
                  <a:cubicBezTo>
                    <a:pt x="9932883" y="1759082"/>
                    <a:pt x="9974067" y="1800266"/>
                    <a:pt x="9974067" y="1851069"/>
                  </a:cubicBezTo>
                  <a:cubicBezTo>
                    <a:pt x="9974067" y="1901872"/>
                    <a:pt x="9932883" y="1943055"/>
                    <a:pt x="9882080" y="1943055"/>
                  </a:cubicBezTo>
                  <a:cubicBezTo>
                    <a:pt x="9831277" y="1943055"/>
                    <a:pt x="9790093" y="1901872"/>
                    <a:pt x="9790093" y="1851069"/>
                  </a:cubicBezTo>
                  <a:cubicBezTo>
                    <a:pt x="9790093" y="1800266"/>
                    <a:pt x="9831277" y="1759082"/>
                    <a:pt x="9882080" y="1759082"/>
                  </a:cubicBezTo>
                  <a:close/>
                  <a:moveTo>
                    <a:pt x="9370014" y="1759082"/>
                  </a:moveTo>
                  <a:cubicBezTo>
                    <a:pt x="9420824" y="1759082"/>
                    <a:pt x="9462000" y="1800259"/>
                    <a:pt x="9462000" y="1851069"/>
                  </a:cubicBezTo>
                  <a:cubicBezTo>
                    <a:pt x="9462000" y="1901879"/>
                    <a:pt x="9420824" y="1943055"/>
                    <a:pt x="9370014" y="1943055"/>
                  </a:cubicBezTo>
                  <a:cubicBezTo>
                    <a:pt x="9319204" y="1943055"/>
                    <a:pt x="9278027" y="1901879"/>
                    <a:pt x="9278027" y="1851069"/>
                  </a:cubicBezTo>
                  <a:cubicBezTo>
                    <a:pt x="9278027" y="1800259"/>
                    <a:pt x="9319204" y="1759082"/>
                    <a:pt x="9370014" y="1759082"/>
                  </a:cubicBezTo>
                  <a:close/>
                  <a:moveTo>
                    <a:pt x="8858137" y="1759082"/>
                  </a:moveTo>
                  <a:cubicBezTo>
                    <a:pt x="8908940" y="1759082"/>
                    <a:pt x="8950123" y="1800266"/>
                    <a:pt x="8950123" y="1851069"/>
                  </a:cubicBezTo>
                  <a:cubicBezTo>
                    <a:pt x="8950123" y="1901872"/>
                    <a:pt x="8908940" y="1943055"/>
                    <a:pt x="8858137" y="1943055"/>
                  </a:cubicBezTo>
                  <a:cubicBezTo>
                    <a:pt x="8807334" y="1943055"/>
                    <a:pt x="8766150" y="1901872"/>
                    <a:pt x="8766150" y="1851069"/>
                  </a:cubicBezTo>
                  <a:cubicBezTo>
                    <a:pt x="8766150" y="1800266"/>
                    <a:pt x="8807334" y="1759082"/>
                    <a:pt x="8858137" y="1759082"/>
                  </a:cubicBezTo>
                  <a:close/>
                  <a:moveTo>
                    <a:pt x="8346071" y="1759082"/>
                  </a:moveTo>
                  <a:cubicBezTo>
                    <a:pt x="8396874" y="1759082"/>
                    <a:pt x="8438058" y="1800266"/>
                    <a:pt x="8438058" y="1851069"/>
                  </a:cubicBezTo>
                  <a:cubicBezTo>
                    <a:pt x="8438058" y="1901872"/>
                    <a:pt x="8396874" y="1943055"/>
                    <a:pt x="8346071" y="1943055"/>
                  </a:cubicBezTo>
                  <a:cubicBezTo>
                    <a:pt x="8295268" y="1943055"/>
                    <a:pt x="8254084" y="1901872"/>
                    <a:pt x="8254084" y="1851069"/>
                  </a:cubicBezTo>
                  <a:cubicBezTo>
                    <a:pt x="8254084" y="1800266"/>
                    <a:pt x="8295268" y="1759082"/>
                    <a:pt x="8346071" y="1759082"/>
                  </a:cubicBezTo>
                  <a:close/>
                  <a:moveTo>
                    <a:pt x="7834005" y="1759082"/>
                  </a:moveTo>
                  <a:cubicBezTo>
                    <a:pt x="7884815" y="1759082"/>
                    <a:pt x="7925992" y="1800259"/>
                    <a:pt x="7925992" y="1851069"/>
                  </a:cubicBezTo>
                  <a:cubicBezTo>
                    <a:pt x="7925992" y="1901879"/>
                    <a:pt x="7884815" y="1943055"/>
                    <a:pt x="7834005" y="1943055"/>
                  </a:cubicBezTo>
                  <a:cubicBezTo>
                    <a:pt x="7783195" y="1943055"/>
                    <a:pt x="7742018" y="1901879"/>
                    <a:pt x="7742018" y="1851069"/>
                  </a:cubicBezTo>
                  <a:cubicBezTo>
                    <a:pt x="7742018" y="1800259"/>
                    <a:pt x="7783195" y="1759082"/>
                    <a:pt x="7834005" y="1759082"/>
                  </a:cubicBezTo>
                  <a:close/>
                  <a:moveTo>
                    <a:pt x="7322128" y="1759082"/>
                  </a:moveTo>
                  <a:cubicBezTo>
                    <a:pt x="7372931" y="1759082"/>
                    <a:pt x="7414115" y="1800266"/>
                    <a:pt x="7414115" y="1851069"/>
                  </a:cubicBezTo>
                  <a:cubicBezTo>
                    <a:pt x="7414115" y="1901872"/>
                    <a:pt x="7372931" y="1943055"/>
                    <a:pt x="7322128" y="1943055"/>
                  </a:cubicBezTo>
                  <a:cubicBezTo>
                    <a:pt x="7271325" y="1943055"/>
                    <a:pt x="7230141" y="1901872"/>
                    <a:pt x="7230141" y="1851069"/>
                  </a:cubicBezTo>
                  <a:cubicBezTo>
                    <a:pt x="7230141" y="1800266"/>
                    <a:pt x="7271325" y="1759082"/>
                    <a:pt x="7322128" y="1759082"/>
                  </a:cubicBezTo>
                  <a:close/>
                  <a:moveTo>
                    <a:pt x="6810062" y="1759082"/>
                  </a:moveTo>
                  <a:cubicBezTo>
                    <a:pt x="6860865" y="1759082"/>
                    <a:pt x="6902048" y="1800266"/>
                    <a:pt x="6902048" y="1851069"/>
                  </a:cubicBezTo>
                  <a:cubicBezTo>
                    <a:pt x="6902048" y="1901872"/>
                    <a:pt x="6860865" y="1943055"/>
                    <a:pt x="6810062" y="1943055"/>
                  </a:cubicBezTo>
                  <a:cubicBezTo>
                    <a:pt x="6759259" y="1943055"/>
                    <a:pt x="6718075" y="1901872"/>
                    <a:pt x="6718075" y="1851069"/>
                  </a:cubicBezTo>
                  <a:cubicBezTo>
                    <a:pt x="6718075" y="1800266"/>
                    <a:pt x="6759259" y="1759082"/>
                    <a:pt x="6810062" y="1759082"/>
                  </a:cubicBezTo>
                  <a:close/>
                  <a:moveTo>
                    <a:pt x="6298186" y="1759082"/>
                  </a:moveTo>
                  <a:cubicBezTo>
                    <a:pt x="6348988" y="1759082"/>
                    <a:pt x="6390172" y="1800266"/>
                    <a:pt x="6390172" y="1851069"/>
                  </a:cubicBezTo>
                  <a:cubicBezTo>
                    <a:pt x="6390172" y="1901872"/>
                    <a:pt x="6348988" y="1943055"/>
                    <a:pt x="6298186" y="1943055"/>
                  </a:cubicBezTo>
                  <a:cubicBezTo>
                    <a:pt x="6247383" y="1943055"/>
                    <a:pt x="6206198" y="1901872"/>
                    <a:pt x="6206198" y="1851069"/>
                  </a:cubicBezTo>
                  <a:cubicBezTo>
                    <a:pt x="6206198" y="1800266"/>
                    <a:pt x="6247383" y="1759082"/>
                    <a:pt x="6298186" y="1759082"/>
                  </a:cubicBezTo>
                  <a:close/>
                  <a:moveTo>
                    <a:pt x="5786126" y="1759082"/>
                  </a:moveTo>
                  <a:cubicBezTo>
                    <a:pt x="5836927" y="1759082"/>
                    <a:pt x="5878110" y="1800266"/>
                    <a:pt x="5878110" y="1851069"/>
                  </a:cubicBezTo>
                  <a:cubicBezTo>
                    <a:pt x="5878110" y="1901872"/>
                    <a:pt x="5836927" y="1943055"/>
                    <a:pt x="5786126" y="1943055"/>
                  </a:cubicBezTo>
                  <a:cubicBezTo>
                    <a:pt x="5735326" y="1943055"/>
                    <a:pt x="5694144" y="1901872"/>
                    <a:pt x="5694144" y="1851069"/>
                  </a:cubicBezTo>
                  <a:cubicBezTo>
                    <a:pt x="5694144" y="1800266"/>
                    <a:pt x="5735326" y="1759082"/>
                    <a:pt x="5786126" y="1759082"/>
                  </a:cubicBezTo>
                  <a:close/>
                  <a:moveTo>
                    <a:pt x="5274270" y="1759082"/>
                  </a:moveTo>
                  <a:cubicBezTo>
                    <a:pt x="5325073" y="1759082"/>
                    <a:pt x="5366255" y="1800266"/>
                    <a:pt x="5366255" y="1851069"/>
                  </a:cubicBezTo>
                  <a:cubicBezTo>
                    <a:pt x="5366255" y="1901872"/>
                    <a:pt x="5325073" y="1943055"/>
                    <a:pt x="5274270" y="1943055"/>
                  </a:cubicBezTo>
                  <a:cubicBezTo>
                    <a:pt x="5223463" y="1943055"/>
                    <a:pt x="5182283" y="1901872"/>
                    <a:pt x="5182283" y="1851069"/>
                  </a:cubicBezTo>
                  <a:cubicBezTo>
                    <a:pt x="5182283" y="1800266"/>
                    <a:pt x="5223463" y="1759082"/>
                    <a:pt x="5274270" y="1759082"/>
                  </a:cubicBezTo>
                  <a:close/>
                  <a:moveTo>
                    <a:pt x="4762180" y="1759082"/>
                  </a:moveTo>
                  <a:cubicBezTo>
                    <a:pt x="4813000" y="1759082"/>
                    <a:pt x="4854198" y="1800266"/>
                    <a:pt x="4854198" y="1851069"/>
                  </a:cubicBezTo>
                  <a:cubicBezTo>
                    <a:pt x="4854198" y="1901872"/>
                    <a:pt x="4813000" y="1943055"/>
                    <a:pt x="4762180" y="1943055"/>
                  </a:cubicBezTo>
                  <a:cubicBezTo>
                    <a:pt x="4711390" y="1943055"/>
                    <a:pt x="4670207" y="1901872"/>
                    <a:pt x="4670207" y="1851069"/>
                  </a:cubicBezTo>
                  <a:cubicBezTo>
                    <a:pt x="4670207" y="1800266"/>
                    <a:pt x="4711390" y="1759082"/>
                    <a:pt x="4762180" y="1759082"/>
                  </a:cubicBezTo>
                  <a:close/>
                  <a:moveTo>
                    <a:pt x="4250316" y="1759082"/>
                  </a:moveTo>
                  <a:cubicBezTo>
                    <a:pt x="4301123" y="1759082"/>
                    <a:pt x="4342309" y="1800266"/>
                    <a:pt x="4342309" y="1851069"/>
                  </a:cubicBezTo>
                  <a:cubicBezTo>
                    <a:pt x="4342309" y="1901872"/>
                    <a:pt x="4301123" y="1943055"/>
                    <a:pt x="4250316" y="1943055"/>
                  </a:cubicBezTo>
                  <a:cubicBezTo>
                    <a:pt x="4199512" y="1943055"/>
                    <a:pt x="4158324" y="1901872"/>
                    <a:pt x="4158324" y="1851069"/>
                  </a:cubicBezTo>
                  <a:cubicBezTo>
                    <a:pt x="4158324" y="1800266"/>
                    <a:pt x="4199512" y="1759082"/>
                    <a:pt x="4250316" y="1759082"/>
                  </a:cubicBezTo>
                  <a:close/>
                  <a:moveTo>
                    <a:pt x="3738289" y="1759082"/>
                  </a:moveTo>
                  <a:cubicBezTo>
                    <a:pt x="3789088" y="1759082"/>
                    <a:pt x="3830274" y="1800266"/>
                    <a:pt x="3830274" y="1851069"/>
                  </a:cubicBezTo>
                  <a:cubicBezTo>
                    <a:pt x="3830274" y="1901872"/>
                    <a:pt x="3789088" y="1943055"/>
                    <a:pt x="3738289" y="1943055"/>
                  </a:cubicBezTo>
                  <a:cubicBezTo>
                    <a:pt x="3687479" y="1943055"/>
                    <a:pt x="3646291" y="1901872"/>
                    <a:pt x="3646291" y="1851069"/>
                  </a:cubicBezTo>
                  <a:cubicBezTo>
                    <a:pt x="3646291" y="1800266"/>
                    <a:pt x="3687479" y="1759082"/>
                    <a:pt x="3738289" y="1759082"/>
                  </a:cubicBezTo>
                  <a:close/>
                  <a:moveTo>
                    <a:pt x="3226242" y="1759082"/>
                  </a:moveTo>
                  <a:cubicBezTo>
                    <a:pt x="3277050" y="1759082"/>
                    <a:pt x="3318235" y="1800266"/>
                    <a:pt x="3318235" y="1851069"/>
                  </a:cubicBezTo>
                  <a:cubicBezTo>
                    <a:pt x="3318235" y="1901872"/>
                    <a:pt x="3277050" y="1943055"/>
                    <a:pt x="3226242" y="1943055"/>
                  </a:cubicBezTo>
                  <a:cubicBezTo>
                    <a:pt x="3175434" y="1943055"/>
                    <a:pt x="3134252" y="1901872"/>
                    <a:pt x="3134252" y="1851069"/>
                  </a:cubicBezTo>
                  <a:cubicBezTo>
                    <a:pt x="3134252" y="1800266"/>
                    <a:pt x="3175434" y="1759082"/>
                    <a:pt x="3226242" y="1759082"/>
                  </a:cubicBezTo>
                  <a:close/>
                  <a:moveTo>
                    <a:pt x="2714363" y="1759082"/>
                  </a:moveTo>
                  <a:cubicBezTo>
                    <a:pt x="2765166" y="1759082"/>
                    <a:pt x="2806350" y="1800266"/>
                    <a:pt x="2806350" y="1851069"/>
                  </a:cubicBezTo>
                  <a:cubicBezTo>
                    <a:pt x="2806350" y="1901872"/>
                    <a:pt x="2765166" y="1943055"/>
                    <a:pt x="2714363" y="1943055"/>
                  </a:cubicBezTo>
                  <a:cubicBezTo>
                    <a:pt x="2663558" y="1943055"/>
                    <a:pt x="2622376" y="1901872"/>
                    <a:pt x="2622376" y="1851069"/>
                  </a:cubicBezTo>
                  <a:cubicBezTo>
                    <a:pt x="2622376" y="1800266"/>
                    <a:pt x="2663558" y="1759082"/>
                    <a:pt x="2714363" y="1759082"/>
                  </a:cubicBezTo>
                  <a:close/>
                  <a:moveTo>
                    <a:pt x="2202305" y="1759082"/>
                  </a:moveTo>
                  <a:cubicBezTo>
                    <a:pt x="2253108" y="1759082"/>
                    <a:pt x="2294291" y="1800266"/>
                    <a:pt x="2294291" y="1851069"/>
                  </a:cubicBezTo>
                  <a:cubicBezTo>
                    <a:pt x="2294291" y="1901872"/>
                    <a:pt x="2253108" y="1943055"/>
                    <a:pt x="2202305" y="1943055"/>
                  </a:cubicBezTo>
                  <a:cubicBezTo>
                    <a:pt x="2151502" y="1943055"/>
                    <a:pt x="2110320" y="1901872"/>
                    <a:pt x="2110320" y="1851069"/>
                  </a:cubicBezTo>
                  <a:cubicBezTo>
                    <a:pt x="2110320" y="1800266"/>
                    <a:pt x="2151502" y="1759082"/>
                    <a:pt x="2202305" y="1759082"/>
                  </a:cubicBezTo>
                  <a:close/>
                  <a:moveTo>
                    <a:pt x="1690412" y="1759082"/>
                  </a:moveTo>
                  <a:cubicBezTo>
                    <a:pt x="1741215" y="1759082"/>
                    <a:pt x="1782398" y="1800266"/>
                    <a:pt x="1782398" y="1851069"/>
                  </a:cubicBezTo>
                  <a:cubicBezTo>
                    <a:pt x="1782398" y="1901872"/>
                    <a:pt x="1741215" y="1943055"/>
                    <a:pt x="1690412" y="1943055"/>
                  </a:cubicBezTo>
                  <a:cubicBezTo>
                    <a:pt x="1639610" y="1943055"/>
                    <a:pt x="1598426" y="1901872"/>
                    <a:pt x="1598426" y="1851069"/>
                  </a:cubicBezTo>
                  <a:cubicBezTo>
                    <a:pt x="1598426" y="1800266"/>
                    <a:pt x="1639610" y="1759082"/>
                    <a:pt x="1690412" y="1759082"/>
                  </a:cubicBezTo>
                  <a:close/>
                  <a:moveTo>
                    <a:pt x="1178353" y="1759082"/>
                  </a:moveTo>
                  <a:cubicBezTo>
                    <a:pt x="1229156" y="1759082"/>
                    <a:pt x="1270339" y="1800266"/>
                    <a:pt x="1270339" y="1851069"/>
                  </a:cubicBezTo>
                  <a:cubicBezTo>
                    <a:pt x="1270339" y="1901872"/>
                    <a:pt x="1229156" y="1943055"/>
                    <a:pt x="1178353" y="1943055"/>
                  </a:cubicBezTo>
                  <a:cubicBezTo>
                    <a:pt x="1127551" y="1943055"/>
                    <a:pt x="1086367" y="1901872"/>
                    <a:pt x="1086367" y="1851069"/>
                  </a:cubicBezTo>
                  <a:cubicBezTo>
                    <a:pt x="1086367" y="1800266"/>
                    <a:pt x="1127551" y="1759082"/>
                    <a:pt x="1178353" y="1759082"/>
                  </a:cubicBezTo>
                  <a:close/>
                  <a:moveTo>
                    <a:pt x="666483" y="1759082"/>
                  </a:moveTo>
                  <a:cubicBezTo>
                    <a:pt x="717286" y="1759082"/>
                    <a:pt x="758469" y="1800266"/>
                    <a:pt x="758469" y="1851069"/>
                  </a:cubicBezTo>
                  <a:cubicBezTo>
                    <a:pt x="758469" y="1901872"/>
                    <a:pt x="717286" y="1943055"/>
                    <a:pt x="666483" y="1943055"/>
                  </a:cubicBezTo>
                  <a:cubicBezTo>
                    <a:pt x="615681" y="1943055"/>
                    <a:pt x="574497" y="1901872"/>
                    <a:pt x="574497" y="1851069"/>
                  </a:cubicBezTo>
                  <a:cubicBezTo>
                    <a:pt x="574497" y="1800266"/>
                    <a:pt x="615681" y="1759082"/>
                    <a:pt x="666483" y="1759082"/>
                  </a:cubicBezTo>
                  <a:close/>
                  <a:moveTo>
                    <a:pt x="154424" y="1759082"/>
                  </a:moveTo>
                  <a:cubicBezTo>
                    <a:pt x="205227" y="1759082"/>
                    <a:pt x="246411" y="1800266"/>
                    <a:pt x="246411" y="1851069"/>
                  </a:cubicBezTo>
                  <a:cubicBezTo>
                    <a:pt x="246411" y="1901872"/>
                    <a:pt x="205227" y="1943055"/>
                    <a:pt x="154424" y="1943055"/>
                  </a:cubicBezTo>
                  <a:cubicBezTo>
                    <a:pt x="103622" y="1943055"/>
                    <a:pt x="62438" y="1901872"/>
                    <a:pt x="62438" y="1851069"/>
                  </a:cubicBezTo>
                  <a:cubicBezTo>
                    <a:pt x="62438" y="1800266"/>
                    <a:pt x="103622" y="1759082"/>
                    <a:pt x="154424" y="1759082"/>
                  </a:cubicBezTo>
                  <a:close/>
                  <a:moveTo>
                    <a:pt x="11929965" y="1319549"/>
                  </a:moveTo>
                  <a:cubicBezTo>
                    <a:pt x="11972840" y="1319549"/>
                    <a:pt x="12007597" y="1354306"/>
                    <a:pt x="12007597" y="1397181"/>
                  </a:cubicBezTo>
                  <a:cubicBezTo>
                    <a:pt x="12007597" y="1440054"/>
                    <a:pt x="11972840" y="1474811"/>
                    <a:pt x="11929965" y="1474811"/>
                  </a:cubicBezTo>
                  <a:cubicBezTo>
                    <a:pt x="11887091" y="1474811"/>
                    <a:pt x="11852334" y="1440054"/>
                    <a:pt x="11852334" y="1397181"/>
                  </a:cubicBezTo>
                  <a:cubicBezTo>
                    <a:pt x="11852334" y="1354306"/>
                    <a:pt x="11887091" y="1319549"/>
                    <a:pt x="11929965" y="1319549"/>
                  </a:cubicBezTo>
                  <a:close/>
                  <a:moveTo>
                    <a:pt x="11417900" y="1319549"/>
                  </a:moveTo>
                  <a:cubicBezTo>
                    <a:pt x="11460775" y="1319549"/>
                    <a:pt x="11495531" y="1354306"/>
                    <a:pt x="11495531" y="1397181"/>
                  </a:cubicBezTo>
                  <a:cubicBezTo>
                    <a:pt x="11495531" y="1440054"/>
                    <a:pt x="11460775" y="1474811"/>
                    <a:pt x="11417900" y="1474811"/>
                  </a:cubicBezTo>
                  <a:cubicBezTo>
                    <a:pt x="11375025" y="1474811"/>
                    <a:pt x="11340268" y="1440054"/>
                    <a:pt x="11340268" y="1397181"/>
                  </a:cubicBezTo>
                  <a:cubicBezTo>
                    <a:pt x="11340268" y="1354306"/>
                    <a:pt x="11375025" y="1319549"/>
                    <a:pt x="11417900" y="1319549"/>
                  </a:cubicBezTo>
                  <a:close/>
                  <a:moveTo>
                    <a:pt x="10906023" y="1319549"/>
                  </a:moveTo>
                  <a:cubicBezTo>
                    <a:pt x="10948898" y="1319549"/>
                    <a:pt x="10983654" y="1354306"/>
                    <a:pt x="10983654" y="1397181"/>
                  </a:cubicBezTo>
                  <a:cubicBezTo>
                    <a:pt x="10983654" y="1440054"/>
                    <a:pt x="10948898" y="1474811"/>
                    <a:pt x="10906023" y="1474811"/>
                  </a:cubicBezTo>
                  <a:cubicBezTo>
                    <a:pt x="10863148" y="1474811"/>
                    <a:pt x="10828392" y="1440054"/>
                    <a:pt x="10828392" y="1397181"/>
                  </a:cubicBezTo>
                  <a:cubicBezTo>
                    <a:pt x="10828392" y="1354306"/>
                    <a:pt x="10863148" y="1319549"/>
                    <a:pt x="10906023" y="1319549"/>
                  </a:cubicBezTo>
                  <a:close/>
                  <a:moveTo>
                    <a:pt x="10393956" y="1319549"/>
                  </a:moveTo>
                  <a:cubicBezTo>
                    <a:pt x="10436831" y="1319549"/>
                    <a:pt x="10471588" y="1354306"/>
                    <a:pt x="10471588" y="1397181"/>
                  </a:cubicBezTo>
                  <a:cubicBezTo>
                    <a:pt x="10471588" y="1440054"/>
                    <a:pt x="10436831" y="1474811"/>
                    <a:pt x="10393956" y="1474811"/>
                  </a:cubicBezTo>
                  <a:cubicBezTo>
                    <a:pt x="10351081" y="1474811"/>
                    <a:pt x="10316325" y="1440054"/>
                    <a:pt x="10316325" y="1397181"/>
                  </a:cubicBezTo>
                  <a:cubicBezTo>
                    <a:pt x="10316325" y="1354306"/>
                    <a:pt x="10351081" y="1319549"/>
                    <a:pt x="10393956" y="1319549"/>
                  </a:cubicBezTo>
                  <a:close/>
                  <a:moveTo>
                    <a:pt x="9882080" y="1319549"/>
                  </a:moveTo>
                  <a:cubicBezTo>
                    <a:pt x="9924955" y="1319549"/>
                    <a:pt x="9959711" y="1354306"/>
                    <a:pt x="9959711" y="1397181"/>
                  </a:cubicBezTo>
                  <a:cubicBezTo>
                    <a:pt x="9959711" y="1440054"/>
                    <a:pt x="9924955" y="1474811"/>
                    <a:pt x="9882080" y="1474811"/>
                  </a:cubicBezTo>
                  <a:cubicBezTo>
                    <a:pt x="9839205" y="1474811"/>
                    <a:pt x="9804449" y="1440054"/>
                    <a:pt x="9804449" y="1397181"/>
                  </a:cubicBezTo>
                  <a:cubicBezTo>
                    <a:pt x="9804449" y="1354306"/>
                    <a:pt x="9839205" y="1319549"/>
                    <a:pt x="9882080" y="1319549"/>
                  </a:cubicBezTo>
                  <a:close/>
                  <a:moveTo>
                    <a:pt x="9370013" y="1319549"/>
                  </a:moveTo>
                  <a:cubicBezTo>
                    <a:pt x="9412890" y="1319549"/>
                    <a:pt x="9447645" y="1354303"/>
                    <a:pt x="9447645" y="1397181"/>
                  </a:cubicBezTo>
                  <a:cubicBezTo>
                    <a:pt x="9447645" y="1440056"/>
                    <a:pt x="9412890" y="1474811"/>
                    <a:pt x="9370013" y="1474811"/>
                  </a:cubicBezTo>
                  <a:cubicBezTo>
                    <a:pt x="9327137" y="1474811"/>
                    <a:pt x="9292382" y="1440056"/>
                    <a:pt x="9292382" y="1397181"/>
                  </a:cubicBezTo>
                  <a:cubicBezTo>
                    <a:pt x="9292382" y="1354303"/>
                    <a:pt x="9327137" y="1319549"/>
                    <a:pt x="9370013" y="1319549"/>
                  </a:cubicBezTo>
                  <a:close/>
                  <a:moveTo>
                    <a:pt x="8858136" y="1319549"/>
                  </a:moveTo>
                  <a:cubicBezTo>
                    <a:pt x="8901013" y="1319549"/>
                    <a:pt x="8935768" y="1354303"/>
                    <a:pt x="8935768" y="1397181"/>
                  </a:cubicBezTo>
                  <a:cubicBezTo>
                    <a:pt x="8935768" y="1440056"/>
                    <a:pt x="8901013" y="1474811"/>
                    <a:pt x="8858136" y="1474811"/>
                  </a:cubicBezTo>
                  <a:cubicBezTo>
                    <a:pt x="8815260" y="1474811"/>
                    <a:pt x="8780505" y="1440056"/>
                    <a:pt x="8780505" y="1397181"/>
                  </a:cubicBezTo>
                  <a:cubicBezTo>
                    <a:pt x="8780505" y="1354303"/>
                    <a:pt x="8815260" y="1319549"/>
                    <a:pt x="8858136" y="1319549"/>
                  </a:cubicBezTo>
                  <a:close/>
                  <a:moveTo>
                    <a:pt x="8346071" y="1319549"/>
                  </a:moveTo>
                  <a:cubicBezTo>
                    <a:pt x="8388947" y="1319549"/>
                    <a:pt x="8423702" y="1354303"/>
                    <a:pt x="8423702" y="1397181"/>
                  </a:cubicBezTo>
                  <a:cubicBezTo>
                    <a:pt x="8423702" y="1440056"/>
                    <a:pt x="8388947" y="1474811"/>
                    <a:pt x="8346071" y="1474811"/>
                  </a:cubicBezTo>
                  <a:cubicBezTo>
                    <a:pt x="8303194" y="1474811"/>
                    <a:pt x="8268439" y="1440056"/>
                    <a:pt x="8268439" y="1397181"/>
                  </a:cubicBezTo>
                  <a:cubicBezTo>
                    <a:pt x="8268439" y="1354303"/>
                    <a:pt x="8303194" y="1319549"/>
                    <a:pt x="8346071" y="1319549"/>
                  </a:cubicBezTo>
                  <a:close/>
                  <a:moveTo>
                    <a:pt x="7834193" y="1319549"/>
                  </a:moveTo>
                  <a:cubicBezTo>
                    <a:pt x="7877070" y="1319549"/>
                    <a:pt x="7911825" y="1354303"/>
                    <a:pt x="7911825" y="1397181"/>
                  </a:cubicBezTo>
                  <a:cubicBezTo>
                    <a:pt x="7911825" y="1440056"/>
                    <a:pt x="7877070" y="1474811"/>
                    <a:pt x="7834193" y="1474811"/>
                  </a:cubicBezTo>
                  <a:cubicBezTo>
                    <a:pt x="7791317" y="1474811"/>
                    <a:pt x="7756562" y="1440056"/>
                    <a:pt x="7756562" y="1397181"/>
                  </a:cubicBezTo>
                  <a:cubicBezTo>
                    <a:pt x="7756562" y="1354303"/>
                    <a:pt x="7791317" y="1319549"/>
                    <a:pt x="7834193" y="1319549"/>
                  </a:cubicBezTo>
                  <a:close/>
                  <a:moveTo>
                    <a:pt x="7322128" y="1319549"/>
                  </a:moveTo>
                  <a:cubicBezTo>
                    <a:pt x="7365004" y="1319549"/>
                    <a:pt x="7399759" y="1354303"/>
                    <a:pt x="7399759" y="1397181"/>
                  </a:cubicBezTo>
                  <a:cubicBezTo>
                    <a:pt x="7399759" y="1440056"/>
                    <a:pt x="7365004" y="1474811"/>
                    <a:pt x="7322128" y="1474811"/>
                  </a:cubicBezTo>
                  <a:cubicBezTo>
                    <a:pt x="7279251" y="1474811"/>
                    <a:pt x="7244496" y="1440056"/>
                    <a:pt x="7244496" y="1397181"/>
                  </a:cubicBezTo>
                  <a:cubicBezTo>
                    <a:pt x="7244496" y="1354303"/>
                    <a:pt x="7279251" y="1319549"/>
                    <a:pt x="7322128" y="1319549"/>
                  </a:cubicBezTo>
                  <a:close/>
                  <a:moveTo>
                    <a:pt x="6810251" y="1319549"/>
                  </a:moveTo>
                  <a:cubicBezTo>
                    <a:pt x="6853127" y="1319549"/>
                    <a:pt x="6887882" y="1354303"/>
                    <a:pt x="6887882" y="1397181"/>
                  </a:cubicBezTo>
                  <a:cubicBezTo>
                    <a:pt x="6887882" y="1440056"/>
                    <a:pt x="6853127" y="1474811"/>
                    <a:pt x="6810251" y="1474811"/>
                  </a:cubicBezTo>
                  <a:cubicBezTo>
                    <a:pt x="6767374" y="1474811"/>
                    <a:pt x="6732619" y="1440056"/>
                    <a:pt x="6732619" y="1397181"/>
                  </a:cubicBezTo>
                  <a:cubicBezTo>
                    <a:pt x="6732619" y="1354303"/>
                    <a:pt x="6767374" y="1319549"/>
                    <a:pt x="6810251" y="1319549"/>
                  </a:cubicBezTo>
                  <a:close/>
                  <a:moveTo>
                    <a:pt x="6298184" y="1319549"/>
                  </a:moveTo>
                  <a:cubicBezTo>
                    <a:pt x="6341061" y="1319549"/>
                    <a:pt x="6375816" y="1354303"/>
                    <a:pt x="6375816" y="1397181"/>
                  </a:cubicBezTo>
                  <a:cubicBezTo>
                    <a:pt x="6375816" y="1440056"/>
                    <a:pt x="6341061" y="1474811"/>
                    <a:pt x="6298184" y="1474811"/>
                  </a:cubicBezTo>
                  <a:cubicBezTo>
                    <a:pt x="6255309" y="1474811"/>
                    <a:pt x="6220554" y="1440056"/>
                    <a:pt x="6220554" y="1397181"/>
                  </a:cubicBezTo>
                  <a:cubicBezTo>
                    <a:pt x="6220554" y="1354303"/>
                    <a:pt x="6255309" y="1319549"/>
                    <a:pt x="6298184" y="1319549"/>
                  </a:cubicBezTo>
                  <a:close/>
                  <a:moveTo>
                    <a:pt x="5786126" y="1319549"/>
                  </a:moveTo>
                  <a:cubicBezTo>
                    <a:pt x="5829001" y="1319549"/>
                    <a:pt x="5863754" y="1354303"/>
                    <a:pt x="5863754" y="1397181"/>
                  </a:cubicBezTo>
                  <a:cubicBezTo>
                    <a:pt x="5863754" y="1440056"/>
                    <a:pt x="5829001" y="1474811"/>
                    <a:pt x="5786126" y="1474811"/>
                  </a:cubicBezTo>
                  <a:cubicBezTo>
                    <a:pt x="5743252" y="1474811"/>
                    <a:pt x="5708497" y="1440056"/>
                    <a:pt x="5708497" y="1397181"/>
                  </a:cubicBezTo>
                  <a:cubicBezTo>
                    <a:pt x="5708497" y="1354303"/>
                    <a:pt x="5743252" y="1319549"/>
                    <a:pt x="5786126" y="1319549"/>
                  </a:cubicBezTo>
                  <a:close/>
                  <a:moveTo>
                    <a:pt x="5274270" y="1319549"/>
                  </a:moveTo>
                  <a:cubicBezTo>
                    <a:pt x="5317143" y="1319549"/>
                    <a:pt x="5351901" y="1354306"/>
                    <a:pt x="5351901" y="1397181"/>
                  </a:cubicBezTo>
                  <a:cubicBezTo>
                    <a:pt x="5351901" y="1440054"/>
                    <a:pt x="5317143" y="1474811"/>
                    <a:pt x="5274270" y="1474811"/>
                  </a:cubicBezTo>
                  <a:cubicBezTo>
                    <a:pt x="5231396" y="1474811"/>
                    <a:pt x="5196640" y="1440054"/>
                    <a:pt x="5196640" y="1397181"/>
                  </a:cubicBezTo>
                  <a:cubicBezTo>
                    <a:pt x="5196640" y="1354306"/>
                    <a:pt x="5231396" y="1319549"/>
                    <a:pt x="5274270" y="1319549"/>
                  </a:cubicBezTo>
                  <a:close/>
                  <a:moveTo>
                    <a:pt x="4762180" y="1319549"/>
                  </a:moveTo>
                  <a:cubicBezTo>
                    <a:pt x="4805070" y="1319549"/>
                    <a:pt x="4839836" y="1354306"/>
                    <a:pt x="4839836" y="1397181"/>
                  </a:cubicBezTo>
                  <a:cubicBezTo>
                    <a:pt x="4839836" y="1440054"/>
                    <a:pt x="4805070" y="1474811"/>
                    <a:pt x="4762180" y="1474811"/>
                  </a:cubicBezTo>
                  <a:cubicBezTo>
                    <a:pt x="4719317" y="1474811"/>
                    <a:pt x="4684568" y="1440054"/>
                    <a:pt x="4684568" y="1397181"/>
                  </a:cubicBezTo>
                  <a:cubicBezTo>
                    <a:pt x="4684568" y="1354306"/>
                    <a:pt x="4719317" y="1319549"/>
                    <a:pt x="4762180" y="1319549"/>
                  </a:cubicBezTo>
                  <a:close/>
                  <a:moveTo>
                    <a:pt x="4250316" y="1319549"/>
                  </a:moveTo>
                  <a:cubicBezTo>
                    <a:pt x="4293194" y="1319549"/>
                    <a:pt x="4327952" y="1354306"/>
                    <a:pt x="4327952" y="1397181"/>
                  </a:cubicBezTo>
                  <a:cubicBezTo>
                    <a:pt x="4327952" y="1440054"/>
                    <a:pt x="4293194" y="1474811"/>
                    <a:pt x="4250316" y="1474811"/>
                  </a:cubicBezTo>
                  <a:cubicBezTo>
                    <a:pt x="4207439" y="1474811"/>
                    <a:pt x="4172680" y="1440054"/>
                    <a:pt x="4172680" y="1397181"/>
                  </a:cubicBezTo>
                  <a:cubicBezTo>
                    <a:pt x="4172680" y="1354306"/>
                    <a:pt x="4207439" y="1319549"/>
                    <a:pt x="4250316" y="1319549"/>
                  </a:cubicBezTo>
                  <a:close/>
                  <a:moveTo>
                    <a:pt x="3738287" y="1319549"/>
                  </a:moveTo>
                  <a:cubicBezTo>
                    <a:pt x="3781162" y="1319549"/>
                    <a:pt x="3815917" y="1354306"/>
                    <a:pt x="3815917" y="1397181"/>
                  </a:cubicBezTo>
                  <a:cubicBezTo>
                    <a:pt x="3815917" y="1440054"/>
                    <a:pt x="3781162" y="1474811"/>
                    <a:pt x="3738287" y="1474811"/>
                  </a:cubicBezTo>
                  <a:cubicBezTo>
                    <a:pt x="3695408" y="1474811"/>
                    <a:pt x="3660647" y="1440054"/>
                    <a:pt x="3660647" y="1397181"/>
                  </a:cubicBezTo>
                  <a:cubicBezTo>
                    <a:pt x="3660647" y="1354306"/>
                    <a:pt x="3695408" y="1319549"/>
                    <a:pt x="3738287" y="1319549"/>
                  </a:cubicBezTo>
                  <a:close/>
                  <a:moveTo>
                    <a:pt x="3226239" y="1319549"/>
                  </a:moveTo>
                  <a:cubicBezTo>
                    <a:pt x="3269119" y="1319549"/>
                    <a:pt x="3303877" y="1354306"/>
                    <a:pt x="3303877" y="1397181"/>
                  </a:cubicBezTo>
                  <a:cubicBezTo>
                    <a:pt x="3303877" y="1440054"/>
                    <a:pt x="3269119" y="1474811"/>
                    <a:pt x="3226239" y="1474811"/>
                  </a:cubicBezTo>
                  <a:cubicBezTo>
                    <a:pt x="3183364" y="1474811"/>
                    <a:pt x="3148605" y="1440054"/>
                    <a:pt x="3148605" y="1397181"/>
                  </a:cubicBezTo>
                  <a:cubicBezTo>
                    <a:pt x="3148605" y="1354306"/>
                    <a:pt x="3183364" y="1319549"/>
                    <a:pt x="3226239" y="1319549"/>
                  </a:cubicBezTo>
                  <a:close/>
                  <a:moveTo>
                    <a:pt x="2714362" y="1319549"/>
                  </a:moveTo>
                  <a:cubicBezTo>
                    <a:pt x="2757237" y="1319549"/>
                    <a:pt x="2791993" y="1354306"/>
                    <a:pt x="2791993" y="1397181"/>
                  </a:cubicBezTo>
                  <a:cubicBezTo>
                    <a:pt x="2791993" y="1440054"/>
                    <a:pt x="2757237" y="1474811"/>
                    <a:pt x="2714362" y="1474811"/>
                  </a:cubicBezTo>
                  <a:cubicBezTo>
                    <a:pt x="2671488" y="1474811"/>
                    <a:pt x="2636733" y="1440054"/>
                    <a:pt x="2636733" y="1397181"/>
                  </a:cubicBezTo>
                  <a:cubicBezTo>
                    <a:pt x="2636733" y="1354306"/>
                    <a:pt x="2671488" y="1319549"/>
                    <a:pt x="2714362" y="1319549"/>
                  </a:cubicBezTo>
                  <a:close/>
                  <a:moveTo>
                    <a:pt x="2202305" y="1319549"/>
                  </a:moveTo>
                  <a:cubicBezTo>
                    <a:pt x="2245179" y="1319549"/>
                    <a:pt x="2279935" y="1354306"/>
                    <a:pt x="2279935" y="1397181"/>
                  </a:cubicBezTo>
                  <a:cubicBezTo>
                    <a:pt x="2279935" y="1440054"/>
                    <a:pt x="2245179" y="1474811"/>
                    <a:pt x="2202305" y="1474811"/>
                  </a:cubicBezTo>
                  <a:cubicBezTo>
                    <a:pt x="2159431" y="1474811"/>
                    <a:pt x="2124675" y="1440054"/>
                    <a:pt x="2124675" y="1397181"/>
                  </a:cubicBezTo>
                  <a:cubicBezTo>
                    <a:pt x="2124675" y="1354306"/>
                    <a:pt x="2159431" y="1319549"/>
                    <a:pt x="2202305" y="1319549"/>
                  </a:cubicBezTo>
                  <a:close/>
                  <a:moveTo>
                    <a:pt x="1690412" y="1319549"/>
                  </a:moveTo>
                  <a:cubicBezTo>
                    <a:pt x="1733286" y="1319549"/>
                    <a:pt x="1768043" y="1354306"/>
                    <a:pt x="1768043" y="1397181"/>
                  </a:cubicBezTo>
                  <a:cubicBezTo>
                    <a:pt x="1768043" y="1440054"/>
                    <a:pt x="1733286" y="1474811"/>
                    <a:pt x="1690412" y="1474811"/>
                  </a:cubicBezTo>
                  <a:cubicBezTo>
                    <a:pt x="1647538" y="1474811"/>
                    <a:pt x="1612781" y="1440054"/>
                    <a:pt x="1612781" y="1397181"/>
                  </a:cubicBezTo>
                  <a:cubicBezTo>
                    <a:pt x="1612781" y="1354306"/>
                    <a:pt x="1647538" y="1319549"/>
                    <a:pt x="1690412" y="1319549"/>
                  </a:cubicBezTo>
                  <a:close/>
                  <a:moveTo>
                    <a:pt x="1178353" y="1319549"/>
                  </a:moveTo>
                  <a:cubicBezTo>
                    <a:pt x="1221227" y="1319549"/>
                    <a:pt x="1255984" y="1354306"/>
                    <a:pt x="1255984" y="1397181"/>
                  </a:cubicBezTo>
                  <a:cubicBezTo>
                    <a:pt x="1255984" y="1440054"/>
                    <a:pt x="1221227" y="1474811"/>
                    <a:pt x="1178353" y="1474811"/>
                  </a:cubicBezTo>
                  <a:cubicBezTo>
                    <a:pt x="1135478" y="1474811"/>
                    <a:pt x="1100722" y="1440054"/>
                    <a:pt x="1100722" y="1397181"/>
                  </a:cubicBezTo>
                  <a:cubicBezTo>
                    <a:pt x="1100722" y="1354306"/>
                    <a:pt x="1135478" y="1319549"/>
                    <a:pt x="1178353" y="1319549"/>
                  </a:cubicBezTo>
                  <a:close/>
                  <a:moveTo>
                    <a:pt x="666483" y="1319549"/>
                  </a:moveTo>
                  <a:cubicBezTo>
                    <a:pt x="709357" y="1319549"/>
                    <a:pt x="744113" y="1354306"/>
                    <a:pt x="744113" y="1397181"/>
                  </a:cubicBezTo>
                  <a:cubicBezTo>
                    <a:pt x="744113" y="1440054"/>
                    <a:pt x="709357" y="1474811"/>
                    <a:pt x="666483" y="1474811"/>
                  </a:cubicBezTo>
                  <a:cubicBezTo>
                    <a:pt x="623608" y="1474811"/>
                    <a:pt x="588852" y="1440054"/>
                    <a:pt x="588852" y="1397181"/>
                  </a:cubicBezTo>
                  <a:cubicBezTo>
                    <a:pt x="588852" y="1354306"/>
                    <a:pt x="623608" y="1319549"/>
                    <a:pt x="666483" y="1319549"/>
                  </a:cubicBezTo>
                  <a:close/>
                  <a:moveTo>
                    <a:pt x="154424" y="1319549"/>
                  </a:moveTo>
                  <a:cubicBezTo>
                    <a:pt x="197298" y="1319549"/>
                    <a:pt x="232055" y="1354306"/>
                    <a:pt x="232055" y="1397181"/>
                  </a:cubicBezTo>
                  <a:cubicBezTo>
                    <a:pt x="232055" y="1440054"/>
                    <a:pt x="197298" y="1474811"/>
                    <a:pt x="154424" y="1474811"/>
                  </a:cubicBezTo>
                  <a:cubicBezTo>
                    <a:pt x="111550" y="1474811"/>
                    <a:pt x="76793" y="1440054"/>
                    <a:pt x="76793" y="1397181"/>
                  </a:cubicBezTo>
                  <a:cubicBezTo>
                    <a:pt x="76793" y="1354306"/>
                    <a:pt x="111550" y="1319549"/>
                    <a:pt x="154424" y="1319549"/>
                  </a:cubicBezTo>
                  <a:close/>
                  <a:moveTo>
                    <a:pt x="11929965" y="879636"/>
                  </a:moveTo>
                  <a:cubicBezTo>
                    <a:pt x="11965016" y="879636"/>
                    <a:pt x="11993430" y="908050"/>
                    <a:pt x="11993430" y="943101"/>
                  </a:cubicBezTo>
                  <a:cubicBezTo>
                    <a:pt x="11993430" y="978153"/>
                    <a:pt x="11965016" y="1006567"/>
                    <a:pt x="11929965" y="1006567"/>
                  </a:cubicBezTo>
                  <a:cubicBezTo>
                    <a:pt x="11894915" y="1006567"/>
                    <a:pt x="11866500" y="978153"/>
                    <a:pt x="11866500" y="943101"/>
                  </a:cubicBezTo>
                  <a:cubicBezTo>
                    <a:pt x="11866500" y="908050"/>
                    <a:pt x="11894915" y="879636"/>
                    <a:pt x="11929965" y="879636"/>
                  </a:cubicBezTo>
                  <a:close/>
                  <a:moveTo>
                    <a:pt x="11417899" y="879636"/>
                  </a:moveTo>
                  <a:cubicBezTo>
                    <a:pt x="11452950" y="879636"/>
                    <a:pt x="11481364" y="908050"/>
                    <a:pt x="11481364" y="943101"/>
                  </a:cubicBezTo>
                  <a:cubicBezTo>
                    <a:pt x="11481364" y="978153"/>
                    <a:pt x="11452950" y="1006567"/>
                    <a:pt x="11417899" y="1006567"/>
                  </a:cubicBezTo>
                  <a:cubicBezTo>
                    <a:pt x="11382849" y="1006567"/>
                    <a:pt x="11354434" y="978153"/>
                    <a:pt x="11354434" y="943101"/>
                  </a:cubicBezTo>
                  <a:cubicBezTo>
                    <a:pt x="11354434" y="908050"/>
                    <a:pt x="11382849" y="879636"/>
                    <a:pt x="11417899" y="879636"/>
                  </a:cubicBezTo>
                  <a:close/>
                  <a:moveTo>
                    <a:pt x="10906023" y="879636"/>
                  </a:moveTo>
                  <a:cubicBezTo>
                    <a:pt x="10941073" y="879636"/>
                    <a:pt x="10969488" y="908050"/>
                    <a:pt x="10969488" y="943101"/>
                  </a:cubicBezTo>
                  <a:cubicBezTo>
                    <a:pt x="10969488" y="978153"/>
                    <a:pt x="10941073" y="1006567"/>
                    <a:pt x="10906023" y="1006567"/>
                  </a:cubicBezTo>
                  <a:cubicBezTo>
                    <a:pt x="10870972" y="1006567"/>
                    <a:pt x="10842558" y="978153"/>
                    <a:pt x="10842558" y="943101"/>
                  </a:cubicBezTo>
                  <a:cubicBezTo>
                    <a:pt x="10842558" y="908050"/>
                    <a:pt x="10870972" y="879636"/>
                    <a:pt x="10906023" y="879636"/>
                  </a:cubicBezTo>
                  <a:close/>
                  <a:moveTo>
                    <a:pt x="10393956" y="879636"/>
                  </a:moveTo>
                  <a:cubicBezTo>
                    <a:pt x="10429006" y="879636"/>
                    <a:pt x="10457421" y="908050"/>
                    <a:pt x="10457421" y="943101"/>
                  </a:cubicBezTo>
                  <a:cubicBezTo>
                    <a:pt x="10457421" y="978153"/>
                    <a:pt x="10429006" y="1006567"/>
                    <a:pt x="10393956" y="1006567"/>
                  </a:cubicBezTo>
                  <a:cubicBezTo>
                    <a:pt x="10358906" y="1006567"/>
                    <a:pt x="10330491" y="978153"/>
                    <a:pt x="10330491" y="943101"/>
                  </a:cubicBezTo>
                  <a:cubicBezTo>
                    <a:pt x="10330491" y="908050"/>
                    <a:pt x="10358906" y="879636"/>
                    <a:pt x="10393956" y="879636"/>
                  </a:cubicBezTo>
                  <a:close/>
                  <a:moveTo>
                    <a:pt x="9882079" y="879636"/>
                  </a:moveTo>
                  <a:cubicBezTo>
                    <a:pt x="9917130" y="879636"/>
                    <a:pt x="9945544" y="908050"/>
                    <a:pt x="9945544" y="943101"/>
                  </a:cubicBezTo>
                  <a:cubicBezTo>
                    <a:pt x="9945544" y="978153"/>
                    <a:pt x="9917130" y="1006567"/>
                    <a:pt x="9882079" y="1006567"/>
                  </a:cubicBezTo>
                  <a:cubicBezTo>
                    <a:pt x="9847029" y="1006567"/>
                    <a:pt x="9818615" y="978153"/>
                    <a:pt x="9818615" y="943101"/>
                  </a:cubicBezTo>
                  <a:cubicBezTo>
                    <a:pt x="9818615" y="908050"/>
                    <a:pt x="9847029" y="879636"/>
                    <a:pt x="9882079" y="879636"/>
                  </a:cubicBezTo>
                  <a:close/>
                  <a:moveTo>
                    <a:pt x="5274270" y="879636"/>
                  </a:moveTo>
                  <a:cubicBezTo>
                    <a:pt x="5309318" y="879636"/>
                    <a:pt x="5337733" y="908050"/>
                    <a:pt x="5337733" y="943101"/>
                  </a:cubicBezTo>
                  <a:cubicBezTo>
                    <a:pt x="5337733" y="978153"/>
                    <a:pt x="5309318" y="1006567"/>
                    <a:pt x="5274270" y="1006567"/>
                  </a:cubicBezTo>
                  <a:cubicBezTo>
                    <a:pt x="5239220" y="1006567"/>
                    <a:pt x="5210807" y="978153"/>
                    <a:pt x="5210807" y="943101"/>
                  </a:cubicBezTo>
                  <a:cubicBezTo>
                    <a:pt x="5210807" y="908050"/>
                    <a:pt x="5239220" y="879636"/>
                    <a:pt x="5274270" y="879636"/>
                  </a:cubicBezTo>
                  <a:close/>
                  <a:moveTo>
                    <a:pt x="4762180" y="879636"/>
                  </a:moveTo>
                  <a:cubicBezTo>
                    <a:pt x="4797244" y="879636"/>
                    <a:pt x="4825668" y="908050"/>
                    <a:pt x="4825668" y="943101"/>
                  </a:cubicBezTo>
                  <a:cubicBezTo>
                    <a:pt x="4825668" y="978153"/>
                    <a:pt x="4797244" y="1006567"/>
                    <a:pt x="4762180" y="1006567"/>
                  </a:cubicBezTo>
                  <a:cubicBezTo>
                    <a:pt x="4727138" y="1006567"/>
                    <a:pt x="4698732" y="978153"/>
                    <a:pt x="4698732" y="943101"/>
                  </a:cubicBezTo>
                  <a:cubicBezTo>
                    <a:pt x="4698732" y="908050"/>
                    <a:pt x="4727138" y="879636"/>
                    <a:pt x="4762180" y="879636"/>
                  </a:cubicBezTo>
                  <a:close/>
                  <a:moveTo>
                    <a:pt x="4250316" y="879636"/>
                  </a:moveTo>
                  <a:cubicBezTo>
                    <a:pt x="4285370" y="879636"/>
                    <a:pt x="4313785" y="908050"/>
                    <a:pt x="4313785" y="943101"/>
                  </a:cubicBezTo>
                  <a:cubicBezTo>
                    <a:pt x="4313785" y="978153"/>
                    <a:pt x="4285370" y="1006567"/>
                    <a:pt x="4250316" y="1006567"/>
                  </a:cubicBezTo>
                  <a:cubicBezTo>
                    <a:pt x="4215264" y="1006567"/>
                    <a:pt x="4186848" y="978153"/>
                    <a:pt x="4186848" y="943101"/>
                  </a:cubicBezTo>
                  <a:cubicBezTo>
                    <a:pt x="4186848" y="908050"/>
                    <a:pt x="4215264" y="879636"/>
                    <a:pt x="4250316" y="879636"/>
                  </a:cubicBezTo>
                  <a:close/>
                  <a:moveTo>
                    <a:pt x="3738289" y="879636"/>
                  </a:moveTo>
                  <a:cubicBezTo>
                    <a:pt x="3773338" y="879636"/>
                    <a:pt x="3801749" y="908050"/>
                    <a:pt x="3801749" y="943101"/>
                  </a:cubicBezTo>
                  <a:cubicBezTo>
                    <a:pt x="3801749" y="978153"/>
                    <a:pt x="3773338" y="1006567"/>
                    <a:pt x="3738289" y="1006567"/>
                  </a:cubicBezTo>
                  <a:cubicBezTo>
                    <a:pt x="3703233" y="1006567"/>
                    <a:pt x="3674814" y="978153"/>
                    <a:pt x="3674814" y="943101"/>
                  </a:cubicBezTo>
                  <a:cubicBezTo>
                    <a:pt x="3674814" y="908050"/>
                    <a:pt x="3703233" y="879636"/>
                    <a:pt x="3738289" y="879636"/>
                  </a:cubicBezTo>
                  <a:close/>
                  <a:moveTo>
                    <a:pt x="3226242" y="879636"/>
                  </a:moveTo>
                  <a:cubicBezTo>
                    <a:pt x="3261296" y="879636"/>
                    <a:pt x="3289709" y="908050"/>
                    <a:pt x="3289709" y="943101"/>
                  </a:cubicBezTo>
                  <a:cubicBezTo>
                    <a:pt x="3289709" y="978153"/>
                    <a:pt x="3261296" y="1006567"/>
                    <a:pt x="3226242" y="1006567"/>
                  </a:cubicBezTo>
                  <a:cubicBezTo>
                    <a:pt x="3191188" y="1006567"/>
                    <a:pt x="3162775" y="978153"/>
                    <a:pt x="3162775" y="943101"/>
                  </a:cubicBezTo>
                  <a:cubicBezTo>
                    <a:pt x="3162775" y="908050"/>
                    <a:pt x="3191188" y="879636"/>
                    <a:pt x="3226242" y="879636"/>
                  </a:cubicBezTo>
                  <a:close/>
                  <a:moveTo>
                    <a:pt x="2714362" y="879636"/>
                  </a:moveTo>
                  <a:cubicBezTo>
                    <a:pt x="2749413" y="879636"/>
                    <a:pt x="2777827" y="908050"/>
                    <a:pt x="2777827" y="943101"/>
                  </a:cubicBezTo>
                  <a:cubicBezTo>
                    <a:pt x="2777827" y="978153"/>
                    <a:pt x="2749413" y="1006567"/>
                    <a:pt x="2714362" y="1006567"/>
                  </a:cubicBezTo>
                  <a:cubicBezTo>
                    <a:pt x="2679313" y="1006567"/>
                    <a:pt x="2650897" y="978153"/>
                    <a:pt x="2650897" y="943101"/>
                  </a:cubicBezTo>
                  <a:cubicBezTo>
                    <a:pt x="2650897" y="908050"/>
                    <a:pt x="2679313" y="879636"/>
                    <a:pt x="2714362" y="879636"/>
                  </a:cubicBezTo>
                  <a:close/>
                  <a:moveTo>
                    <a:pt x="2202305" y="879636"/>
                  </a:moveTo>
                  <a:cubicBezTo>
                    <a:pt x="2237356" y="879636"/>
                    <a:pt x="2265769" y="908050"/>
                    <a:pt x="2265769" y="943101"/>
                  </a:cubicBezTo>
                  <a:cubicBezTo>
                    <a:pt x="2265769" y="978153"/>
                    <a:pt x="2237356" y="1006567"/>
                    <a:pt x="2202305" y="1006567"/>
                  </a:cubicBezTo>
                  <a:cubicBezTo>
                    <a:pt x="2167254" y="1006567"/>
                    <a:pt x="2138841" y="978153"/>
                    <a:pt x="2138841" y="943101"/>
                  </a:cubicBezTo>
                  <a:cubicBezTo>
                    <a:pt x="2138841" y="908050"/>
                    <a:pt x="2167254" y="879636"/>
                    <a:pt x="2202305" y="879636"/>
                  </a:cubicBezTo>
                  <a:close/>
                  <a:moveTo>
                    <a:pt x="1690412" y="879636"/>
                  </a:moveTo>
                  <a:cubicBezTo>
                    <a:pt x="1725463" y="879636"/>
                    <a:pt x="1753877" y="908050"/>
                    <a:pt x="1753877" y="943101"/>
                  </a:cubicBezTo>
                  <a:cubicBezTo>
                    <a:pt x="1753877" y="978153"/>
                    <a:pt x="1725463" y="1006567"/>
                    <a:pt x="1690412" y="1006567"/>
                  </a:cubicBezTo>
                  <a:cubicBezTo>
                    <a:pt x="1655361" y="1006567"/>
                    <a:pt x="1626948" y="978153"/>
                    <a:pt x="1626948" y="943101"/>
                  </a:cubicBezTo>
                  <a:cubicBezTo>
                    <a:pt x="1626948" y="908050"/>
                    <a:pt x="1655361" y="879636"/>
                    <a:pt x="1690412" y="879636"/>
                  </a:cubicBezTo>
                  <a:close/>
                  <a:moveTo>
                    <a:pt x="1178353" y="879636"/>
                  </a:moveTo>
                  <a:cubicBezTo>
                    <a:pt x="1213404" y="879636"/>
                    <a:pt x="1241817" y="908050"/>
                    <a:pt x="1241817" y="943101"/>
                  </a:cubicBezTo>
                  <a:cubicBezTo>
                    <a:pt x="1241817" y="978153"/>
                    <a:pt x="1213404" y="1006567"/>
                    <a:pt x="1178353" y="1006567"/>
                  </a:cubicBezTo>
                  <a:cubicBezTo>
                    <a:pt x="1143302" y="1006567"/>
                    <a:pt x="1114888" y="978153"/>
                    <a:pt x="1114888" y="943101"/>
                  </a:cubicBezTo>
                  <a:cubicBezTo>
                    <a:pt x="1114888" y="908050"/>
                    <a:pt x="1143302" y="879636"/>
                    <a:pt x="1178353" y="879636"/>
                  </a:cubicBezTo>
                  <a:close/>
                  <a:moveTo>
                    <a:pt x="666483" y="879636"/>
                  </a:moveTo>
                  <a:cubicBezTo>
                    <a:pt x="701534" y="879636"/>
                    <a:pt x="729947" y="908050"/>
                    <a:pt x="729947" y="943101"/>
                  </a:cubicBezTo>
                  <a:cubicBezTo>
                    <a:pt x="729947" y="978153"/>
                    <a:pt x="701534" y="1006567"/>
                    <a:pt x="666483" y="1006567"/>
                  </a:cubicBezTo>
                  <a:cubicBezTo>
                    <a:pt x="631432" y="1006567"/>
                    <a:pt x="603018" y="978153"/>
                    <a:pt x="603018" y="943101"/>
                  </a:cubicBezTo>
                  <a:cubicBezTo>
                    <a:pt x="603018" y="908050"/>
                    <a:pt x="631432" y="879636"/>
                    <a:pt x="666483" y="879636"/>
                  </a:cubicBezTo>
                  <a:close/>
                  <a:moveTo>
                    <a:pt x="154424" y="879636"/>
                  </a:moveTo>
                  <a:cubicBezTo>
                    <a:pt x="189475" y="879636"/>
                    <a:pt x="217889" y="908050"/>
                    <a:pt x="217889" y="943101"/>
                  </a:cubicBezTo>
                  <a:cubicBezTo>
                    <a:pt x="217889" y="978153"/>
                    <a:pt x="189475" y="1006567"/>
                    <a:pt x="154424" y="1006567"/>
                  </a:cubicBezTo>
                  <a:cubicBezTo>
                    <a:pt x="119373" y="1006567"/>
                    <a:pt x="90960" y="978153"/>
                    <a:pt x="90960" y="943101"/>
                  </a:cubicBezTo>
                  <a:cubicBezTo>
                    <a:pt x="90960" y="908050"/>
                    <a:pt x="119373" y="879636"/>
                    <a:pt x="154424" y="879636"/>
                  </a:cubicBezTo>
                  <a:close/>
                  <a:moveTo>
                    <a:pt x="9370014" y="879635"/>
                  </a:moveTo>
                  <a:cubicBezTo>
                    <a:pt x="9405147" y="879635"/>
                    <a:pt x="9433479" y="907968"/>
                    <a:pt x="9433479" y="943100"/>
                  </a:cubicBezTo>
                  <a:cubicBezTo>
                    <a:pt x="9433479" y="978044"/>
                    <a:pt x="9405147" y="1006566"/>
                    <a:pt x="9370014" y="1006566"/>
                  </a:cubicBezTo>
                  <a:cubicBezTo>
                    <a:pt x="9334882" y="1006566"/>
                    <a:pt x="9306549" y="978234"/>
                    <a:pt x="9306549" y="943100"/>
                  </a:cubicBezTo>
                  <a:cubicBezTo>
                    <a:pt x="9306549" y="907968"/>
                    <a:pt x="9334882" y="879635"/>
                    <a:pt x="9370014" y="879635"/>
                  </a:cubicBezTo>
                  <a:close/>
                  <a:moveTo>
                    <a:pt x="8857948" y="879635"/>
                  </a:moveTo>
                  <a:cubicBezTo>
                    <a:pt x="8893080" y="879635"/>
                    <a:pt x="8921412" y="907968"/>
                    <a:pt x="8921412" y="943100"/>
                  </a:cubicBezTo>
                  <a:cubicBezTo>
                    <a:pt x="8921412" y="978044"/>
                    <a:pt x="8893080" y="1006566"/>
                    <a:pt x="8857948" y="1006566"/>
                  </a:cubicBezTo>
                  <a:cubicBezTo>
                    <a:pt x="8822815" y="1006566"/>
                    <a:pt x="8794482" y="978234"/>
                    <a:pt x="8794482" y="943100"/>
                  </a:cubicBezTo>
                  <a:cubicBezTo>
                    <a:pt x="8794482" y="907968"/>
                    <a:pt x="8822815" y="879635"/>
                    <a:pt x="8857948" y="879635"/>
                  </a:cubicBezTo>
                  <a:close/>
                  <a:moveTo>
                    <a:pt x="8346071" y="879635"/>
                  </a:moveTo>
                  <a:cubicBezTo>
                    <a:pt x="8381203" y="879635"/>
                    <a:pt x="8409535" y="907968"/>
                    <a:pt x="8409535" y="943100"/>
                  </a:cubicBezTo>
                  <a:cubicBezTo>
                    <a:pt x="8409535" y="978044"/>
                    <a:pt x="8381203" y="1006566"/>
                    <a:pt x="8346071" y="1006566"/>
                  </a:cubicBezTo>
                  <a:cubicBezTo>
                    <a:pt x="8310938" y="1006566"/>
                    <a:pt x="8282605" y="978234"/>
                    <a:pt x="8282605" y="943100"/>
                  </a:cubicBezTo>
                  <a:cubicBezTo>
                    <a:pt x="8282605" y="907968"/>
                    <a:pt x="8310938" y="879635"/>
                    <a:pt x="8346071" y="879635"/>
                  </a:cubicBezTo>
                  <a:close/>
                  <a:moveTo>
                    <a:pt x="7834005" y="879635"/>
                  </a:moveTo>
                  <a:cubicBezTo>
                    <a:pt x="7869138" y="879635"/>
                    <a:pt x="7897470" y="907968"/>
                    <a:pt x="7897470" y="943100"/>
                  </a:cubicBezTo>
                  <a:cubicBezTo>
                    <a:pt x="7897470" y="978044"/>
                    <a:pt x="7869138" y="1006566"/>
                    <a:pt x="7834005" y="1006566"/>
                  </a:cubicBezTo>
                  <a:cubicBezTo>
                    <a:pt x="7798873" y="1006566"/>
                    <a:pt x="7770540" y="978234"/>
                    <a:pt x="7770540" y="943100"/>
                  </a:cubicBezTo>
                  <a:cubicBezTo>
                    <a:pt x="7770540" y="907968"/>
                    <a:pt x="7798873" y="879635"/>
                    <a:pt x="7834005" y="879635"/>
                  </a:cubicBezTo>
                  <a:close/>
                  <a:moveTo>
                    <a:pt x="7322128" y="879635"/>
                  </a:moveTo>
                  <a:cubicBezTo>
                    <a:pt x="7357260" y="879635"/>
                    <a:pt x="7385592" y="907968"/>
                    <a:pt x="7385592" y="943100"/>
                  </a:cubicBezTo>
                  <a:cubicBezTo>
                    <a:pt x="7385592" y="978044"/>
                    <a:pt x="7357260" y="1006566"/>
                    <a:pt x="7322128" y="1006566"/>
                  </a:cubicBezTo>
                  <a:cubicBezTo>
                    <a:pt x="7286995" y="1006566"/>
                    <a:pt x="7258662" y="978234"/>
                    <a:pt x="7258662" y="943100"/>
                  </a:cubicBezTo>
                  <a:cubicBezTo>
                    <a:pt x="7258662" y="907968"/>
                    <a:pt x="7286995" y="879635"/>
                    <a:pt x="7322128" y="879635"/>
                  </a:cubicBezTo>
                  <a:close/>
                  <a:moveTo>
                    <a:pt x="6810062" y="879635"/>
                  </a:moveTo>
                  <a:cubicBezTo>
                    <a:pt x="6845195" y="879635"/>
                    <a:pt x="6873527" y="907968"/>
                    <a:pt x="6873527" y="943100"/>
                  </a:cubicBezTo>
                  <a:cubicBezTo>
                    <a:pt x="6873527" y="978044"/>
                    <a:pt x="6845195" y="1006566"/>
                    <a:pt x="6810062" y="1006566"/>
                  </a:cubicBezTo>
                  <a:cubicBezTo>
                    <a:pt x="6774930" y="1006566"/>
                    <a:pt x="6746597" y="978234"/>
                    <a:pt x="6746597" y="943100"/>
                  </a:cubicBezTo>
                  <a:cubicBezTo>
                    <a:pt x="6746597" y="907968"/>
                    <a:pt x="6774930" y="879635"/>
                    <a:pt x="6810062" y="879635"/>
                  </a:cubicBezTo>
                  <a:close/>
                  <a:moveTo>
                    <a:pt x="6298186" y="879635"/>
                  </a:moveTo>
                  <a:cubicBezTo>
                    <a:pt x="6333318" y="879635"/>
                    <a:pt x="6361650" y="907968"/>
                    <a:pt x="6361650" y="943100"/>
                  </a:cubicBezTo>
                  <a:cubicBezTo>
                    <a:pt x="6361650" y="978044"/>
                    <a:pt x="6333318" y="1006566"/>
                    <a:pt x="6298186" y="1006566"/>
                  </a:cubicBezTo>
                  <a:cubicBezTo>
                    <a:pt x="6263054" y="1006566"/>
                    <a:pt x="6234720" y="978234"/>
                    <a:pt x="6234720" y="943100"/>
                  </a:cubicBezTo>
                  <a:cubicBezTo>
                    <a:pt x="6234720" y="907968"/>
                    <a:pt x="6263054" y="879635"/>
                    <a:pt x="6298186" y="879635"/>
                  </a:cubicBezTo>
                  <a:close/>
                  <a:moveTo>
                    <a:pt x="5786126" y="879635"/>
                  </a:moveTo>
                  <a:cubicBezTo>
                    <a:pt x="5821257" y="879635"/>
                    <a:pt x="5849588" y="907968"/>
                    <a:pt x="5849588" y="943100"/>
                  </a:cubicBezTo>
                  <a:cubicBezTo>
                    <a:pt x="5849588" y="978044"/>
                    <a:pt x="5821257" y="1006566"/>
                    <a:pt x="5786126" y="1006566"/>
                  </a:cubicBezTo>
                  <a:cubicBezTo>
                    <a:pt x="5750994" y="1006566"/>
                    <a:pt x="5722663" y="978234"/>
                    <a:pt x="5722663" y="943100"/>
                  </a:cubicBezTo>
                  <a:cubicBezTo>
                    <a:pt x="5722663" y="907968"/>
                    <a:pt x="5750994" y="879635"/>
                    <a:pt x="5786126" y="879635"/>
                  </a:cubicBezTo>
                  <a:close/>
                  <a:moveTo>
                    <a:pt x="11417900" y="439913"/>
                  </a:moveTo>
                  <a:cubicBezTo>
                    <a:pt x="11445022" y="439913"/>
                    <a:pt x="11467010" y="461900"/>
                    <a:pt x="11467010" y="489022"/>
                  </a:cubicBezTo>
                  <a:cubicBezTo>
                    <a:pt x="11467010" y="516146"/>
                    <a:pt x="11445022" y="538132"/>
                    <a:pt x="11417900" y="538132"/>
                  </a:cubicBezTo>
                  <a:cubicBezTo>
                    <a:pt x="11390778" y="538132"/>
                    <a:pt x="11368791" y="516146"/>
                    <a:pt x="11368791" y="489022"/>
                  </a:cubicBezTo>
                  <a:cubicBezTo>
                    <a:pt x="11368791" y="461900"/>
                    <a:pt x="11390778" y="439913"/>
                    <a:pt x="11417900" y="439913"/>
                  </a:cubicBezTo>
                  <a:close/>
                  <a:moveTo>
                    <a:pt x="10906024" y="439913"/>
                  </a:moveTo>
                  <a:cubicBezTo>
                    <a:pt x="10933146" y="439913"/>
                    <a:pt x="10955133" y="461900"/>
                    <a:pt x="10955133" y="489022"/>
                  </a:cubicBezTo>
                  <a:cubicBezTo>
                    <a:pt x="10955133" y="516146"/>
                    <a:pt x="10933146" y="538132"/>
                    <a:pt x="10906024" y="538132"/>
                  </a:cubicBezTo>
                  <a:cubicBezTo>
                    <a:pt x="10878901" y="538132"/>
                    <a:pt x="10856914" y="516146"/>
                    <a:pt x="10856914" y="489022"/>
                  </a:cubicBezTo>
                  <a:cubicBezTo>
                    <a:pt x="10856914" y="461900"/>
                    <a:pt x="10878901" y="439913"/>
                    <a:pt x="10906024" y="439913"/>
                  </a:cubicBezTo>
                  <a:close/>
                  <a:moveTo>
                    <a:pt x="10393958" y="439913"/>
                  </a:moveTo>
                  <a:cubicBezTo>
                    <a:pt x="10421080" y="439913"/>
                    <a:pt x="10443067" y="461900"/>
                    <a:pt x="10443067" y="489022"/>
                  </a:cubicBezTo>
                  <a:cubicBezTo>
                    <a:pt x="10443067" y="516146"/>
                    <a:pt x="10421080" y="538132"/>
                    <a:pt x="10393958" y="538132"/>
                  </a:cubicBezTo>
                  <a:cubicBezTo>
                    <a:pt x="10366836" y="538132"/>
                    <a:pt x="10344848" y="516146"/>
                    <a:pt x="10344848" y="489022"/>
                  </a:cubicBezTo>
                  <a:cubicBezTo>
                    <a:pt x="10344848" y="461900"/>
                    <a:pt x="10366836" y="439913"/>
                    <a:pt x="10393958" y="439913"/>
                  </a:cubicBezTo>
                  <a:close/>
                  <a:moveTo>
                    <a:pt x="9882080" y="439913"/>
                  </a:moveTo>
                  <a:cubicBezTo>
                    <a:pt x="9909202" y="439913"/>
                    <a:pt x="9931190" y="461900"/>
                    <a:pt x="9931190" y="489022"/>
                  </a:cubicBezTo>
                  <a:cubicBezTo>
                    <a:pt x="9931190" y="516146"/>
                    <a:pt x="9909202" y="538132"/>
                    <a:pt x="9882080" y="538132"/>
                  </a:cubicBezTo>
                  <a:cubicBezTo>
                    <a:pt x="9854958" y="538132"/>
                    <a:pt x="9832971" y="516146"/>
                    <a:pt x="9832971" y="489022"/>
                  </a:cubicBezTo>
                  <a:cubicBezTo>
                    <a:pt x="9832971" y="461900"/>
                    <a:pt x="9854958" y="439913"/>
                    <a:pt x="9882080" y="439913"/>
                  </a:cubicBezTo>
                  <a:close/>
                  <a:moveTo>
                    <a:pt x="9370013" y="439913"/>
                  </a:moveTo>
                  <a:cubicBezTo>
                    <a:pt x="9397023" y="439913"/>
                    <a:pt x="9419123" y="462011"/>
                    <a:pt x="9419123" y="489022"/>
                  </a:cubicBezTo>
                  <a:cubicBezTo>
                    <a:pt x="9419123" y="516221"/>
                    <a:pt x="9397023" y="538132"/>
                    <a:pt x="9370013" y="538132"/>
                  </a:cubicBezTo>
                  <a:cubicBezTo>
                    <a:pt x="9343003" y="538132"/>
                    <a:pt x="9320903" y="516032"/>
                    <a:pt x="9320903" y="489022"/>
                  </a:cubicBezTo>
                  <a:cubicBezTo>
                    <a:pt x="9320903" y="462011"/>
                    <a:pt x="9343003" y="439913"/>
                    <a:pt x="9370013" y="439913"/>
                  </a:cubicBezTo>
                  <a:close/>
                  <a:moveTo>
                    <a:pt x="8858137" y="439913"/>
                  </a:moveTo>
                  <a:cubicBezTo>
                    <a:pt x="8885147" y="439913"/>
                    <a:pt x="8907247" y="462011"/>
                    <a:pt x="8907247" y="489022"/>
                  </a:cubicBezTo>
                  <a:cubicBezTo>
                    <a:pt x="8907247" y="516221"/>
                    <a:pt x="8885147" y="538132"/>
                    <a:pt x="8858137" y="538132"/>
                  </a:cubicBezTo>
                  <a:cubicBezTo>
                    <a:pt x="8831126" y="538132"/>
                    <a:pt x="8809027" y="516032"/>
                    <a:pt x="8809027" y="489022"/>
                  </a:cubicBezTo>
                  <a:cubicBezTo>
                    <a:pt x="8809027" y="462011"/>
                    <a:pt x="8831126" y="439913"/>
                    <a:pt x="8858137" y="439913"/>
                  </a:cubicBezTo>
                  <a:close/>
                  <a:moveTo>
                    <a:pt x="8346071" y="439913"/>
                  </a:moveTo>
                  <a:cubicBezTo>
                    <a:pt x="8373081" y="439913"/>
                    <a:pt x="8395181" y="462011"/>
                    <a:pt x="8395181" y="489022"/>
                  </a:cubicBezTo>
                  <a:cubicBezTo>
                    <a:pt x="8395181" y="516221"/>
                    <a:pt x="8373081" y="538132"/>
                    <a:pt x="8346071" y="538132"/>
                  </a:cubicBezTo>
                  <a:cubicBezTo>
                    <a:pt x="8319061" y="538132"/>
                    <a:pt x="8296961" y="516032"/>
                    <a:pt x="8296961" y="489022"/>
                  </a:cubicBezTo>
                  <a:cubicBezTo>
                    <a:pt x="8296961" y="462011"/>
                    <a:pt x="8319061" y="439913"/>
                    <a:pt x="8346071" y="439913"/>
                  </a:cubicBezTo>
                  <a:close/>
                  <a:moveTo>
                    <a:pt x="7834193" y="439913"/>
                  </a:moveTo>
                  <a:cubicBezTo>
                    <a:pt x="7861203" y="439913"/>
                    <a:pt x="7883303" y="462011"/>
                    <a:pt x="7883303" y="489022"/>
                  </a:cubicBezTo>
                  <a:cubicBezTo>
                    <a:pt x="7883303" y="516221"/>
                    <a:pt x="7861203" y="538132"/>
                    <a:pt x="7834193" y="538132"/>
                  </a:cubicBezTo>
                  <a:cubicBezTo>
                    <a:pt x="7807183" y="538132"/>
                    <a:pt x="7785083" y="516032"/>
                    <a:pt x="7785083" y="489022"/>
                  </a:cubicBezTo>
                  <a:cubicBezTo>
                    <a:pt x="7785083" y="462011"/>
                    <a:pt x="7807183" y="439913"/>
                    <a:pt x="7834193" y="439913"/>
                  </a:cubicBezTo>
                  <a:close/>
                  <a:moveTo>
                    <a:pt x="7322128" y="439913"/>
                  </a:moveTo>
                  <a:cubicBezTo>
                    <a:pt x="7349138" y="439913"/>
                    <a:pt x="7371238" y="462011"/>
                    <a:pt x="7371238" y="489022"/>
                  </a:cubicBezTo>
                  <a:cubicBezTo>
                    <a:pt x="7371238" y="516221"/>
                    <a:pt x="7349138" y="538132"/>
                    <a:pt x="7322128" y="538132"/>
                  </a:cubicBezTo>
                  <a:cubicBezTo>
                    <a:pt x="7295117" y="538132"/>
                    <a:pt x="7273018" y="516032"/>
                    <a:pt x="7273018" y="489022"/>
                  </a:cubicBezTo>
                  <a:cubicBezTo>
                    <a:pt x="7273018" y="462011"/>
                    <a:pt x="7295117" y="439913"/>
                    <a:pt x="7322128" y="439913"/>
                  </a:cubicBezTo>
                  <a:close/>
                  <a:moveTo>
                    <a:pt x="6810251" y="439913"/>
                  </a:moveTo>
                  <a:cubicBezTo>
                    <a:pt x="6837261" y="439913"/>
                    <a:pt x="6859361" y="462011"/>
                    <a:pt x="6859361" y="489022"/>
                  </a:cubicBezTo>
                  <a:cubicBezTo>
                    <a:pt x="6859361" y="516221"/>
                    <a:pt x="6837261" y="538132"/>
                    <a:pt x="6810251" y="538132"/>
                  </a:cubicBezTo>
                  <a:cubicBezTo>
                    <a:pt x="6783241" y="538132"/>
                    <a:pt x="6761141" y="516032"/>
                    <a:pt x="6761141" y="489022"/>
                  </a:cubicBezTo>
                  <a:cubicBezTo>
                    <a:pt x="6761141" y="462011"/>
                    <a:pt x="6783241" y="439913"/>
                    <a:pt x="6810251" y="439913"/>
                  </a:cubicBezTo>
                  <a:close/>
                  <a:moveTo>
                    <a:pt x="6298184" y="439913"/>
                  </a:moveTo>
                  <a:cubicBezTo>
                    <a:pt x="6325195" y="439913"/>
                    <a:pt x="6347295" y="462011"/>
                    <a:pt x="6347295" y="489022"/>
                  </a:cubicBezTo>
                  <a:cubicBezTo>
                    <a:pt x="6347295" y="516221"/>
                    <a:pt x="6325195" y="538132"/>
                    <a:pt x="6298184" y="538132"/>
                  </a:cubicBezTo>
                  <a:cubicBezTo>
                    <a:pt x="6271175" y="538132"/>
                    <a:pt x="6249074" y="516032"/>
                    <a:pt x="6249074" y="489022"/>
                  </a:cubicBezTo>
                  <a:cubicBezTo>
                    <a:pt x="6249074" y="462011"/>
                    <a:pt x="6271175" y="439913"/>
                    <a:pt x="6298184" y="439913"/>
                  </a:cubicBezTo>
                  <a:close/>
                  <a:moveTo>
                    <a:pt x="5786315" y="439913"/>
                  </a:moveTo>
                  <a:cubicBezTo>
                    <a:pt x="5813325" y="439913"/>
                    <a:pt x="5835423" y="462011"/>
                    <a:pt x="5835423" y="489022"/>
                  </a:cubicBezTo>
                  <a:cubicBezTo>
                    <a:pt x="5835423" y="516221"/>
                    <a:pt x="5813325" y="538132"/>
                    <a:pt x="5786315" y="538132"/>
                  </a:cubicBezTo>
                  <a:cubicBezTo>
                    <a:pt x="5759305" y="538132"/>
                    <a:pt x="5737207" y="516032"/>
                    <a:pt x="5737207" y="489022"/>
                  </a:cubicBezTo>
                  <a:cubicBezTo>
                    <a:pt x="5737207" y="462011"/>
                    <a:pt x="5759305" y="439913"/>
                    <a:pt x="5786315" y="439913"/>
                  </a:cubicBezTo>
                  <a:close/>
                  <a:moveTo>
                    <a:pt x="5274270" y="439913"/>
                  </a:moveTo>
                  <a:cubicBezTo>
                    <a:pt x="5301393" y="439913"/>
                    <a:pt x="5323380" y="461900"/>
                    <a:pt x="5323380" y="489022"/>
                  </a:cubicBezTo>
                  <a:cubicBezTo>
                    <a:pt x="5323380" y="516146"/>
                    <a:pt x="5301393" y="538132"/>
                    <a:pt x="5274270" y="538132"/>
                  </a:cubicBezTo>
                  <a:cubicBezTo>
                    <a:pt x="5247148" y="538132"/>
                    <a:pt x="5225158" y="516146"/>
                    <a:pt x="5225158" y="489022"/>
                  </a:cubicBezTo>
                  <a:cubicBezTo>
                    <a:pt x="5225158" y="461900"/>
                    <a:pt x="5247148" y="439913"/>
                    <a:pt x="5274270" y="439913"/>
                  </a:cubicBezTo>
                  <a:close/>
                  <a:moveTo>
                    <a:pt x="4762180" y="439913"/>
                  </a:moveTo>
                  <a:cubicBezTo>
                    <a:pt x="4789311" y="439913"/>
                    <a:pt x="4811308" y="461900"/>
                    <a:pt x="4811308" y="489022"/>
                  </a:cubicBezTo>
                  <a:cubicBezTo>
                    <a:pt x="4811308" y="516146"/>
                    <a:pt x="4789311" y="538132"/>
                    <a:pt x="4762180" y="538132"/>
                  </a:cubicBezTo>
                  <a:cubicBezTo>
                    <a:pt x="4735061" y="538132"/>
                    <a:pt x="4713081" y="516146"/>
                    <a:pt x="4713081" y="489022"/>
                  </a:cubicBezTo>
                  <a:cubicBezTo>
                    <a:pt x="4713081" y="461900"/>
                    <a:pt x="4735061" y="439913"/>
                    <a:pt x="4762180" y="439913"/>
                  </a:cubicBezTo>
                  <a:close/>
                  <a:moveTo>
                    <a:pt x="4250316" y="439913"/>
                  </a:moveTo>
                  <a:cubicBezTo>
                    <a:pt x="4277442" y="439913"/>
                    <a:pt x="4299428" y="461900"/>
                    <a:pt x="4299428" y="489022"/>
                  </a:cubicBezTo>
                  <a:cubicBezTo>
                    <a:pt x="4299428" y="516146"/>
                    <a:pt x="4277442" y="538132"/>
                    <a:pt x="4250316" y="538132"/>
                  </a:cubicBezTo>
                  <a:cubicBezTo>
                    <a:pt x="4223194" y="538132"/>
                    <a:pt x="4201204" y="516146"/>
                    <a:pt x="4201204" y="489022"/>
                  </a:cubicBezTo>
                  <a:cubicBezTo>
                    <a:pt x="4201204" y="461900"/>
                    <a:pt x="4223194" y="439913"/>
                    <a:pt x="4250316" y="439913"/>
                  </a:cubicBezTo>
                  <a:close/>
                  <a:moveTo>
                    <a:pt x="3738287" y="439913"/>
                  </a:moveTo>
                  <a:cubicBezTo>
                    <a:pt x="3765415" y="439913"/>
                    <a:pt x="3787395" y="461900"/>
                    <a:pt x="3787395" y="489022"/>
                  </a:cubicBezTo>
                  <a:cubicBezTo>
                    <a:pt x="3787395" y="516146"/>
                    <a:pt x="3765415" y="538132"/>
                    <a:pt x="3738287" y="538132"/>
                  </a:cubicBezTo>
                  <a:cubicBezTo>
                    <a:pt x="3711162" y="538132"/>
                    <a:pt x="3689172" y="516146"/>
                    <a:pt x="3689172" y="489022"/>
                  </a:cubicBezTo>
                  <a:cubicBezTo>
                    <a:pt x="3689172" y="461900"/>
                    <a:pt x="3711162" y="439913"/>
                    <a:pt x="3738287" y="439913"/>
                  </a:cubicBezTo>
                  <a:close/>
                  <a:moveTo>
                    <a:pt x="3226241" y="439913"/>
                  </a:moveTo>
                  <a:cubicBezTo>
                    <a:pt x="3253367" y="439913"/>
                    <a:pt x="3275356" y="461900"/>
                    <a:pt x="3275356" y="489022"/>
                  </a:cubicBezTo>
                  <a:cubicBezTo>
                    <a:pt x="3275356" y="516146"/>
                    <a:pt x="3253367" y="538132"/>
                    <a:pt x="3226241" y="538132"/>
                  </a:cubicBezTo>
                  <a:cubicBezTo>
                    <a:pt x="3199115" y="538132"/>
                    <a:pt x="3177127" y="516146"/>
                    <a:pt x="3177127" y="489022"/>
                  </a:cubicBezTo>
                  <a:cubicBezTo>
                    <a:pt x="3177127" y="461900"/>
                    <a:pt x="3199115" y="439913"/>
                    <a:pt x="3226241" y="439913"/>
                  </a:cubicBezTo>
                  <a:close/>
                  <a:moveTo>
                    <a:pt x="2714361" y="439913"/>
                  </a:moveTo>
                  <a:cubicBezTo>
                    <a:pt x="2741485" y="439913"/>
                    <a:pt x="2763472" y="461900"/>
                    <a:pt x="2763472" y="489022"/>
                  </a:cubicBezTo>
                  <a:cubicBezTo>
                    <a:pt x="2763472" y="516146"/>
                    <a:pt x="2741485" y="538132"/>
                    <a:pt x="2714361" y="538132"/>
                  </a:cubicBezTo>
                  <a:cubicBezTo>
                    <a:pt x="2687239" y="538132"/>
                    <a:pt x="2665250" y="516146"/>
                    <a:pt x="2665250" y="489022"/>
                  </a:cubicBezTo>
                  <a:cubicBezTo>
                    <a:pt x="2665250" y="461900"/>
                    <a:pt x="2687239" y="439913"/>
                    <a:pt x="2714361" y="439913"/>
                  </a:cubicBezTo>
                  <a:close/>
                  <a:moveTo>
                    <a:pt x="2202305" y="439913"/>
                  </a:moveTo>
                  <a:cubicBezTo>
                    <a:pt x="2229428" y="439913"/>
                    <a:pt x="2251415" y="461900"/>
                    <a:pt x="2251415" y="489022"/>
                  </a:cubicBezTo>
                  <a:cubicBezTo>
                    <a:pt x="2251415" y="516146"/>
                    <a:pt x="2229428" y="538132"/>
                    <a:pt x="2202305" y="538132"/>
                  </a:cubicBezTo>
                  <a:cubicBezTo>
                    <a:pt x="2175182" y="538132"/>
                    <a:pt x="2153195" y="516146"/>
                    <a:pt x="2153195" y="489022"/>
                  </a:cubicBezTo>
                  <a:cubicBezTo>
                    <a:pt x="2153195" y="461900"/>
                    <a:pt x="2175182" y="439913"/>
                    <a:pt x="2202305" y="439913"/>
                  </a:cubicBezTo>
                  <a:close/>
                  <a:moveTo>
                    <a:pt x="1690412" y="439913"/>
                  </a:moveTo>
                  <a:cubicBezTo>
                    <a:pt x="1717535" y="439913"/>
                    <a:pt x="1739522" y="461900"/>
                    <a:pt x="1739522" y="489022"/>
                  </a:cubicBezTo>
                  <a:cubicBezTo>
                    <a:pt x="1739522" y="516146"/>
                    <a:pt x="1717535" y="538132"/>
                    <a:pt x="1690412" y="538132"/>
                  </a:cubicBezTo>
                  <a:cubicBezTo>
                    <a:pt x="1663289" y="538132"/>
                    <a:pt x="1641302" y="516146"/>
                    <a:pt x="1641302" y="489022"/>
                  </a:cubicBezTo>
                  <a:cubicBezTo>
                    <a:pt x="1641302" y="461900"/>
                    <a:pt x="1663289" y="439913"/>
                    <a:pt x="1690412" y="439913"/>
                  </a:cubicBezTo>
                  <a:close/>
                  <a:moveTo>
                    <a:pt x="1178353" y="439913"/>
                  </a:moveTo>
                  <a:cubicBezTo>
                    <a:pt x="1205476" y="439913"/>
                    <a:pt x="1227462" y="461900"/>
                    <a:pt x="1227462" y="489022"/>
                  </a:cubicBezTo>
                  <a:cubicBezTo>
                    <a:pt x="1227462" y="516146"/>
                    <a:pt x="1205476" y="538132"/>
                    <a:pt x="1178353" y="538132"/>
                  </a:cubicBezTo>
                  <a:cubicBezTo>
                    <a:pt x="1151230" y="538132"/>
                    <a:pt x="1129243" y="516146"/>
                    <a:pt x="1129243" y="489022"/>
                  </a:cubicBezTo>
                  <a:cubicBezTo>
                    <a:pt x="1129243" y="461900"/>
                    <a:pt x="1151230" y="439913"/>
                    <a:pt x="1178353" y="439913"/>
                  </a:cubicBezTo>
                  <a:close/>
                  <a:moveTo>
                    <a:pt x="666483" y="439913"/>
                  </a:moveTo>
                  <a:cubicBezTo>
                    <a:pt x="693606" y="439913"/>
                    <a:pt x="715592" y="461900"/>
                    <a:pt x="715592" y="489022"/>
                  </a:cubicBezTo>
                  <a:cubicBezTo>
                    <a:pt x="715592" y="516146"/>
                    <a:pt x="693606" y="538132"/>
                    <a:pt x="666483" y="538132"/>
                  </a:cubicBezTo>
                  <a:cubicBezTo>
                    <a:pt x="639360" y="538132"/>
                    <a:pt x="617373" y="516146"/>
                    <a:pt x="617373" y="489022"/>
                  </a:cubicBezTo>
                  <a:cubicBezTo>
                    <a:pt x="617373" y="461900"/>
                    <a:pt x="639360" y="439913"/>
                    <a:pt x="666483" y="439913"/>
                  </a:cubicBezTo>
                  <a:close/>
                  <a:moveTo>
                    <a:pt x="154424" y="439913"/>
                  </a:moveTo>
                  <a:cubicBezTo>
                    <a:pt x="181547" y="439913"/>
                    <a:pt x="203534" y="461900"/>
                    <a:pt x="203534" y="489022"/>
                  </a:cubicBezTo>
                  <a:cubicBezTo>
                    <a:pt x="203534" y="516146"/>
                    <a:pt x="181547" y="538132"/>
                    <a:pt x="154424" y="538132"/>
                  </a:cubicBezTo>
                  <a:cubicBezTo>
                    <a:pt x="127301" y="538132"/>
                    <a:pt x="105315" y="516146"/>
                    <a:pt x="105315" y="489022"/>
                  </a:cubicBezTo>
                  <a:cubicBezTo>
                    <a:pt x="105315" y="461900"/>
                    <a:pt x="127301" y="439913"/>
                    <a:pt x="154424" y="439913"/>
                  </a:cubicBezTo>
                  <a:close/>
                  <a:moveTo>
                    <a:pt x="11929966" y="439912"/>
                  </a:moveTo>
                  <a:cubicBezTo>
                    <a:pt x="11957088" y="439912"/>
                    <a:pt x="11979075" y="461899"/>
                    <a:pt x="11979075" y="489022"/>
                  </a:cubicBezTo>
                  <a:cubicBezTo>
                    <a:pt x="11979075" y="516145"/>
                    <a:pt x="11957088" y="538132"/>
                    <a:pt x="11929966" y="538132"/>
                  </a:cubicBezTo>
                  <a:cubicBezTo>
                    <a:pt x="11902844" y="538132"/>
                    <a:pt x="11880856" y="516145"/>
                    <a:pt x="11880856" y="489022"/>
                  </a:cubicBezTo>
                  <a:cubicBezTo>
                    <a:pt x="11880856" y="461899"/>
                    <a:pt x="11902844" y="439912"/>
                    <a:pt x="11929966" y="439912"/>
                  </a:cubicBezTo>
                  <a:close/>
                  <a:moveTo>
                    <a:pt x="11929965" y="0"/>
                  </a:moveTo>
                  <a:cubicBezTo>
                    <a:pt x="11949232" y="0"/>
                    <a:pt x="11964908" y="15677"/>
                    <a:pt x="11964908" y="34944"/>
                  </a:cubicBezTo>
                  <a:cubicBezTo>
                    <a:pt x="11964908" y="54210"/>
                    <a:pt x="11949232" y="69887"/>
                    <a:pt x="11929965" y="69887"/>
                  </a:cubicBezTo>
                  <a:cubicBezTo>
                    <a:pt x="11910699" y="69887"/>
                    <a:pt x="11895022" y="54210"/>
                    <a:pt x="11895022" y="34944"/>
                  </a:cubicBezTo>
                  <a:cubicBezTo>
                    <a:pt x="11895022" y="15677"/>
                    <a:pt x="11910699" y="0"/>
                    <a:pt x="11929965" y="0"/>
                  </a:cubicBezTo>
                  <a:close/>
                  <a:moveTo>
                    <a:pt x="11417900" y="0"/>
                  </a:moveTo>
                  <a:cubicBezTo>
                    <a:pt x="11437199" y="0"/>
                    <a:pt x="11452843" y="15646"/>
                    <a:pt x="11452843" y="34944"/>
                  </a:cubicBezTo>
                  <a:cubicBezTo>
                    <a:pt x="11452843" y="54243"/>
                    <a:pt x="11437199" y="69887"/>
                    <a:pt x="11417900" y="69887"/>
                  </a:cubicBezTo>
                  <a:cubicBezTo>
                    <a:pt x="11398601" y="69887"/>
                    <a:pt x="11382957" y="54243"/>
                    <a:pt x="11382957" y="34944"/>
                  </a:cubicBezTo>
                  <a:cubicBezTo>
                    <a:pt x="11382957" y="15646"/>
                    <a:pt x="11398601" y="0"/>
                    <a:pt x="11417900" y="0"/>
                  </a:cubicBezTo>
                  <a:close/>
                  <a:moveTo>
                    <a:pt x="10906023" y="0"/>
                  </a:moveTo>
                  <a:cubicBezTo>
                    <a:pt x="10925322" y="0"/>
                    <a:pt x="10940966" y="15646"/>
                    <a:pt x="10940966" y="34944"/>
                  </a:cubicBezTo>
                  <a:cubicBezTo>
                    <a:pt x="10940966" y="54243"/>
                    <a:pt x="10925322" y="69887"/>
                    <a:pt x="10906023" y="69887"/>
                  </a:cubicBezTo>
                  <a:cubicBezTo>
                    <a:pt x="10886724" y="69887"/>
                    <a:pt x="10871080" y="54243"/>
                    <a:pt x="10871080" y="34944"/>
                  </a:cubicBezTo>
                  <a:cubicBezTo>
                    <a:pt x="10871080" y="15646"/>
                    <a:pt x="10886724" y="0"/>
                    <a:pt x="10906023" y="0"/>
                  </a:cubicBezTo>
                  <a:close/>
                  <a:moveTo>
                    <a:pt x="10393958" y="0"/>
                  </a:moveTo>
                  <a:cubicBezTo>
                    <a:pt x="10413256" y="0"/>
                    <a:pt x="10428901" y="15646"/>
                    <a:pt x="10428901" y="34944"/>
                  </a:cubicBezTo>
                  <a:cubicBezTo>
                    <a:pt x="10428901" y="54243"/>
                    <a:pt x="10413256" y="69887"/>
                    <a:pt x="10393958" y="69887"/>
                  </a:cubicBezTo>
                  <a:cubicBezTo>
                    <a:pt x="10374659" y="69887"/>
                    <a:pt x="10359014" y="54243"/>
                    <a:pt x="10359014" y="34944"/>
                  </a:cubicBezTo>
                  <a:cubicBezTo>
                    <a:pt x="10359014" y="15646"/>
                    <a:pt x="10374659" y="0"/>
                    <a:pt x="10393958" y="0"/>
                  </a:cubicBezTo>
                  <a:close/>
                  <a:moveTo>
                    <a:pt x="9882080" y="0"/>
                  </a:moveTo>
                  <a:cubicBezTo>
                    <a:pt x="9901379" y="0"/>
                    <a:pt x="9917023" y="15646"/>
                    <a:pt x="9917023" y="34944"/>
                  </a:cubicBezTo>
                  <a:cubicBezTo>
                    <a:pt x="9917023" y="54243"/>
                    <a:pt x="9901379" y="69887"/>
                    <a:pt x="9882080" y="69887"/>
                  </a:cubicBezTo>
                  <a:cubicBezTo>
                    <a:pt x="9862781" y="69887"/>
                    <a:pt x="9847137" y="54243"/>
                    <a:pt x="9847137" y="34944"/>
                  </a:cubicBezTo>
                  <a:cubicBezTo>
                    <a:pt x="9847137" y="15646"/>
                    <a:pt x="9862781" y="0"/>
                    <a:pt x="9882080" y="0"/>
                  </a:cubicBezTo>
                  <a:close/>
                  <a:moveTo>
                    <a:pt x="9370014" y="0"/>
                  </a:moveTo>
                  <a:cubicBezTo>
                    <a:pt x="9389280" y="0"/>
                    <a:pt x="9404958" y="15677"/>
                    <a:pt x="9404958" y="34944"/>
                  </a:cubicBezTo>
                  <a:cubicBezTo>
                    <a:pt x="9404958" y="54210"/>
                    <a:pt x="9389280" y="69887"/>
                    <a:pt x="9370014" y="69887"/>
                  </a:cubicBezTo>
                  <a:cubicBezTo>
                    <a:pt x="9350748" y="69887"/>
                    <a:pt x="9335070" y="54210"/>
                    <a:pt x="9335070" y="34944"/>
                  </a:cubicBezTo>
                  <a:cubicBezTo>
                    <a:pt x="9335070" y="15677"/>
                    <a:pt x="9350748" y="0"/>
                    <a:pt x="9370014" y="0"/>
                  </a:cubicBezTo>
                  <a:close/>
                  <a:moveTo>
                    <a:pt x="8857948" y="0"/>
                  </a:moveTo>
                  <a:cubicBezTo>
                    <a:pt x="8877214" y="0"/>
                    <a:pt x="8892891" y="15677"/>
                    <a:pt x="8892891" y="34944"/>
                  </a:cubicBezTo>
                  <a:cubicBezTo>
                    <a:pt x="8892891" y="54210"/>
                    <a:pt x="8877214" y="69887"/>
                    <a:pt x="8857948" y="69887"/>
                  </a:cubicBezTo>
                  <a:cubicBezTo>
                    <a:pt x="8838681" y="69887"/>
                    <a:pt x="8823004" y="54210"/>
                    <a:pt x="8823004" y="34944"/>
                  </a:cubicBezTo>
                  <a:cubicBezTo>
                    <a:pt x="8823004" y="15677"/>
                    <a:pt x="8838681" y="0"/>
                    <a:pt x="8857948" y="0"/>
                  </a:cubicBezTo>
                  <a:close/>
                  <a:moveTo>
                    <a:pt x="8346071" y="0"/>
                  </a:moveTo>
                  <a:cubicBezTo>
                    <a:pt x="8365337" y="0"/>
                    <a:pt x="8381015" y="15677"/>
                    <a:pt x="8381015" y="34944"/>
                  </a:cubicBezTo>
                  <a:cubicBezTo>
                    <a:pt x="8381015" y="54210"/>
                    <a:pt x="8365337" y="69887"/>
                    <a:pt x="8346071" y="69887"/>
                  </a:cubicBezTo>
                  <a:cubicBezTo>
                    <a:pt x="8326804" y="69887"/>
                    <a:pt x="8311127" y="54210"/>
                    <a:pt x="8311127" y="34944"/>
                  </a:cubicBezTo>
                  <a:cubicBezTo>
                    <a:pt x="8311127" y="15677"/>
                    <a:pt x="8326804" y="0"/>
                    <a:pt x="8346071" y="0"/>
                  </a:cubicBezTo>
                  <a:close/>
                  <a:moveTo>
                    <a:pt x="7834004" y="0"/>
                  </a:moveTo>
                  <a:cubicBezTo>
                    <a:pt x="7853271" y="0"/>
                    <a:pt x="7868948" y="15677"/>
                    <a:pt x="7868948" y="34944"/>
                  </a:cubicBezTo>
                  <a:cubicBezTo>
                    <a:pt x="7868948" y="54210"/>
                    <a:pt x="7853271" y="69887"/>
                    <a:pt x="7834004" y="69887"/>
                  </a:cubicBezTo>
                  <a:cubicBezTo>
                    <a:pt x="7814738" y="69887"/>
                    <a:pt x="7799061" y="54210"/>
                    <a:pt x="7799061" y="34944"/>
                  </a:cubicBezTo>
                  <a:cubicBezTo>
                    <a:pt x="7799061" y="15677"/>
                    <a:pt x="7814738" y="0"/>
                    <a:pt x="7834004" y="0"/>
                  </a:cubicBezTo>
                  <a:close/>
                  <a:moveTo>
                    <a:pt x="7322128" y="0"/>
                  </a:moveTo>
                  <a:cubicBezTo>
                    <a:pt x="7341394" y="0"/>
                    <a:pt x="7357071" y="15677"/>
                    <a:pt x="7357071" y="34944"/>
                  </a:cubicBezTo>
                  <a:cubicBezTo>
                    <a:pt x="7357071" y="54210"/>
                    <a:pt x="7341394" y="69887"/>
                    <a:pt x="7322128" y="69887"/>
                  </a:cubicBezTo>
                  <a:cubicBezTo>
                    <a:pt x="7302861" y="69887"/>
                    <a:pt x="7287184" y="54210"/>
                    <a:pt x="7287184" y="34944"/>
                  </a:cubicBezTo>
                  <a:cubicBezTo>
                    <a:pt x="7287184" y="15677"/>
                    <a:pt x="7302861" y="0"/>
                    <a:pt x="7322128" y="0"/>
                  </a:cubicBezTo>
                  <a:close/>
                  <a:moveTo>
                    <a:pt x="6810062" y="0"/>
                  </a:moveTo>
                  <a:cubicBezTo>
                    <a:pt x="6829328" y="0"/>
                    <a:pt x="6845006" y="15677"/>
                    <a:pt x="6845006" y="34944"/>
                  </a:cubicBezTo>
                  <a:cubicBezTo>
                    <a:pt x="6845006" y="54210"/>
                    <a:pt x="6829328" y="69887"/>
                    <a:pt x="6810062" y="69887"/>
                  </a:cubicBezTo>
                  <a:cubicBezTo>
                    <a:pt x="6790796" y="69887"/>
                    <a:pt x="6775118" y="54210"/>
                    <a:pt x="6775118" y="34944"/>
                  </a:cubicBezTo>
                  <a:cubicBezTo>
                    <a:pt x="6775118" y="15677"/>
                    <a:pt x="6790796" y="0"/>
                    <a:pt x="6810062" y="0"/>
                  </a:cubicBezTo>
                  <a:close/>
                  <a:moveTo>
                    <a:pt x="6298186" y="0"/>
                  </a:moveTo>
                  <a:cubicBezTo>
                    <a:pt x="6317451" y="0"/>
                    <a:pt x="6333129" y="15677"/>
                    <a:pt x="6333129" y="34944"/>
                  </a:cubicBezTo>
                  <a:cubicBezTo>
                    <a:pt x="6333129" y="54210"/>
                    <a:pt x="6317451" y="69887"/>
                    <a:pt x="6298186" y="69887"/>
                  </a:cubicBezTo>
                  <a:cubicBezTo>
                    <a:pt x="6278919" y="69887"/>
                    <a:pt x="6263242" y="54210"/>
                    <a:pt x="6263242" y="34944"/>
                  </a:cubicBezTo>
                  <a:cubicBezTo>
                    <a:pt x="6263242" y="15677"/>
                    <a:pt x="6278919" y="0"/>
                    <a:pt x="6298186" y="0"/>
                  </a:cubicBezTo>
                  <a:close/>
                  <a:moveTo>
                    <a:pt x="5786126" y="0"/>
                  </a:moveTo>
                  <a:cubicBezTo>
                    <a:pt x="5805392" y="0"/>
                    <a:pt x="5821068" y="15677"/>
                    <a:pt x="5821068" y="34944"/>
                  </a:cubicBezTo>
                  <a:cubicBezTo>
                    <a:pt x="5821068" y="54210"/>
                    <a:pt x="5805392" y="69887"/>
                    <a:pt x="5786126" y="69887"/>
                  </a:cubicBezTo>
                  <a:cubicBezTo>
                    <a:pt x="5766859" y="69887"/>
                    <a:pt x="5751183" y="54210"/>
                    <a:pt x="5751183" y="34944"/>
                  </a:cubicBezTo>
                  <a:cubicBezTo>
                    <a:pt x="5751183" y="15677"/>
                    <a:pt x="5766859" y="0"/>
                    <a:pt x="5786126" y="0"/>
                  </a:cubicBezTo>
                  <a:close/>
                  <a:moveTo>
                    <a:pt x="5274270" y="0"/>
                  </a:moveTo>
                  <a:cubicBezTo>
                    <a:pt x="5293570" y="0"/>
                    <a:pt x="5309213" y="15646"/>
                    <a:pt x="5309213" y="34944"/>
                  </a:cubicBezTo>
                  <a:cubicBezTo>
                    <a:pt x="5309213" y="54243"/>
                    <a:pt x="5293570" y="69887"/>
                    <a:pt x="5274270" y="69887"/>
                  </a:cubicBezTo>
                  <a:cubicBezTo>
                    <a:pt x="5254974" y="69887"/>
                    <a:pt x="5239326" y="54243"/>
                    <a:pt x="5239326" y="34944"/>
                  </a:cubicBezTo>
                  <a:cubicBezTo>
                    <a:pt x="5239326" y="15646"/>
                    <a:pt x="5254974" y="0"/>
                    <a:pt x="5274270" y="0"/>
                  </a:cubicBezTo>
                  <a:close/>
                  <a:moveTo>
                    <a:pt x="4762180" y="0"/>
                  </a:moveTo>
                  <a:cubicBezTo>
                    <a:pt x="4781484" y="0"/>
                    <a:pt x="4797138" y="15646"/>
                    <a:pt x="4797138" y="34944"/>
                  </a:cubicBezTo>
                  <a:cubicBezTo>
                    <a:pt x="4797138" y="54243"/>
                    <a:pt x="4781484" y="69887"/>
                    <a:pt x="4762180" y="69887"/>
                  </a:cubicBezTo>
                  <a:cubicBezTo>
                    <a:pt x="4742882" y="69887"/>
                    <a:pt x="4727244" y="54243"/>
                    <a:pt x="4727244" y="34944"/>
                  </a:cubicBezTo>
                  <a:cubicBezTo>
                    <a:pt x="4727244" y="15646"/>
                    <a:pt x="4742882" y="0"/>
                    <a:pt x="4762180" y="0"/>
                  </a:cubicBezTo>
                  <a:close/>
                  <a:moveTo>
                    <a:pt x="4250316" y="0"/>
                  </a:moveTo>
                  <a:cubicBezTo>
                    <a:pt x="4269615" y="0"/>
                    <a:pt x="4285260" y="15646"/>
                    <a:pt x="4285260" y="34944"/>
                  </a:cubicBezTo>
                  <a:cubicBezTo>
                    <a:pt x="4285260" y="54243"/>
                    <a:pt x="4269615" y="69887"/>
                    <a:pt x="4250316" y="69887"/>
                  </a:cubicBezTo>
                  <a:cubicBezTo>
                    <a:pt x="4231016" y="69887"/>
                    <a:pt x="4215371" y="54243"/>
                    <a:pt x="4215371" y="34944"/>
                  </a:cubicBezTo>
                  <a:cubicBezTo>
                    <a:pt x="4215371" y="15646"/>
                    <a:pt x="4231016" y="0"/>
                    <a:pt x="4250316" y="0"/>
                  </a:cubicBezTo>
                  <a:close/>
                  <a:moveTo>
                    <a:pt x="3738287" y="0"/>
                  </a:moveTo>
                  <a:cubicBezTo>
                    <a:pt x="3757581" y="0"/>
                    <a:pt x="3773228" y="15646"/>
                    <a:pt x="3773228" y="34944"/>
                  </a:cubicBezTo>
                  <a:cubicBezTo>
                    <a:pt x="3773228" y="54243"/>
                    <a:pt x="3757581" y="69887"/>
                    <a:pt x="3738287" y="69887"/>
                  </a:cubicBezTo>
                  <a:cubicBezTo>
                    <a:pt x="3718987" y="69887"/>
                    <a:pt x="3703339" y="54243"/>
                    <a:pt x="3703339" y="34944"/>
                  </a:cubicBezTo>
                  <a:cubicBezTo>
                    <a:pt x="3703339" y="15646"/>
                    <a:pt x="3718987" y="0"/>
                    <a:pt x="3738287" y="0"/>
                  </a:cubicBezTo>
                  <a:close/>
                  <a:moveTo>
                    <a:pt x="3226239" y="0"/>
                  </a:moveTo>
                  <a:cubicBezTo>
                    <a:pt x="3245540" y="0"/>
                    <a:pt x="3261187" y="15646"/>
                    <a:pt x="3261187" y="34944"/>
                  </a:cubicBezTo>
                  <a:cubicBezTo>
                    <a:pt x="3261187" y="54243"/>
                    <a:pt x="3245540" y="69887"/>
                    <a:pt x="3226239" y="69887"/>
                  </a:cubicBezTo>
                  <a:cubicBezTo>
                    <a:pt x="3206939" y="69887"/>
                    <a:pt x="3191293" y="54243"/>
                    <a:pt x="3191293" y="34944"/>
                  </a:cubicBezTo>
                  <a:cubicBezTo>
                    <a:pt x="3191293" y="15646"/>
                    <a:pt x="3206939" y="0"/>
                    <a:pt x="3226239" y="0"/>
                  </a:cubicBezTo>
                  <a:close/>
                  <a:moveTo>
                    <a:pt x="2714361" y="0"/>
                  </a:moveTo>
                  <a:cubicBezTo>
                    <a:pt x="2733657" y="0"/>
                    <a:pt x="2749305" y="15646"/>
                    <a:pt x="2749305" y="34944"/>
                  </a:cubicBezTo>
                  <a:cubicBezTo>
                    <a:pt x="2749305" y="54243"/>
                    <a:pt x="2733657" y="69887"/>
                    <a:pt x="2714361" y="69887"/>
                  </a:cubicBezTo>
                  <a:cubicBezTo>
                    <a:pt x="2695063" y="69887"/>
                    <a:pt x="2679418" y="54243"/>
                    <a:pt x="2679418" y="34944"/>
                  </a:cubicBezTo>
                  <a:cubicBezTo>
                    <a:pt x="2679418" y="15646"/>
                    <a:pt x="2695063" y="0"/>
                    <a:pt x="2714361" y="0"/>
                  </a:cubicBezTo>
                  <a:close/>
                  <a:moveTo>
                    <a:pt x="2202305" y="0"/>
                  </a:moveTo>
                  <a:cubicBezTo>
                    <a:pt x="2221604" y="0"/>
                    <a:pt x="2237248" y="15646"/>
                    <a:pt x="2237248" y="34944"/>
                  </a:cubicBezTo>
                  <a:cubicBezTo>
                    <a:pt x="2237248" y="54243"/>
                    <a:pt x="2221604" y="69887"/>
                    <a:pt x="2202305" y="69887"/>
                  </a:cubicBezTo>
                  <a:cubicBezTo>
                    <a:pt x="2183006" y="69887"/>
                    <a:pt x="2167360" y="54243"/>
                    <a:pt x="2167360" y="34944"/>
                  </a:cubicBezTo>
                  <a:cubicBezTo>
                    <a:pt x="2167360" y="15646"/>
                    <a:pt x="2183006" y="0"/>
                    <a:pt x="2202305" y="0"/>
                  </a:cubicBezTo>
                  <a:close/>
                  <a:moveTo>
                    <a:pt x="1690412" y="0"/>
                  </a:moveTo>
                  <a:cubicBezTo>
                    <a:pt x="1709711" y="0"/>
                    <a:pt x="1725355" y="15646"/>
                    <a:pt x="1725355" y="34944"/>
                  </a:cubicBezTo>
                  <a:cubicBezTo>
                    <a:pt x="1725355" y="54243"/>
                    <a:pt x="1709711" y="69887"/>
                    <a:pt x="1690412" y="69887"/>
                  </a:cubicBezTo>
                  <a:cubicBezTo>
                    <a:pt x="1671113" y="69887"/>
                    <a:pt x="1655468" y="54243"/>
                    <a:pt x="1655468" y="34944"/>
                  </a:cubicBezTo>
                  <a:cubicBezTo>
                    <a:pt x="1655468" y="15646"/>
                    <a:pt x="1671113" y="0"/>
                    <a:pt x="1690412" y="0"/>
                  </a:cubicBezTo>
                  <a:close/>
                  <a:moveTo>
                    <a:pt x="1178353" y="0"/>
                  </a:moveTo>
                  <a:cubicBezTo>
                    <a:pt x="1197652" y="0"/>
                    <a:pt x="1213295" y="15646"/>
                    <a:pt x="1213295" y="34944"/>
                  </a:cubicBezTo>
                  <a:cubicBezTo>
                    <a:pt x="1213295" y="54243"/>
                    <a:pt x="1197652" y="69887"/>
                    <a:pt x="1178353" y="69887"/>
                  </a:cubicBezTo>
                  <a:cubicBezTo>
                    <a:pt x="1159054" y="69887"/>
                    <a:pt x="1143409" y="54243"/>
                    <a:pt x="1143409" y="34944"/>
                  </a:cubicBezTo>
                  <a:cubicBezTo>
                    <a:pt x="1143409" y="15646"/>
                    <a:pt x="1159054" y="0"/>
                    <a:pt x="1178353" y="0"/>
                  </a:cubicBezTo>
                  <a:close/>
                  <a:moveTo>
                    <a:pt x="666483" y="0"/>
                  </a:moveTo>
                  <a:cubicBezTo>
                    <a:pt x="685781" y="0"/>
                    <a:pt x="701425" y="15646"/>
                    <a:pt x="701425" y="34944"/>
                  </a:cubicBezTo>
                  <a:cubicBezTo>
                    <a:pt x="701425" y="54243"/>
                    <a:pt x="685780" y="69887"/>
                    <a:pt x="666483" y="69887"/>
                  </a:cubicBezTo>
                  <a:cubicBezTo>
                    <a:pt x="647184" y="69887"/>
                    <a:pt x="631539" y="54243"/>
                    <a:pt x="631539" y="34944"/>
                  </a:cubicBezTo>
                  <a:cubicBezTo>
                    <a:pt x="631539" y="15646"/>
                    <a:pt x="647184" y="0"/>
                    <a:pt x="666483" y="0"/>
                  </a:cubicBezTo>
                  <a:close/>
                  <a:moveTo>
                    <a:pt x="154424" y="0"/>
                  </a:moveTo>
                  <a:cubicBezTo>
                    <a:pt x="173722" y="0"/>
                    <a:pt x="189367" y="15646"/>
                    <a:pt x="189367" y="34944"/>
                  </a:cubicBezTo>
                  <a:cubicBezTo>
                    <a:pt x="189367" y="54243"/>
                    <a:pt x="173722" y="69887"/>
                    <a:pt x="154424" y="69887"/>
                  </a:cubicBezTo>
                  <a:cubicBezTo>
                    <a:pt x="135125" y="69887"/>
                    <a:pt x="119480" y="54243"/>
                    <a:pt x="119480" y="34944"/>
                  </a:cubicBezTo>
                  <a:cubicBezTo>
                    <a:pt x="119480" y="15646"/>
                    <a:pt x="135125" y="0"/>
                    <a:pt x="154424" y="0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2482E51-58E6-4B1B-9E8D-FC23F96D05AD}"/>
                </a:ext>
              </a:extLst>
            </p:cNvPr>
            <p:cNvSpPr/>
            <p:nvPr/>
          </p:nvSpPr>
          <p:spPr>
            <a:xfrm>
              <a:off x="1196322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0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0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85D1CED-D4F9-4635-90C3-E9183B320661}"/>
                </a:ext>
              </a:extLst>
            </p:cNvPr>
            <p:cNvSpPr/>
            <p:nvPr/>
          </p:nvSpPr>
          <p:spPr>
            <a:xfrm>
              <a:off x="1197739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BE7B1C81-3411-4D01-9313-3059EE617017}"/>
              </a:ext>
            </a:extLst>
          </p:cNvPr>
          <p:cNvGrpSpPr>
            <a:grpSpLocks/>
          </p:cNvGrpSpPr>
          <p:nvPr userDrawn="1"/>
        </p:nvGrpSpPr>
        <p:grpSpPr>
          <a:xfrm flipH="1">
            <a:off x="0" y="1879956"/>
            <a:ext cx="12206472" cy="4978044"/>
            <a:chOff x="53847" y="1915426"/>
            <a:chExt cx="12084090" cy="4928163"/>
          </a:xfrm>
          <a:gradFill flip="none" rotWithShape="1">
            <a:gsLst>
              <a:gs pos="12000">
                <a:schemeClr val="bg1">
                  <a:alpha val="0"/>
                </a:schemeClr>
              </a:gs>
              <a:gs pos="24000">
                <a:schemeClr val="accent2">
                  <a:alpha val="49000"/>
                </a:schemeClr>
              </a:gs>
              <a:gs pos="40000">
                <a:schemeClr val="bg1">
                  <a:alpha val="0"/>
                </a:schemeClr>
              </a:gs>
            </a:gsLst>
            <a:lin ang="18600000" scaled="0"/>
            <a:tileRect/>
          </a:gradFill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C6402D-9A2E-44B4-BD93-9A434C071F5F}"/>
                </a:ext>
              </a:extLst>
            </p:cNvPr>
            <p:cNvSpPr/>
            <p:nvPr/>
          </p:nvSpPr>
          <p:spPr>
            <a:xfrm>
              <a:off x="187592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E7CDFB9-3C92-4542-AFC4-8E3161A20F11}"/>
                </a:ext>
              </a:extLst>
            </p:cNvPr>
            <p:cNvSpPr/>
            <p:nvPr/>
          </p:nvSpPr>
          <p:spPr>
            <a:xfrm>
              <a:off x="201759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5EB377C-FCF5-4B74-A59B-06A74C1AEDF6}"/>
                </a:ext>
              </a:extLst>
            </p:cNvPr>
            <p:cNvSpPr/>
            <p:nvPr/>
          </p:nvSpPr>
          <p:spPr>
            <a:xfrm>
              <a:off x="699646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E6B0BDB-672F-4181-A1D0-7D295D5B8C27}"/>
                </a:ext>
              </a:extLst>
            </p:cNvPr>
            <p:cNvSpPr/>
            <p:nvPr/>
          </p:nvSpPr>
          <p:spPr>
            <a:xfrm>
              <a:off x="713812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B553554-8F4A-44F7-A2A8-7975C301988A}"/>
                </a:ext>
              </a:extLst>
            </p:cNvPr>
            <p:cNvSpPr/>
            <p:nvPr/>
          </p:nvSpPr>
          <p:spPr>
            <a:xfrm>
              <a:off x="1211510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82766511-8460-4E3E-BF1C-C4808A0DAB37}"/>
                </a:ext>
              </a:extLst>
            </p:cNvPr>
            <p:cNvSpPr/>
            <p:nvPr/>
          </p:nvSpPr>
          <p:spPr>
            <a:xfrm>
              <a:off x="1225676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35389077-135D-435F-B551-7D09537CAF0D}"/>
                </a:ext>
              </a:extLst>
            </p:cNvPr>
            <p:cNvSpPr/>
            <p:nvPr/>
          </p:nvSpPr>
          <p:spPr>
            <a:xfrm>
              <a:off x="1723563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4603A8D-14D8-415A-B28A-D613B3C572F4}"/>
                </a:ext>
              </a:extLst>
            </p:cNvPr>
            <p:cNvSpPr/>
            <p:nvPr/>
          </p:nvSpPr>
          <p:spPr>
            <a:xfrm>
              <a:off x="1737729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1F65E245-BA7E-4CCB-A410-FBA4DEEED435}"/>
                </a:ext>
              </a:extLst>
            </p:cNvPr>
            <p:cNvSpPr/>
            <p:nvPr/>
          </p:nvSpPr>
          <p:spPr>
            <a:xfrm>
              <a:off x="2235427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5FE4AA1-CCDC-4313-BE10-80A193FB2768}"/>
                </a:ext>
              </a:extLst>
            </p:cNvPr>
            <p:cNvSpPr/>
            <p:nvPr/>
          </p:nvSpPr>
          <p:spPr>
            <a:xfrm>
              <a:off x="224959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BDB535A0-B66D-4190-833A-776363968453}"/>
                </a:ext>
              </a:extLst>
            </p:cNvPr>
            <p:cNvSpPr/>
            <p:nvPr/>
          </p:nvSpPr>
          <p:spPr>
            <a:xfrm>
              <a:off x="2747480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11541106-CBF2-43FA-AF0E-54380B8541CB}"/>
                </a:ext>
              </a:extLst>
            </p:cNvPr>
            <p:cNvSpPr/>
            <p:nvPr/>
          </p:nvSpPr>
          <p:spPr>
            <a:xfrm>
              <a:off x="2761647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D8532FB-A2DB-48F7-B575-68F1ACF4E9D4}"/>
                </a:ext>
              </a:extLst>
            </p:cNvPr>
            <p:cNvSpPr/>
            <p:nvPr/>
          </p:nvSpPr>
          <p:spPr>
            <a:xfrm>
              <a:off x="3259344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9B99C88-DE9F-4DCC-9EA2-85F9A798A59C}"/>
                </a:ext>
              </a:extLst>
            </p:cNvPr>
            <p:cNvSpPr/>
            <p:nvPr/>
          </p:nvSpPr>
          <p:spPr>
            <a:xfrm>
              <a:off x="3273511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4A95A5EB-CE51-41D0-8F1D-C8E87CC71747}"/>
                </a:ext>
              </a:extLst>
            </p:cNvPr>
            <p:cNvSpPr/>
            <p:nvPr/>
          </p:nvSpPr>
          <p:spPr>
            <a:xfrm>
              <a:off x="3771397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31C17FC6-3B04-44F5-A569-725146A314E3}"/>
                </a:ext>
              </a:extLst>
            </p:cNvPr>
            <p:cNvSpPr/>
            <p:nvPr/>
          </p:nvSpPr>
          <p:spPr>
            <a:xfrm>
              <a:off x="378556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85E3C5F-B643-472E-AFF1-845A066A1E68}"/>
                </a:ext>
              </a:extLst>
            </p:cNvPr>
            <p:cNvSpPr/>
            <p:nvPr/>
          </p:nvSpPr>
          <p:spPr>
            <a:xfrm>
              <a:off x="4283451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76B2157-C019-4373-A3E1-B20AD116307D}"/>
                </a:ext>
              </a:extLst>
            </p:cNvPr>
            <p:cNvSpPr/>
            <p:nvPr/>
          </p:nvSpPr>
          <p:spPr>
            <a:xfrm>
              <a:off x="4297617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65E2C4-6C2B-4015-B6A2-980EB30AA42D}"/>
                </a:ext>
              </a:extLst>
            </p:cNvPr>
            <p:cNvSpPr/>
            <p:nvPr/>
          </p:nvSpPr>
          <p:spPr>
            <a:xfrm>
              <a:off x="4795315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EE0FBD3-AC39-4623-80C0-DD6923C37CFF}"/>
                </a:ext>
              </a:extLst>
            </p:cNvPr>
            <p:cNvSpPr/>
            <p:nvPr/>
          </p:nvSpPr>
          <p:spPr>
            <a:xfrm>
              <a:off x="4809481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6" y="12844"/>
                    <a:pt x="0" y="9969"/>
                    <a:pt x="0" y="6422"/>
                  </a:cubicBezTo>
                  <a:cubicBezTo>
                    <a:pt x="0" y="2875"/>
                    <a:pt x="2876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02A7E97-DE66-4114-9391-CDE219FBA4B6}"/>
                </a:ext>
              </a:extLst>
            </p:cNvPr>
            <p:cNvSpPr/>
            <p:nvPr/>
          </p:nvSpPr>
          <p:spPr>
            <a:xfrm>
              <a:off x="5307368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49E47E63-03AB-49F5-B7F1-90654787328C}"/>
                </a:ext>
              </a:extLst>
            </p:cNvPr>
            <p:cNvSpPr/>
            <p:nvPr/>
          </p:nvSpPr>
          <p:spPr>
            <a:xfrm>
              <a:off x="532153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CA5CEBF-4E03-443C-BE6C-4F34B19FEBC7}"/>
                </a:ext>
              </a:extLst>
            </p:cNvPr>
            <p:cNvSpPr/>
            <p:nvPr/>
          </p:nvSpPr>
          <p:spPr>
            <a:xfrm>
              <a:off x="5819421" y="2355141"/>
              <a:ext cx="41176" cy="41175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8 w 41177"/>
                <a:gd name="connsiteY1" fmla="*/ 41177 h 41176"/>
                <a:gd name="connsiteX2" fmla="*/ 0 w 41177"/>
                <a:gd name="connsiteY2" fmla="*/ 20588 h 41176"/>
                <a:gd name="connsiteX3" fmla="*/ 20588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3F78002-5993-4CC2-BCC7-74233EC55BCC}"/>
                </a:ext>
              </a:extLst>
            </p:cNvPr>
            <p:cNvSpPr/>
            <p:nvPr/>
          </p:nvSpPr>
          <p:spPr>
            <a:xfrm>
              <a:off x="5833398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EA23D854-BEFD-4EC1-8356-A968ED793CFF}"/>
                </a:ext>
              </a:extLst>
            </p:cNvPr>
            <p:cNvSpPr/>
            <p:nvPr/>
          </p:nvSpPr>
          <p:spPr>
            <a:xfrm>
              <a:off x="6331285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C23C0A8-25BA-421A-953E-BF8CC3EE8666}"/>
                </a:ext>
              </a:extLst>
            </p:cNvPr>
            <p:cNvSpPr/>
            <p:nvPr/>
          </p:nvSpPr>
          <p:spPr>
            <a:xfrm>
              <a:off x="6345452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63F6CCEB-DE78-40BF-BB7F-2A3A5C0B65F2}"/>
                </a:ext>
              </a:extLst>
            </p:cNvPr>
            <p:cNvSpPr/>
            <p:nvPr/>
          </p:nvSpPr>
          <p:spPr>
            <a:xfrm>
              <a:off x="6843338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7E1DEC4D-4BB8-425C-8358-4706F1360431}"/>
                </a:ext>
              </a:extLst>
            </p:cNvPr>
            <p:cNvSpPr/>
            <p:nvPr/>
          </p:nvSpPr>
          <p:spPr>
            <a:xfrm>
              <a:off x="6857316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A04F536-DAF0-47E8-9D86-06D6D6ACEA17}"/>
                </a:ext>
              </a:extLst>
            </p:cNvPr>
            <p:cNvSpPr/>
            <p:nvPr/>
          </p:nvSpPr>
          <p:spPr>
            <a:xfrm>
              <a:off x="7355202" y="2355141"/>
              <a:ext cx="41176" cy="41175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F9BA810-E961-495F-832C-74657DB17A9C}"/>
                </a:ext>
              </a:extLst>
            </p:cNvPr>
            <p:cNvSpPr/>
            <p:nvPr/>
          </p:nvSpPr>
          <p:spPr>
            <a:xfrm>
              <a:off x="7369368" y="1915427"/>
              <a:ext cx="12844" cy="12844"/>
            </a:xfrm>
            <a:custGeom>
              <a:avLst/>
              <a:gdLst>
                <a:gd name="connsiteX0" fmla="*/ 12845 w 12844"/>
                <a:gd name="connsiteY0" fmla="*/ 6422 h 12844"/>
                <a:gd name="connsiteX1" fmla="*/ 6423 w 12844"/>
                <a:gd name="connsiteY1" fmla="*/ 12844 h 12844"/>
                <a:gd name="connsiteX2" fmla="*/ 0 w 12844"/>
                <a:gd name="connsiteY2" fmla="*/ 6422 h 12844"/>
                <a:gd name="connsiteX3" fmla="*/ 6423 w 12844"/>
                <a:gd name="connsiteY3" fmla="*/ 0 h 12844"/>
                <a:gd name="connsiteX4" fmla="*/ 12845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5" y="6422"/>
                  </a:moveTo>
                  <a:cubicBezTo>
                    <a:pt x="12845" y="10011"/>
                    <a:pt x="10011" y="12844"/>
                    <a:pt x="6423" y="12844"/>
                  </a:cubicBezTo>
                  <a:cubicBezTo>
                    <a:pt x="2834" y="12844"/>
                    <a:pt x="0" y="10011"/>
                    <a:pt x="0" y="6422"/>
                  </a:cubicBezTo>
                  <a:cubicBezTo>
                    <a:pt x="0" y="2833"/>
                    <a:pt x="2834" y="0"/>
                    <a:pt x="6423" y="0"/>
                  </a:cubicBezTo>
                  <a:cubicBezTo>
                    <a:pt x="10011" y="0"/>
                    <a:pt x="12845" y="2833"/>
                    <a:pt x="12845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2668B35-1441-4604-9206-05853A94C305}"/>
                </a:ext>
              </a:extLst>
            </p:cNvPr>
            <p:cNvSpPr/>
            <p:nvPr/>
          </p:nvSpPr>
          <p:spPr>
            <a:xfrm>
              <a:off x="7867255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DA6D2BA-34B7-4FA9-864B-1C23B7DB1BA3}"/>
                </a:ext>
              </a:extLst>
            </p:cNvPr>
            <p:cNvSpPr/>
            <p:nvPr/>
          </p:nvSpPr>
          <p:spPr>
            <a:xfrm>
              <a:off x="7881233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77E6E0E-A3E2-485F-A021-0A36A4292914}"/>
                </a:ext>
              </a:extLst>
            </p:cNvPr>
            <p:cNvSpPr/>
            <p:nvPr/>
          </p:nvSpPr>
          <p:spPr>
            <a:xfrm>
              <a:off x="8379120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EF6999C-7522-4D77-8C0D-7BEA44BE2B2A}"/>
                </a:ext>
              </a:extLst>
            </p:cNvPr>
            <p:cNvSpPr/>
            <p:nvPr/>
          </p:nvSpPr>
          <p:spPr>
            <a:xfrm>
              <a:off x="8393286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573B09C3-9B1F-4211-A5F9-BAF34FBE1FA2}"/>
                </a:ext>
              </a:extLst>
            </p:cNvPr>
            <p:cNvSpPr/>
            <p:nvPr/>
          </p:nvSpPr>
          <p:spPr>
            <a:xfrm>
              <a:off x="8891173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D76DD12-7602-40CA-A4C8-83CDE5CCACB0}"/>
                </a:ext>
              </a:extLst>
            </p:cNvPr>
            <p:cNvSpPr/>
            <p:nvPr/>
          </p:nvSpPr>
          <p:spPr>
            <a:xfrm>
              <a:off x="8905338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87A67065-B90C-4CE9-B11D-B23E5C7BA6CB}"/>
                </a:ext>
              </a:extLst>
            </p:cNvPr>
            <p:cNvSpPr/>
            <p:nvPr/>
          </p:nvSpPr>
          <p:spPr>
            <a:xfrm>
              <a:off x="9403226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1A7430B8-6AD8-4079-A9B0-87076625EA25}"/>
                </a:ext>
              </a:extLst>
            </p:cNvPr>
            <p:cNvSpPr/>
            <p:nvPr/>
          </p:nvSpPr>
          <p:spPr>
            <a:xfrm>
              <a:off x="9417203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20155776-65E7-42B7-BA7F-DFD6FE57470F}"/>
                </a:ext>
              </a:extLst>
            </p:cNvPr>
            <p:cNvSpPr/>
            <p:nvPr/>
          </p:nvSpPr>
          <p:spPr>
            <a:xfrm>
              <a:off x="9915090" y="2355141"/>
              <a:ext cx="41175" cy="41175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BE46F879-67AE-4502-AB20-B46AE78E05C5}"/>
                </a:ext>
              </a:extLst>
            </p:cNvPr>
            <p:cNvSpPr/>
            <p:nvPr/>
          </p:nvSpPr>
          <p:spPr>
            <a:xfrm>
              <a:off x="9929255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F07BEB69-A8C2-4CFA-B373-6C1F4FB6B4F1}"/>
                </a:ext>
              </a:extLst>
            </p:cNvPr>
            <p:cNvSpPr/>
            <p:nvPr/>
          </p:nvSpPr>
          <p:spPr>
            <a:xfrm>
              <a:off x="10427143" y="2355141"/>
              <a:ext cx="41176" cy="41175"/>
            </a:xfrm>
            <a:custGeom>
              <a:avLst/>
              <a:gdLst>
                <a:gd name="connsiteX0" fmla="*/ 41178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8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8" y="20588"/>
                  </a:moveTo>
                  <a:cubicBezTo>
                    <a:pt x="41178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8" y="9255"/>
                    <a:pt x="41178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D1CD8B4-5D56-466D-8F1E-325AB1AAAC81}"/>
                </a:ext>
              </a:extLst>
            </p:cNvPr>
            <p:cNvSpPr/>
            <p:nvPr/>
          </p:nvSpPr>
          <p:spPr>
            <a:xfrm>
              <a:off x="10441121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4BEA1A08-090A-4E10-85A7-6033AD1E3E5C}"/>
                </a:ext>
              </a:extLst>
            </p:cNvPr>
            <p:cNvSpPr/>
            <p:nvPr/>
          </p:nvSpPr>
          <p:spPr>
            <a:xfrm>
              <a:off x="10939007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2170EF73-0204-462F-94D0-41D6CF06646B}"/>
                </a:ext>
              </a:extLst>
            </p:cNvPr>
            <p:cNvSpPr/>
            <p:nvPr/>
          </p:nvSpPr>
          <p:spPr>
            <a:xfrm>
              <a:off x="1095317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9CC445DE-96D5-4C71-A4D9-E5D687365DEA}"/>
                </a:ext>
              </a:extLst>
            </p:cNvPr>
            <p:cNvSpPr/>
            <p:nvPr/>
          </p:nvSpPr>
          <p:spPr>
            <a:xfrm>
              <a:off x="11450871" y="2355141"/>
              <a:ext cx="41175" cy="41175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50861020-7072-4438-8C4C-9004074091C9}"/>
                </a:ext>
              </a:extLst>
            </p:cNvPr>
            <p:cNvSpPr/>
            <p:nvPr/>
          </p:nvSpPr>
          <p:spPr>
            <a:xfrm>
              <a:off x="11465038" y="1915426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8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8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61E90F69-2812-421B-A8B0-1AA16963B7E6}"/>
                </a:ext>
              </a:extLst>
            </p:cNvPr>
            <p:cNvSpPr/>
            <p:nvPr/>
          </p:nvSpPr>
          <p:spPr>
            <a:xfrm flipH="1">
              <a:off x="53847" y="2765826"/>
              <a:ext cx="12084090" cy="4077763"/>
            </a:xfrm>
            <a:custGeom>
              <a:avLst/>
              <a:gdLst>
                <a:gd name="connsiteX0" fmla="*/ 11929965 w 12084394"/>
                <a:gd name="connsiteY0" fmla="*/ 3958074 h 4077840"/>
                <a:gd name="connsiteX1" fmla="*/ 12080337 w 12084394"/>
                <a:gd name="connsiteY1" fmla="*/ 4057748 h 4077840"/>
                <a:gd name="connsiteX2" fmla="*/ 12084394 w 12084394"/>
                <a:gd name="connsiteY2" fmla="*/ 4077840 h 4077840"/>
                <a:gd name="connsiteX3" fmla="*/ 11775537 w 12084394"/>
                <a:gd name="connsiteY3" fmla="*/ 4077840 h 4077840"/>
                <a:gd name="connsiteX4" fmla="*/ 11779594 w 12084394"/>
                <a:gd name="connsiteY4" fmla="*/ 4057748 h 4077840"/>
                <a:gd name="connsiteX5" fmla="*/ 11929965 w 12084394"/>
                <a:gd name="connsiteY5" fmla="*/ 3958074 h 4077840"/>
                <a:gd name="connsiteX6" fmla="*/ 11417899 w 12084394"/>
                <a:gd name="connsiteY6" fmla="*/ 3958074 h 4077840"/>
                <a:gd name="connsiteX7" fmla="*/ 11568271 w 12084394"/>
                <a:gd name="connsiteY7" fmla="*/ 4057748 h 4077840"/>
                <a:gd name="connsiteX8" fmla="*/ 11572328 w 12084394"/>
                <a:gd name="connsiteY8" fmla="*/ 4077840 h 4077840"/>
                <a:gd name="connsiteX9" fmla="*/ 11263471 w 12084394"/>
                <a:gd name="connsiteY9" fmla="*/ 4077840 h 4077840"/>
                <a:gd name="connsiteX10" fmla="*/ 11267528 w 12084394"/>
                <a:gd name="connsiteY10" fmla="*/ 4057748 h 4077840"/>
                <a:gd name="connsiteX11" fmla="*/ 11417899 w 12084394"/>
                <a:gd name="connsiteY11" fmla="*/ 3958074 h 4077840"/>
                <a:gd name="connsiteX12" fmla="*/ 10906022 w 12084394"/>
                <a:gd name="connsiteY12" fmla="*/ 3958074 h 4077840"/>
                <a:gd name="connsiteX13" fmla="*/ 11056393 w 12084394"/>
                <a:gd name="connsiteY13" fmla="*/ 4057748 h 4077840"/>
                <a:gd name="connsiteX14" fmla="*/ 11060450 w 12084394"/>
                <a:gd name="connsiteY14" fmla="*/ 4077840 h 4077840"/>
                <a:gd name="connsiteX15" fmla="*/ 10751593 w 12084394"/>
                <a:gd name="connsiteY15" fmla="*/ 4077840 h 4077840"/>
                <a:gd name="connsiteX16" fmla="*/ 10755650 w 12084394"/>
                <a:gd name="connsiteY16" fmla="*/ 4057748 h 4077840"/>
                <a:gd name="connsiteX17" fmla="*/ 10906022 w 12084394"/>
                <a:gd name="connsiteY17" fmla="*/ 3958074 h 4077840"/>
                <a:gd name="connsiteX18" fmla="*/ 10393956 w 12084394"/>
                <a:gd name="connsiteY18" fmla="*/ 3958074 h 4077840"/>
                <a:gd name="connsiteX19" fmla="*/ 10544328 w 12084394"/>
                <a:gd name="connsiteY19" fmla="*/ 4057748 h 4077840"/>
                <a:gd name="connsiteX20" fmla="*/ 10548385 w 12084394"/>
                <a:gd name="connsiteY20" fmla="*/ 4077840 h 4077840"/>
                <a:gd name="connsiteX21" fmla="*/ 10239527 w 12084394"/>
                <a:gd name="connsiteY21" fmla="*/ 4077840 h 4077840"/>
                <a:gd name="connsiteX22" fmla="*/ 10243584 w 12084394"/>
                <a:gd name="connsiteY22" fmla="*/ 4057748 h 4077840"/>
                <a:gd name="connsiteX23" fmla="*/ 10393956 w 12084394"/>
                <a:gd name="connsiteY23" fmla="*/ 3958074 h 4077840"/>
                <a:gd name="connsiteX24" fmla="*/ 9882079 w 12084394"/>
                <a:gd name="connsiteY24" fmla="*/ 3958074 h 4077840"/>
                <a:gd name="connsiteX25" fmla="*/ 10032451 w 12084394"/>
                <a:gd name="connsiteY25" fmla="*/ 4057748 h 4077840"/>
                <a:gd name="connsiteX26" fmla="*/ 10036508 w 12084394"/>
                <a:gd name="connsiteY26" fmla="*/ 4077840 h 4077840"/>
                <a:gd name="connsiteX27" fmla="*/ 9727651 w 12084394"/>
                <a:gd name="connsiteY27" fmla="*/ 4077840 h 4077840"/>
                <a:gd name="connsiteX28" fmla="*/ 9731708 w 12084394"/>
                <a:gd name="connsiteY28" fmla="*/ 4057748 h 4077840"/>
                <a:gd name="connsiteX29" fmla="*/ 9882079 w 12084394"/>
                <a:gd name="connsiteY29" fmla="*/ 3958074 h 4077840"/>
                <a:gd name="connsiteX30" fmla="*/ 9370013 w 12084394"/>
                <a:gd name="connsiteY30" fmla="*/ 3958074 h 4077840"/>
                <a:gd name="connsiteX31" fmla="*/ 9520384 w 12084394"/>
                <a:gd name="connsiteY31" fmla="*/ 4057748 h 4077840"/>
                <a:gd name="connsiteX32" fmla="*/ 9524441 w 12084394"/>
                <a:gd name="connsiteY32" fmla="*/ 4077840 h 4077840"/>
                <a:gd name="connsiteX33" fmla="*/ 9215584 w 12084394"/>
                <a:gd name="connsiteY33" fmla="*/ 4077840 h 4077840"/>
                <a:gd name="connsiteX34" fmla="*/ 9219641 w 12084394"/>
                <a:gd name="connsiteY34" fmla="*/ 4057748 h 4077840"/>
                <a:gd name="connsiteX35" fmla="*/ 9370013 w 12084394"/>
                <a:gd name="connsiteY35" fmla="*/ 3958074 h 4077840"/>
                <a:gd name="connsiteX36" fmla="*/ 8858136 w 12084394"/>
                <a:gd name="connsiteY36" fmla="*/ 3958074 h 4077840"/>
                <a:gd name="connsiteX37" fmla="*/ 9008508 w 12084394"/>
                <a:gd name="connsiteY37" fmla="*/ 4057748 h 4077840"/>
                <a:gd name="connsiteX38" fmla="*/ 9012565 w 12084394"/>
                <a:gd name="connsiteY38" fmla="*/ 4077840 h 4077840"/>
                <a:gd name="connsiteX39" fmla="*/ 8703708 w 12084394"/>
                <a:gd name="connsiteY39" fmla="*/ 4077840 h 4077840"/>
                <a:gd name="connsiteX40" fmla="*/ 8707765 w 12084394"/>
                <a:gd name="connsiteY40" fmla="*/ 4057748 h 4077840"/>
                <a:gd name="connsiteX41" fmla="*/ 8858136 w 12084394"/>
                <a:gd name="connsiteY41" fmla="*/ 3958074 h 4077840"/>
                <a:gd name="connsiteX42" fmla="*/ 8346070 w 12084394"/>
                <a:gd name="connsiteY42" fmla="*/ 3958074 h 4077840"/>
                <a:gd name="connsiteX43" fmla="*/ 8496441 w 12084394"/>
                <a:gd name="connsiteY43" fmla="*/ 4057748 h 4077840"/>
                <a:gd name="connsiteX44" fmla="*/ 8500498 w 12084394"/>
                <a:gd name="connsiteY44" fmla="*/ 4077840 h 4077840"/>
                <a:gd name="connsiteX45" fmla="*/ 8191642 w 12084394"/>
                <a:gd name="connsiteY45" fmla="*/ 4077840 h 4077840"/>
                <a:gd name="connsiteX46" fmla="*/ 8195698 w 12084394"/>
                <a:gd name="connsiteY46" fmla="*/ 4057748 h 4077840"/>
                <a:gd name="connsiteX47" fmla="*/ 8346070 w 12084394"/>
                <a:gd name="connsiteY47" fmla="*/ 3958074 h 4077840"/>
                <a:gd name="connsiteX48" fmla="*/ 7834193 w 12084394"/>
                <a:gd name="connsiteY48" fmla="*/ 3958074 h 4077840"/>
                <a:gd name="connsiteX49" fmla="*/ 7984565 w 12084394"/>
                <a:gd name="connsiteY49" fmla="*/ 4057748 h 4077840"/>
                <a:gd name="connsiteX50" fmla="*/ 7988622 w 12084394"/>
                <a:gd name="connsiteY50" fmla="*/ 4077840 h 4077840"/>
                <a:gd name="connsiteX51" fmla="*/ 7679765 w 12084394"/>
                <a:gd name="connsiteY51" fmla="*/ 4077840 h 4077840"/>
                <a:gd name="connsiteX52" fmla="*/ 7683822 w 12084394"/>
                <a:gd name="connsiteY52" fmla="*/ 4057748 h 4077840"/>
                <a:gd name="connsiteX53" fmla="*/ 7834193 w 12084394"/>
                <a:gd name="connsiteY53" fmla="*/ 3958074 h 4077840"/>
                <a:gd name="connsiteX54" fmla="*/ 7322127 w 12084394"/>
                <a:gd name="connsiteY54" fmla="*/ 3958074 h 4077840"/>
                <a:gd name="connsiteX55" fmla="*/ 7472498 w 12084394"/>
                <a:gd name="connsiteY55" fmla="*/ 4057748 h 4077840"/>
                <a:gd name="connsiteX56" fmla="*/ 7476555 w 12084394"/>
                <a:gd name="connsiteY56" fmla="*/ 4077840 h 4077840"/>
                <a:gd name="connsiteX57" fmla="*/ 7167699 w 12084394"/>
                <a:gd name="connsiteY57" fmla="*/ 4077840 h 4077840"/>
                <a:gd name="connsiteX58" fmla="*/ 7171755 w 12084394"/>
                <a:gd name="connsiteY58" fmla="*/ 4057748 h 4077840"/>
                <a:gd name="connsiteX59" fmla="*/ 7322127 w 12084394"/>
                <a:gd name="connsiteY59" fmla="*/ 3958074 h 4077840"/>
                <a:gd name="connsiteX60" fmla="*/ 6810062 w 12084394"/>
                <a:gd name="connsiteY60" fmla="*/ 3958074 h 4077840"/>
                <a:gd name="connsiteX61" fmla="*/ 6960434 w 12084394"/>
                <a:gd name="connsiteY61" fmla="*/ 4057748 h 4077840"/>
                <a:gd name="connsiteX62" fmla="*/ 6964491 w 12084394"/>
                <a:gd name="connsiteY62" fmla="*/ 4077840 h 4077840"/>
                <a:gd name="connsiteX63" fmla="*/ 6655635 w 12084394"/>
                <a:gd name="connsiteY63" fmla="*/ 4077840 h 4077840"/>
                <a:gd name="connsiteX64" fmla="*/ 6659691 w 12084394"/>
                <a:gd name="connsiteY64" fmla="*/ 4057748 h 4077840"/>
                <a:gd name="connsiteX65" fmla="*/ 6810062 w 12084394"/>
                <a:gd name="connsiteY65" fmla="*/ 3958074 h 4077840"/>
                <a:gd name="connsiteX66" fmla="*/ 6298184 w 12084394"/>
                <a:gd name="connsiteY66" fmla="*/ 3958074 h 4077840"/>
                <a:gd name="connsiteX67" fmla="*/ 6448557 w 12084394"/>
                <a:gd name="connsiteY67" fmla="*/ 4057748 h 4077840"/>
                <a:gd name="connsiteX68" fmla="*/ 6452613 w 12084394"/>
                <a:gd name="connsiteY68" fmla="*/ 4077840 h 4077840"/>
                <a:gd name="connsiteX69" fmla="*/ 6143757 w 12084394"/>
                <a:gd name="connsiteY69" fmla="*/ 4077840 h 4077840"/>
                <a:gd name="connsiteX70" fmla="*/ 6147813 w 12084394"/>
                <a:gd name="connsiteY70" fmla="*/ 4057748 h 4077840"/>
                <a:gd name="connsiteX71" fmla="*/ 6298184 w 12084394"/>
                <a:gd name="connsiteY71" fmla="*/ 3958074 h 4077840"/>
                <a:gd name="connsiteX72" fmla="*/ 5786126 w 12084394"/>
                <a:gd name="connsiteY72" fmla="*/ 3958074 h 4077840"/>
                <a:gd name="connsiteX73" fmla="*/ 5936491 w 12084394"/>
                <a:gd name="connsiteY73" fmla="*/ 4057748 h 4077840"/>
                <a:gd name="connsiteX74" fmla="*/ 5940548 w 12084394"/>
                <a:gd name="connsiteY74" fmla="*/ 4077840 h 4077840"/>
                <a:gd name="connsiteX75" fmla="*/ 5631705 w 12084394"/>
                <a:gd name="connsiteY75" fmla="*/ 4077840 h 4077840"/>
                <a:gd name="connsiteX76" fmla="*/ 5635761 w 12084394"/>
                <a:gd name="connsiteY76" fmla="*/ 4057748 h 4077840"/>
                <a:gd name="connsiteX77" fmla="*/ 5786126 w 12084394"/>
                <a:gd name="connsiteY77" fmla="*/ 3958074 h 4077840"/>
                <a:gd name="connsiteX78" fmla="*/ 5274270 w 12084394"/>
                <a:gd name="connsiteY78" fmla="*/ 3958074 h 4077840"/>
                <a:gd name="connsiteX79" fmla="*/ 5424637 w 12084394"/>
                <a:gd name="connsiteY79" fmla="*/ 4057748 h 4077840"/>
                <a:gd name="connsiteX80" fmla="*/ 5428693 w 12084394"/>
                <a:gd name="connsiteY80" fmla="*/ 4077840 h 4077840"/>
                <a:gd name="connsiteX81" fmla="*/ 5119842 w 12084394"/>
                <a:gd name="connsiteY81" fmla="*/ 4077840 h 4077840"/>
                <a:gd name="connsiteX82" fmla="*/ 5123898 w 12084394"/>
                <a:gd name="connsiteY82" fmla="*/ 4057748 h 4077840"/>
                <a:gd name="connsiteX83" fmla="*/ 5274270 w 12084394"/>
                <a:gd name="connsiteY83" fmla="*/ 3958074 h 4077840"/>
                <a:gd name="connsiteX84" fmla="*/ 4762180 w 12084394"/>
                <a:gd name="connsiteY84" fmla="*/ 3958074 h 4077840"/>
                <a:gd name="connsiteX85" fmla="*/ 4912588 w 12084394"/>
                <a:gd name="connsiteY85" fmla="*/ 4057748 h 4077840"/>
                <a:gd name="connsiteX86" fmla="*/ 4916645 w 12084394"/>
                <a:gd name="connsiteY86" fmla="*/ 4077840 h 4077840"/>
                <a:gd name="connsiteX87" fmla="*/ 4607771 w 12084394"/>
                <a:gd name="connsiteY87" fmla="*/ 4077840 h 4077840"/>
                <a:gd name="connsiteX88" fmla="*/ 4611827 w 12084394"/>
                <a:gd name="connsiteY88" fmla="*/ 4057748 h 4077840"/>
                <a:gd name="connsiteX89" fmla="*/ 4762180 w 12084394"/>
                <a:gd name="connsiteY89" fmla="*/ 3958074 h 4077840"/>
                <a:gd name="connsiteX90" fmla="*/ 4250316 w 12084394"/>
                <a:gd name="connsiteY90" fmla="*/ 3958074 h 4077840"/>
                <a:gd name="connsiteX91" fmla="*/ 4400696 w 12084394"/>
                <a:gd name="connsiteY91" fmla="*/ 4057748 h 4077840"/>
                <a:gd name="connsiteX92" fmla="*/ 4404753 w 12084394"/>
                <a:gd name="connsiteY92" fmla="*/ 4077840 h 4077840"/>
                <a:gd name="connsiteX93" fmla="*/ 4095930 w 12084394"/>
                <a:gd name="connsiteY93" fmla="*/ 4077840 h 4077840"/>
                <a:gd name="connsiteX94" fmla="*/ 4099984 w 12084394"/>
                <a:gd name="connsiteY94" fmla="*/ 4057748 h 4077840"/>
                <a:gd name="connsiteX95" fmla="*/ 4250316 w 12084394"/>
                <a:gd name="connsiteY95" fmla="*/ 3958074 h 4077840"/>
                <a:gd name="connsiteX96" fmla="*/ 3738289 w 12084394"/>
                <a:gd name="connsiteY96" fmla="*/ 3958074 h 4077840"/>
                <a:gd name="connsiteX97" fmla="*/ 3888663 w 12084394"/>
                <a:gd name="connsiteY97" fmla="*/ 4057748 h 4077840"/>
                <a:gd name="connsiteX98" fmla="*/ 3892720 w 12084394"/>
                <a:gd name="connsiteY98" fmla="*/ 4077840 h 4077840"/>
                <a:gd name="connsiteX99" fmla="*/ 3583860 w 12084394"/>
                <a:gd name="connsiteY99" fmla="*/ 4077840 h 4077840"/>
                <a:gd name="connsiteX100" fmla="*/ 3587916 w 12084394"/>
                <a:gd name="connsiteY100" fmla="*/ 4057748 h 4077840"/>
                <a:gd name="connsiteX101" fmla="*/ 3738289 w 12084394"/>
                <a:gd name="connsiteY101" fmla="*/ 3958074 h 4077840"/>
                <a:gd name="connsiteX102" fmla="*/ 3226242 w 12084394"/>
                <a:gd name="connsiteY102" fmla="*/ 3958074 h 4077840"/>
                <a:gd name="connsiteX103" fmla="*/ 3376624 w 12084394"/>
                <a:gd name="connsiteY103" fmla="*/ 4057748 h 4077840"/>
                <a:gd name="connsiteX104" fmla="*/ 3380681 w 12084394"/>
                <a:gd name="connsiteY104" fmla="*/ 4077840 h 4077840"/>
                <a:gd name="connsiteX105" fmla="*/ 3071812 w 12084394"/>
                <a:gd name="connsiteY105" fmla="*/ 4077840 h 4077840"/>
                <a:gd name="connsiteX106" fmla="*/ 3075868 w 12084394"/>
                <a:gd name="connsiteY106" fmla="*/ 4057748 h 4077840"/>
                <a:gd name="connsiteX107" fmla="*/ 3226242 w 12084394"/>
                <a:gd name="connsiteY107" fmla="*/ 3958074 h 4077840"/>
                <a:gd name="connsiteX108" fmla="*/ 2714363 w 12084394"/>
                <a:gd name="connsiteY108" fmla="*/ 3958074 h 4077840"/>
                <a:gd name="connsiteX109" fmla="*/ 2864736 w 12084394"/>
                <a:gd name="connsiteY109" fmla="*/ 4057748 h 4077840"/>
                <a:gd name="connsiteX110" fmla="*/ 2868792 w 12084394"/>
                <a:gd name="connsiteY110" fmla="*/ 4077840 h 4077840"/>
                <a:gd name="connsiteX111" fmla="*/ 2559936 w 12084394"/>
                <a:gd name="connsiteY111" fmla="*/ 4077840 h 4077840"/>
                <a:gd name="connsiteX112" fmla="*/ 2563993 w 12084394"/>
                <a:gd name="connsiteY112" fmla="*/ 4057748 h 4077840"/>
                <a:gd name="connsiteX113" fmla="*/ 2714363 w 12084394"/>
                <a:gd name="connsiteY113" fmla="*/ 3958074 h 4077840"/>
                <a:gd name="connsiteX114" fmla="*/ 2202307 w 12084394"/>
                <a:gd name="connsiteY114" fmla="*/ 3958074 h 4077840"/>
                <a:gd name="connsiteX115" fmla="*/ 2352676 w 12084394"/>
                <a:gd name="connsiteY115" fmla="*/ 4057748 h 4077840"/>
                <a:gd name="connsiteX116" fmla="*/ 2356732 w 12084394"/>
                <a:gd name="connsiteY116" fmla="*/ 4077840 h 4077840"/>
                <a:gd name="connsiteX117" fmla="*/ 2047866 w 12084394"/>
                <a:gd name="connsiteY117" fmla="*/ 4077840 h 4077840"/>
                <a:gd name="connsiteX118" fmla="*/ 2051924 w 12084394"/>
                <a:gd name="connsiteY118" fmla="*/ 4057748 h 4077840"/>
                <a:gd name="connsiteX119" fmla="*/ 2202307 w 12084394"/>
                <a:gd name="connsiteY119" fmla="*/ 3958074 h 4077840"/>
                <a:gd name="connsiteX120" fmla="*/ 1690413 w 12084394"/>
                <a:gd name="connsiteY120" fmla="*/ 3958074 h 4077840"/>
                <a:gd name="connsiteX121" fmla="*/ 1840785 w 12084394"/>
                <a:gd name="connsiteY121" fmla="*/ 4057748 h 4077840"/>
                <a:gd name="connsiteX122" fmla="*/ 1844841 w 12084394"/>
                <a:gd name="connsiteY122" fmla="*/ 4077840 h 4077840"/>
                <a:gd name="connsiteX123" fmla="*/ 1535987 w 12084394"/>
                <a:gd name="connsiteY123" fmla="*/ 4077840 h 4077840"/>
                <a:gd name="connsiteX124" fmla="*/ 1540043 w 12084394"/>
                <a:gd name="connsiteY124" fmla="*/ 4057748 h 4077840"/>
                <a:gd name="connsiteX125" fmla="*/ 1690413 w 12084394"/>
                <a:gd name="connsiteY125" fmla="*/ 3958074 h 4077840"/>
                <a:gd name="connsiteX126" fmla="*/ 1178354 w 12084394"/>
                <a:gd name="connsiteY126" fmla="*/ 3958074 h 4077840"/>
                <a:gd name="connsiteX127" fmla="*/ 1328724 w 12084394"/>
                <a:gd name="connsiteY127" fmla="*/ 4057748 h 4077840"/>
                <a:gd name="connsiteX128" fmla="*/ 1332781 w 12084394"/>
                <a:gd name="connsiteY128" fmla="*/ 4077840 h 4077840"/>
                <a:gd name="connsiteX129" fmla="*/ 1023928 w 12084394"/>
                <a:gd name="connsiteY129" fmla="*/ 4077840 h 4077840"/>
                <a:gd name="connsiteX130" fmla="*/ 1027984 w 12084394"/>
                <a:gd name="connsiteY130" fmla="*/ 4057748 h 4077840"/>
                <a:gd name="connsiteX131" fmla="*/ 1178354 w 12084394"/>
                <a:gd name="connsiteY131" fmla="*/ 3958074 h 4077840"/>
                <a:gd name="connsiteX132" fmla="*/ 666484 w 12084394"/>
                <a:gd name="connsiteY132" fmla="*/ 3958074 h 4077840"/>
                <a:gd name="connsiteX133" fmla="*/ 816855 w 12084394"/>
                <a:gd name="connsiteY133" fmla="*/ 4057748 h 4077840"/>
                <a:gd name="connsiteX134" fmla="*/ 820911 w 12084394"/>
                <a:gd name="connsiteY134" fmla="*/ 4077840 h 4077840"/>
                <a:gd name="connsiteX135" fmla="*/ 512057 w 12084394"/>
                <a:gd name="connsiteY135" fmla="*/ 4077840 h 4077840"/>
                <a:gd name="connsiteX136" fmla="*/ 516114 w 12084394"/>
                <a:gd name="connsiteY136" fmla="*/ 4057748 h 4077840"/>
                <a:gd name="connsiteX137" fmla="*/ 666484 w 12084394"/>
                <a:gd name="connsiteY137" fmla="*/ 3958074 h 4077840"/>
                <a:gd name="connsiteX138" fmla="*/ 154426 w 12084394"/>
                <a:gd name="connsiteY138" fmla="*/ 3958074 h 4077840"/>
                <a:gd name="connsiteX139" fmla="*/ 304797 w 12084394"/>
                <a:gd name="connsiteY139" fmla="*/ 4057748 h 4077840"/>
                <a:gd name="connsiteX140" fmla="*/ 308853 w 12084394"/>
                <a:gd name="connsiteY140" fmla="*/ 4077840 h 4077840"/>
                <a:gd name="connsiteX141" fmla="*/ 0 w 12084394"/>
                <a:gd name="connsiteY141" fmla="*/ 4077840 h 4077840"/>
                <a:gd name="connsiteX142" fmla="*/ 4057 w 12084394"/>
                <a:gd name="connsiteY142" fmla="*/ 4057748 h 4077840"/>
                <a:gd name="connsiteX143" fmla="*/ 154426 w 12084394"/>
                <a:gd name="connsiteY143" fmla="*/ 3958074 h 4077840"/>
                <a:gd name="connsiteX144" fmla="*/ 11929966 w 12084394"/>
                <a:gd name="connsiteY144" fmla="*/ 3518352 h 4077840"/>
                <a:gd name="connsiteX145" fmla="*/ 12078996 w 12084394"/>
                <a:gd name="connsiteY145" fmla="*/ 3667382 h 4077840"/>
                <a:gd name="connsiteX146" fmla="*/ 11929966 w 12084394"/>
                <a:gd name="connsiteY146" fmla="*/ 3816412 h 4077840"/>
                <a:gd name="connsiteX147" fmla="*/ 11780936 w 12084394"/>
                <a:gd name="connsiteY147" fmla="*/ 3667382 h 4077840"/>
                <a:gd name="connsiteX148" fmla="*/ 11929966 w 12084394"/>
                <a:gd name="connsiteY148" fmla="*/ 3518352 h 4077840"/>
                <a:gd name="connsiteX149" fmla="*/ 11417900 w 12084394"/>
                <a:gd name="connsiteY149" fmla="*/ 3518352 h 4077840"/>
                <a:gd name="connsiteX150" fmla="*/ 11566930 w 12084394"/>
                <a:gd name="connsiteY150" fmla="*/ 3667382 h 4077840"/>
                <a:gd name="connsiteX151" fmla="*/ 11417900 w 12084394"/>
                <a:gd name="connsiteY151" fmla="*/ 3816412 h 4077840"/>
                <a:gd name="connsiteX152" fmla="*/ 11268870 w 12084394"/>
                <a:gd name="connsiteY152" fmla="*/ 3667382 h 4077840"/>
                <a:gd name="connsiteX153" fmla="*/ 11417900 w 12084394"/>
                <a:gd name="connsiteY153" fmla="*/ 3518352 h 4077840"/>
                <a:gd name="connsiteX154" fmla="*/ 10906022 w 12084394"/>
                <a:gd name="connsiteY154" fmla="*/ 3518352 h 4077840"/>
                <a:gd name="connsiteX155" fmla="*/ 11055053 w 12084394"/>
                <a:gd name="connsiteY155" fmla="*/ 3667382 h 4077840"/>
                <a:gd name="connsiteX156" fmla="*/ 10906022 w 12084394"/>
                <a:gd name="connsiteY156" fmla="*/ 3816412 h 4077840"/>
                <a:gd name="connsiteX157" fmla="*/ 10756992 w 12084394"/>
                <a:gd name="connsiteY157" fmla="*/ 3667382 h 4077840"/>
                <a:gd name="connsiteX158" fmla="*/ 10906022 w 12084394"/>
                <a:gd name="connsiteY158" fmla="*/ 3518352 h 4077840"/>
                <a:gd name="connsiteX159" fmla="*/ 10393957 w 12084394"/>
                <a:gd name="connsiteY159" fmla="*/ 3518352 h 4077840"/>
                <a:gd name="connsiteX160" fmla="*/ 10542987 w 12084394"/>
                <a:gd name="connsiteY160" fmla="*/ 3667382 h 4077840"/>
                <a:gd name="connsiteX161" fmla="*/ 10393957 w 12084394"/>
                <a:gd name="connsiteY161" fmla="*/ 3816412 h 4077840"/>
                <a:gd name="connsiteX162" fmla="*/ 10244926 w 12084394"/>
                <a:gd name="connsiteY162" fmla="*/ 3667382 h 4077840"/>
                <a:gd name="connsiteX163" fmla="*/ 10393957 w 12084394"/>
                <a:gd name="connsiteY163" fmla="*/ 3518352 h 4077840"/>
                <a:gd name="connsiteX164" fmla="*/ 9882080 w 12084394"/>
                <a:gd name="connsiteY164" fmla="*/ 3518352 h 4077840"/>
                <a:gd name="connsiteX165" fmla="*/ 10031110 w 12084394"/>
                <a:gd name="connsiteY165" fmla="*/ 3667382 h 4077840"/>
                <a:gd name="connsiteX166" fmla="*/ 9882080 w 12084394"/>
                <a:gd name="connsiteY166" fmla="*/ 3816412 h 4077840"/>
                <a:gd name="connsiteX167" fmla="*/ 9733050 w 12084394"/>
                <a:gd name="connsiteY167" fmla="*/ 3667382 h 4077840"/>
                <a:gd name="connsiteX168" fmla="*/ 9882080 w 12084394"/>
                <a:gd name="connsiteY168" fmla="*/ 3518352 h 4077840"/>
                <a:gd name="connsiteX169" fmla="*/ 9370013 w 12084394"/>
                <a:gd name="connsiteY169" fmla="*/ 3518352 h 4077840"/>
                <a:gd name="connsiteX170" fmla="*/ 9519043 w 12084394"/>
                <a:gd name="connsiteY170" fmla="*/ 3667382 h 4077840"/>
                <a:gd name="connsiteX171" fmla="*/ 9370013 w 12084394"/>
                <a:gd name="connsiteY171" fmla="*/ 3816412 h 4077840"/>
                <a:gd name="connsiteX172" fmla="*/ 9220983 w 12084394"/>
                <a:gd name="connsiteY172" fmla="*/ 3667382 h 4077840"/>
                <a:gd name="connsiteX173" fmla="*/ 9370013 w 12084394"/>
                <a:gd name="connsiteY173" fmla="*/ 3518352 h 4077840"/>
                <a:gd name="connsiteX174" fmla="*/ 8858137 w 12084394"/>
                <a:gd name="connsiteY174" fmla="*/ 3518352 h 4077840"/>
                <a:gd name="connsiteX175" fmla="*/ 9007167 w 12084394"/>
                <a:gd name="connsiteY175" fmla="*/ 3667382 h 4077840"/>
                <a:gd name="connsiteX176" fmla="*/ 8858137 w 12084394"/>
                <a:gd name="connsiteY176" fmla="*/ 3816412 h 4077840"/>
                <a:gd name="connsiteX177" fmla="*/ 8709107 w 12084394"/>
                <a:gd name="connsiteY177" fmla="*/ 3667382 h 4077840"/>
                <a:gd name="connsiteX178" fmla="*/ 8858137 w 12084394"/>
                <a:gd name="connsiteY178" fmla="*/ 3518352 h 4077840"/>
                <a:gd name="connsiteX179" fmla="*/ 8346070 w 12084394"/>
                <a:gd name="connsiteY179" fmla="*/ 3518352 h 4077840"/>
                <a:gd name="connsiteX180" fmla="*/ 8495101 w 12084394"/>
                <a:gd name="connsiteY180" fmla="*/ 3667382 h 4077840"/>
                <a:gd name="connsiteX181" fmla="*/ 8346070 w 12084394"/>
                <a:gd name="connsiteY181" fmla="*/ 3816412 h 4077840"/>
                <a:gd name="connsiteX182" fmla="*/ 8197040 w 12084394"/>
                <a:gd name="connsiteY182" fmla="*/ 3667382 h 4077840"/>
                <a:gd name="connsiteX183" fmla="*/ 8346070 w 12084394"/>
                <a:gd name="connsiteY183" fmla="*/ 3518352 h 4077840"/>
                <a:gd name="connsiteX184" fmla="*/ 7834194 w 12084394"/>
                <a:gd name="connsiteY184" fmla="*/ 3518352 h 4077840"/>
                <a:gd name="connsiteX185" fmla="*/ 7983224 w 12084394"/>
                <a:gd name="connsiteY185" fmla="*/ 3667382 h 4077840"/>
                <a:gd name="connsiteX186" fmla="*/ 7834194 w 12084394"/>
                <a:gd name="connsiteY186" fmla="*/ 3816412 h 4077840"/>
                <a:gd name="connsiteX187" fmla="*/ 7685164 w 12084394"/>
                <a:gd name="connsiteY187" fmla="*/ 3667382 h 4077840"/>
                <a:gd name="connsiteX188" fmla="*/ 7834194 w 12084394"/>
                <a:gd name="connsiteY188" fmla="*/ 3518352 h 4077840"/>
                <a:gd name="connsiteX189" fmla="*/ 7322128 w 12084394"/>
                <a:gd name="connsiteY189" fmla="*/ 3518352 h 4077840"/>
                <a:gd name="connsiteX190" fmla="*/ 7471158 w 12084394"/>
                <a:gd name="connsiteY190" fmla="*/ 3667382 h 4077840"/>
                <a:gd name="connsiteX191" fmla="*/ 7322128 w 12084394"/>
                <a:gd name="connsiteY191" fmla="*/ 3816412 h 4077840"/>
                <a:gd name="connsiteX192" fmla="*/ 7173097 w 12084394"/>
                <a:gd name="connsiteY192" fmla="*/ 3667382 h 4077840"/>
                <a:gd name="connsiteX193" fmla="*/ 7322128 w 12084394"/>
                <a:gd name="connsiteY193" fmla="*/ 3518352 h 4077840"/>
                <a:gd name="connsiteX194" fmla="*/ 6810062 w 12084394"/>
                <a:gd name="connsiteY194" fmla="*/ 3518352 h 4077840"/>
                <a:gd name="connsiteX195" fmla="*/ 6959092 w 12084394"/>
                <a:gd name="connsiteY195" fmla="*/ 3667382 h 4077840"/>
                <a:gd name="connsiteX196" fmla="*/ 6810062 w 12084394"/>
                <a:gd name="connsiteY196" fmla="*/ 3816412 h 4077840"/>
                <a:gd name="connsiteX197" fmla="*/ 6661032 w 12084394"/>
                <a:gd name="connsiteY197" fmla="*/ 3667382 h 4077840"/>
                <a:gd name="connsiteX198" fmla="*/ 6810062 w 12084394"/>
                <a:gd name="connsiteY198" fmla="*/ 3518352 h 4077840"/>
                <a:gd name="connsiteX199" fmla="*/ 6298186 w 12084394"/>
                <a:gd name="connsiteY199" fmla="*/ 3518352 h 4077840"/>
                <a:gd name="connsiteX200" fmla="*/ 6447215 w 12084394"/>
                <a:gd name="connsiteY200" fmla="*/ 3667382 h 4077840"/>
                <a:gd name="connsiteX201" fmla="*/ 6298186 w 12084394"/>
                <a:gd name="connsiteY201" fmla="*/ 3816412 h 4077840"/>
                <a:gd name="connsiteX202" fmla="*/ 6149155 w 12084394"/>
                <a:gd name="connsiteY202" fmla="*/ 3667382 h 4077840"/>
                <a:gd name="connsiteX203" fmla="*/ 6298186 w 12084394"/>
                <a:gd name="connsiteY203" fmla="*/ 3518352 h 4077840"/>
                <a:gd name="connsiteX204" fmla="*/ 5786126 w 12084394"/>
                <a:gd name="connsiteY204" fmla="*/ 3518352 h 4077840"/>
                <a:gd name="connsiteX205" fmla="*/ 5935149 w 12084394"/>
                <a:gd name="connsiteY205" fmla="*/ 3667382 h 4077840"/>
                <a:gd name="connsiteX206" fmla="*/ 5786126 w 12084394"/>
                <a:gd name="connsiteY206" fmla="*/ 3816412 h 4077840"/>
                <a:gd name="connsiteX207" fmla="*/ 5637102 w 12084394"/>
                <a:gd name="connsiteY207" fmla="*/ 3667382 h 4077840"/>
                <a:gd name="connsiteX208" fmla="*/ 5786126 w 12084394"/>
                <a:gd name="connsiteY208" fmla="*/ 3518352 h 4077840"/>
                <a:gd name="connsiteX209" fmla="*/ 5274270 w 12084394"/>
                <a:gd name="connsiteY209" fmla="*/ 3518352 h 4077840"/>
                <a:gd name="connsiteX210" fmla="*/ 5423296 w 12084394"/>
                <a:gd name="connsiteY210" fmla="*/ 3667382 h 4077840"/>
                <a:gd name="connsiteX211" fmla="*/ 5274270 w 12084394"/>
                <a:gd name="connsiteY211" fmla="*/ 3816412 h 4077840"/>
                <a:gd name="connsiteX212" fmla="*/ 5125232 w 12084394"/>
                <a:gd name="connsiteY212" fmla="*/ 3667382 h 4077840"/>
                <a:gd name="connsiteX213" fmla="*/ 5274270 w 12084394"/>
                <a:gd name="connsiteY213" fmla="*/ 3518352 h 4077840"/>
                <a:gd name="connsiteX214" fmla="*/ 4762180 w 12084394"/>
                <a:gd name="connsiteY214" fmla="*/ 3518352 h 4077840"/>
                <a:gd name="connsiteX215" fmla="*/ 4911249 w 12084394"/>
                <a:gd name="connsiteY215" fmla="*/ 3667382 h 4077840"/>
                <a:gd name="connsiteX216" fmla="*/ 4762180 w 12084394"/>
                <a:gd name="connsiteY216" fmla="*/ 3816412 h 4077840"/>
                <a:gd name="connsiteX217" fmla="*/ 4613169 w 12084394"/>
                <a:gd name="connsiteY217" fmla="*/ 3667382 h 4077840"/>
                <a:gd name="connsiteX218" fmla="*/ 4762180 w 12084394"/>
                <a:gd name="connsiteY218" fmla="*/ 3518352 h 4077840"/>
                <a:gd name="connsiteX219" fmla="*/ 4250316 w 12084394"/>
                <a:gd name="connsiteY219" fmla="*/ 3518352 h 4077840"/>
                <a:gd name="connsiteX220" fmla="*/ 4399355 w 12084394"/>
                <a:gd name="connsiteY220" fmla="*/ 3667382 h 4077840"/>
                <a:gd name="connsiteX221" fmla="*/ 4250316 w 12084394"/>
                <a:gd name="connsiteY221" fmla="*/ 3816412 h 4077840"/>
                <a:gd name="connsiteX222" fmla="*/ 4101334 w 12084394"/>
                <a:gd name="connsiteY222" fmla="*/ 3667382 h 4077840"/>
                <a:gd name="connsiteX223" fmla="*/ 4250316 w 12084394"/>
                <a:gd name="connsiteY223" fmla="*/ 3518352 h 4077840"/>
                <a:gd name="connsiteX224" fmla="*/ 3738289 w 12084394"/>
                <a:gd name="connsiteY224" fmla="*/ 3518352 h 4077840"/>
                <a:gd name="connsiteX225" fmla="*/ 3887320 w 12084394"/>
                <a:gd name="connsiteY225" fmla="*/ 3667382 h 4077840"/>
                <a:gd name="connsiteX226" fmla="*/ 3738289 w 12084394"/>
                <a:gd name="connsiteY226" fmla="*/ 3816412 h 4077840"/>
                <a:gd name="connsiteX227" fmla="*/ 3589256 w 12084394"/>
                <a:gd name="connsiteY227" fmla="*/ 3667382 h 4077840"/>
                <a:gd name="connsiteX228" fmla="*/ 3738289 w 12084394"/>
                <a:gd name="connsiteY228" fmla="*/ 3518352 h 4077840"/>
                <a:gd name="connsiteX229" fmla="*/ 3226242 w 12084394"/>
                <a:gd name="connsiteY229" fmla="*/ 3518352 h 4077840"/>
                <a:gd name="connsiteX230" fmla="*/ 3375284 w 12084394"/>
                <a:gd name="connsiteY230" fmla="*/ 3667382 h 4077840"/>
                <a:gd name="connsiteX231" fmla="*/ 3226242 w 12084394"/>
                <a:gd name="connsiteY231" fmla="*/ 3816412 h 4077840"/>
                <a:gd name="connsiteX232" fmla="*/ 3077210 w 12084394"/>
                <a:gd name="connsiteY232" fmla="*/ 3667382 h 4077840"/>
                <a:gd name="connsiteX233" fmla="*/ 3226242 w 12084394"/>
                <a:gd name="connsiteY233" fmla="*/ 3518352 h 4077840"/>
                <a:gd name="connsiteX234" fmla="*/ 2714363 w 12084394"/>
                <a:gd name="connsiteY234" fmla="*/ 3518352 h 4077840"/>
                <a:gd name="connsiteX235" fmla="*/ 2863399 w 12084394"/>
                <a:gd name="connsiteY235" fmla="*/ 3667382 h 4077840"/>
                <a:gd name="connsiteX236" fmla="*/ 2714363 w 12084394"/>
                <a:gd name="connsiteY236" fmla="*/ 3816412 h 4077840"/>
                <a:gd name="connsiteX237" fmla="*/ 2565335 w 12084394"/>
                <a:gd name="connsiteY237" fmla="*/ 3667382 h 4077840"/>
                <a:gd name="connsiteX238" fmla="*/ 2714363 w 12084394"/>
                <a:gd name="connsiteY238" fmla="*/ 3518352 h 4077840"/>
                <a:gd name="connsiteX239" fmla="*/ 2202307 w 12084394"/>
                <a:gd name="connsiteY239" fmla="*/ 3518352 h 4077840"/>
                <a:gd name="connsiteX240" fmla="*/ 2351334 w 12084394"/>
                <a:gd name="connsiteY240" fmla="*/ 3667382 h 4077840"/>
                <a:gd name="connsiteX241" fmla="*/ 2202307 w 12084394"/>
                <a:gd name="connsiteY241" fmla="*/ 3816412 h 4077840"/>
                <a:gd name="connsiteX242" fmla="*/ 2053277 w 12084394"/>
                <a:gd name="connsiteY242" fmla="*/ 3667382 h 4077840"/>
                <a:gd name="connsiteX243" fmla="*/ 2202307 w 12084394"/>
                <a:gd name="connsiteY243" fmla="*/ 3518352 h 4077840"/>
                <a:gd name="connsiteX244" fmla="*/ 1690413 w 12084394"/>
                <a:gd name="connsiteY244" fmla="*/ 3518352 h 4077840"/>
                <a:gd name="connsiteX245" fmla="*/ 1839443 w 12084394"/>
                <a:gd name="connsiteY245" fmla="*/ 3667382 h 4077840"/>
                <a:gd name="connsiteX246" fmla="*/ 1690413 w 12084394"/>
                <a:gd name="connsiteY246" fmla="*/ 3816412 h 4077840"/>
                <a:gd name="connsiteX247" fmla="*/ 1541384 w 12084394"/>
                <a:gd name="connsiteY247" fmla="*/ 3667382 h 4077840"/>
                <a:gd name="connsiteX248" fmla="*/ 1690413 w 12084394"/>
                <a:gd name="connsiteY248" fmla="*/ 3518352 h 4077840"/>
                <a:gd name="connsiteX249" fmla="*/ 1178354 w 12084394"/>
                <a:gd name="connsiteY249" fmla="*/ 3518352 h 4077840"/>
                <a:gd name="connsiteX250" fmla="*/ 1327383 w 12084394"/>
                <a:gd name="connsiteY250" fmla="*/ 3667382 h 4077840"/>
                <a:gd name="connsiteX251" fmla="*/ 1178354 w 12084394"/>
                <a:gd name="connsiteY251" fmla="*/ 3816412 h 4077840"/>
                <a:gd name="connsiteX252" fmla="*/ 1029325 w 12084394"/>
                <a:gd name="connsiteY252" fmla="*/ 3667382 h 4077840"/>
                <a:gd name="connsiteX253" fmla="*/ 1178354 w 12084394"/>
                <a:gd name="connsiteY253" fmla="*/ 3518352 h 4077840"/>
                <a:gd name="connsiteX254" fmla="*/ 666484 w 12084394"/>
                <a:gd name="connsiteY254" fmla="*/ 3518352 h 4077840"/>
                <a:gd name="connsiteX255" fmla="*/ 815513 w 12084394"/>
                <a:gd name="connsiteY255" fmla="*/ 3667382 h 4077840"/>
                <a:gd name="connsiteX256" fmla="*/ 666484 w 12084394"/>
                <a:gd name="connsiteY256" fmla="*/ 3816412 h 4077840"/>
                <a:gd name="connsiteX257" fmla="*/ 517455 w 12084394"/>
                <a:gd name="connsiteY257" fmla="*/ 3667382 h 4077840"/>
                <a:gd name="connsiteX258" fmla="*/ 666484 w 12084394"/>
                <a:gd name="connsiteY258" fmla="*/ 3518352 h 4077840"/>
                <a:gd name="connsiteX259" fmla="*/ 154426 w 12084394"/>
                <a:gd name="connsiteY259" fmla="*/ 3518352 h 4077840"/>
                <a:gd name="connsiteX260" fmla="*/ 303455 w 12084394"/>
                <a:gd name="connsiteY260" fmla="*/ 3667382 h 4077840"/>
                <a:gd name="connsiteX261" fmla="*/ 154426 w 12084394"/>
                <a:gd name="connsiteY261" fmla="*/ 3816412 h 4077840"/>
                <a:gd name="connsiteX262" fmla="*/ 5397 w 12084394"/>
                <a:gd name="connsiteY262" fmla="*/ 3667382 h 4077840"/>
                <a:gd name="connsiteX263" fmla="*/ 154426 w 12084394"/>
                <a:gd name="connsiteY263" fmla="*/ 3518352 h 4077840"/>
                <a:gd name="connsiteX264" fmla="*/ 11929966 w 12084394"/>
                <a:gd name="connsiteY264" fmla="*/ 3078629 h 4077840"/>
                <a:gd name="connsiteX265" fmla="*/ 12064640 w 12084394"/>
                <a:gd name="connsiteY265" fmla="*/ 3213304 h 4077840"/>
                <a:gd name="connsiteX266" fmla="*/ 11929966 w 12084394"/>
                <a:gd name="connsiteY266" fmla="*/ 3347979 h 4077840"/>
                <a:gd name="connsiteX267" fmla="*/ 11795291 w 12084394"/>
                <a:gd name="connsiteY267" fmla="*/ 3213304 h 4077840"/>
                <a:gd name="connsiteX268" fmla="*/ 11929966 w 12084394"/>
                <a:gd name="connsiteY268" fmla="*/ 3078629 h 4077840"/>
                <a:gd name="connsiteX269" fmla="*/ 11417900 w 12084394"/>
                <a:gd name="connsiteY269" fmla="*/ 3078629 h 4077840"/>
                <a:gd name="connsiteX270" fmla="*/ 11552575 w 12084394"/>
                <a:gd name="connsiteY270" fmla="*/ 3213304 h 4077840"/>
                <a:gd name="connsiteX271" fmla="*/ 11417900 w 12084394"/>
                <a:gd name="connsiteY271" fmla="*/ 3347979 h 4077840"/>
                <a:gd name="connsiteX272" fmla="*/ 11283225 w 12084394"/>
                <a:gd name="connsiteY272" fmla="*/ 3213304 h 4077840"/>
                <a:gd name="connsiteX273" fmla="*/ 11417900 w 12084394"/>
                <a:gd name="connsiteY273" fmla="*/ 3078629 h 4077840"/>
                <a:gd name="connsiteX274" fmla="*/ 10906022 w 12084394"/>
                <a:gd name="connsiteY274" fmla="*/ 3078629 h 4077840"/>
                <a:gd name="connsiteX275" fmla="*/ 11040697 w 12084394"/>
                <a:gd name="connsiteY275" fmla="*/ 3213304 h 4077840"/>
                <a:gd name="connsiteX276" fmla="*/ 10906022 w 12084394"/>
                <a:gd name="connsiteY276" fmla="*/ 3347979 h 4077840"/>
                <a:gd name="connsiteX277" fmla="*/ 10771347 w 12084394"/>
                <a:gd name="connsiteY277" fmla="*/ 3213304 h 4077840"/>
                <a:gd name="connsiteX278" fmla="*/ 10906022 w 12084394"/>
                <a:gd name="connsiteY278" fmla="*/ 3078629 h 4077840"/>
                <a:gd name="connsiteX279" fmla="*/ 10393956 w 12084394"/>
                <a:gd name="connsiteY279" fmla="*/ 3078629 h 4077840"/>
                <a:gd name="connsiteX280" fmla="*/ 10528631 w 12084394"/>
                <a:gd name="connsiteY280" fmla="*/ 3213304 h 4077840"/>
                <a:gd name="connsiteX281" fmla="*/ 10393956 w 12084394"/>
                <a:gd name="connsiteY281" fmla="*/ 3347979 h 4077840"/>
                <a:gd name="connsiteX282" fmla="*/ 10259282 w 12084394"/>
                <a:gd name="connsiteY282" fmla="*/ 3213304 h 4077840"/>
                <a:gd name="connsiteX283" fmla="*/ 10393956 w 12084394"/>
                <a:gd name="connsiteY283" fmla="*/ 3078629 h 4077840"/>
                <a:gd name="connsiteX284" fmla="*/ 9882080 w 12084394"/>
                <a:gd name="connsiteY284" fmla="*/ 3078629 h 4077840"/>
                <a:gd name="connsiteX285" fmla="*/ 10016755 w 12084394"/>
                <a:gd name="connsiteY285" fmla="*/ 3213304 h 4077840"/>
                <a:gd name="connsiteX286" fmla="*/ 9882080 w 12084394"/>
                <a:gd name="connsiteY286" fmla="*/ 3347979 h 4077840"/>
                <a:gd name="connsiteX287" fmla="*/ 9747405 w 12084394"/>
                <a:gd name="connsiteY287" fmla="*/ 3213304 h 4077840"/>
                <a:gd name="connsiteX288" fmla="*/ 9882080 w 12084394"/>
                <a:gd name="connsiteY288" fmla="*/ 3078629 h 4077840"/>
                <a:gd name="connsiteX289" fmla="*/ 9370014 w 12084394"/>
                <a:gd name="connsiteY289" fmla="*/ 3078629 h 4077840"/>
                <a:gd name="connsiteX290" fmla="*/ 9504688 w 12084394"/>
                <a:gd name="connsiteY290" fmla="*/ 3213304 h 4077840"/>
                <a:gd name="connsiteX291" fmla="*/ 9370014 w 12084394"/>
                <a:gd name="connsiteY291" fmla="*/ 3347979 h 4077840"/>
                <a:gd name="connsiteX292" fmla="*/ 9235339 w 12084394"/>
                <a:gd name="connsiteY292" fmla="*/ 3213304 h 4077840"/>
                <a:gd name="connsiteX293" fmla="*/ 9370014 w 12084394"/>
                <a:gd name="connsiteY293" fmla="*/ 3078629 h 4077840"/>
                <a:gd name="connsiteX294" fmla="*/ 8858136 w 12084394"/>
                <a:gd name="connsiteY294" fmla="*/ 3078629 h 4077840"/>
                <a:gd name="connsiteX295" fmla="*/ 8992811 w 12084394"/>
                <a:gd name="connsiteY295" fmla="*/ 3213304 h 4077840"/>
                <a:gd name="connsiteX296" fmla="*/ 8858136 w 12084394"/>
                <a:gd name="connsiteY296" fmla="*/ 3347979 h 4077840"/>
                <a:gd name="connsiteX297" fmla="*/ 8723462 w 12084394"/>
                <a:gd name="connsiteY297" fmla="*/ 3213304 h 4077840"/>
                <a:gd name="connsiteX298" fmla="*/ 8858136 w 12084394"/>
                <a:gd name="connsiteY298" fmla="*/ 3078629 h 4077840"/>
                <a:gd name="connsiteX299" fmla="*/ 8346071 w 12084394"/>
                <a:gd name="connsiteY299" fmla="*/ 3078629 h 4077840"/>
                <a:gd name="connsiteX300" fmla="*/ 8480746 w 12084394"/>
                <a:gd name="connsiteY300" fmla="*/ 3213304 h 4077840"/>
                <a:gd name="connsiteX301" fmla="*/ 8346071 w 12084394"/>
                <a:gd name="connsiteY301" fmla="*/ 3347979 h 4077840"/>
                <a:gd name="connsiteX302" fmla="*/ 8211396 w 12084394"/>
                <a:gd name="connsiteY302" fmla="*/ 3213304 h 4077840"/>
                <a:gd name="connsiteX303" fmla="*/ 8346071 w 12084394"/>
                <a:gd name="connsiteY303" fmla="*/ 3078629 h 4077840"/>
                <a:gd name="connsiteX304" fmla="*/ 7834194 w 12084394"/>
                <a:gd name="connsiteY304" fmla="*/ 3078629 h 4077840"/>
                <a:gd name="connsiteX305" fmla="*/ 7968868 w 12084394"/>
                <a:gd name="connsiteY305" fmla="*/ 3213304 h 4077840"/>
                <a:gd name="connsiteX306" fmla="*/ 7834194 w 12084394"/>
                <a:gd name="connsiteY306" fmla="*/ 3347979 h 4077840"/>
                <a:gd name="connsiteX307" fmla="*/ 7699519 w 12084394"/>
                <a:gd name="connsiteY307" fmla="*/ 3213304 h 4077840"/>
                <a:gd name="connsiteX308" fmla="*/ 7834194 w 12084394"/>
                <a:gd name="connsiteY308" fmla="*/ 3078629 h 4077840"/>
                <a:gd name="connsiteX309" fmla="*/ 7322127 w 12084394"/>
                <a:gd name="connsiteY309" fmla="*/ 3078629 h 4077840"/>
                <a:gd name="connsiteX310" fmla="*/ 7456802 w 12084394"/>
                <a:gd name="connsiteY310" fmla="*/ 3213304 h 4077840"/>
                <a:gd name="connsiteX311" fmla="*/ 7322127 w 12084394"/>
                <a:gd name="connsiteY311" fmla="*/ 3347979 h 4077840"/>
                <a:gd name="connsiteX312" fmla="*/ 7187453 w 12084394"/>
                <a:gd name="connsiteY312" fmla="*/ 3213304 h 4077840"/>
                <a:gd name="connsiteX313" fmla="*/ 7322127 w 12084394"/>
                <a:gd name="connsiteY313" fmla="*/ 3078629 h 4077840"/>
                <a:gd name="connsiteX314" fmla="*/ 6810062 w 12084394"/>
                <a:gd name="connsiteY314" fmla="*/ 3078629 h 4077840"/>
                <a:gd name="connsiteX315" fmla="*/ 6944736 w 12084394"/>
                <a:gd name="connsiteY315" fmla="*/ 3213304 h 4077840"/>
                <a:gd name="connsiteX316" fmla="*/ 6810062 w 12084394"/>
                <a:gd name="connsiteY316" fmla="*/ 3347979 h 4077840"/>
                <a:gd name="connsiteX317" fmla="*/ 6675387 w 12084394"/>
                <a:gd name="connsiteY317" fmla="*/ 3213304 h 4077840"/>
                <a:gd name="connsiteX318" fmla="*/ 6810062 w 12084394"/>
                <a:gd name="connsiteY318" fmla="*/ 3078629 h 4077840"/>
                <a:gd name="connsiteX319" fmla="*/ 6298186 w 12084394"/>
                <a:gd name="connsiteY319" fmla="*/ 3078629 h 4077840"/>
                <a:gd name="connsiteX320" fmla="*/ 6432860 w 12084394"/>
                <a:gd name="connsiteY320" fmla="*/ 3213304 h 4077840"/>
                <a:gd name="connsiteX321" fmla="*/ 6298186 w 12084394"/>
                <a:gd name="connsiteY321" fmla="*/ 3347979 h 4077840"/>
                <a:gd name="connsiteX322" fmla="*/ 6163510 w 12084394"/>
                <a:gd name="connsiteY322" fmla="*/ 3213304 h 4077840"/>
                <a:gd name="connsiteX323" fmla="*/ 6298186 w 12084394"/>
                <a:gd name="connsiteY323" fmla="*/ 3078629 h 4077840"/>
                <a:gd name="connsiteX324" fmla="*/ 5786126 w 12084394"/>
                <a:gd name="connsiteY324" fmla="*/ 3078629 h 4077840"/>
                <a:gd name="connsiteX325" fmla="*/ 5920794 w 12084394"/>
                <a:gd name="connsiteY325" fmla="*/ 3213304 h 4077840"/>
                <a:gd name="connsiteX326" fmla="*/ 5786126 w 12084394"/>
                <a:gd name="connsiteY326" fmla="*/ 3347979 h 4077840"/>
                <a:gd name="connsiteX327" fmla="*/ 5651456 w 12084394"/>
                <a:gd name="connsiteY327" fmla="*/ 3213304 h 4077840"/>
                <a:gd name="connsiteX328" fmla="*/ 5786126 w 12084394"/>
                <a:gd name="connsiteY328" fmla="*/ 3078629 h 4077840"/>
                <a:gd name="connsiteX329" fmla="*/ 5274270 w 12084394"/>
                <a:gd name="connsiteY329" fmla="*/ 3078629 h 4077840"/>
                <a:gd name="connsiteX330" fmla="*/ 5408941 w 12084394"/>
                <a:gd name="connsiteY330" fmla="*/ 3213304 h 4077840"/>
                <a:gd name="connsiteX331" fmla="*/ 5274270 w 12084394"/>
                <a:gd name="connsiteY331" fmla="*/ 3347979 h 4077840"/>
                <a:gd name="connsiteX332" fmla="*/ 5139595 w 12084394"/>
                <a:gd name="connsiteY332" fmla="*/ 3213304 h 4077840"/>
                <a:gd name="connsiteX333" fmla="*/ 5274270 w 12084394"/>
                <a:gd name="connsiteY333" fmla="*/ 3078629 h 4077840"/>
                <a:gd name="connsiteX334" fmla="*/ 4762180 w 12084394"/>
                <a:gd name="connsiteY334" fmla="*/ 3078629 h 4077840"/>
                <a:gd name="connsiteX335" fmla="*/ 4896897 w 12084394"/>
                <a:gd name="connsiteY335" fmla="*/ 3213304 h 4077840"/>
                <a:gd name="connsiteX336" fmla="*/ 4762180 w 12084394"/>
                <a:gd name="connsiteY336" fmla="*/ 3347979 h 4077840"/>
                <a:gd name="connsiteX337" fmla="*/ 4627526 w 12084394"/>
                <a:gd name="connsiteY337" fmla="*/ 3213304 h 4077840"/>
                <a:gd name="connsiteX338" fmla="*/ 4762180 w 12084394"/>
                <a:gd name="connsiteY338" fmla="*/ 3078629 h 4077840"/>
                <a:gd name="connsiteX339" fmla="*/ 4250316 w 12084394"/>
                <a:gd name="connsiteY339" fmla="*/ 3078629 h 4077840"/>
                <a:gd name="connsiteX340" fmla="*/ 4385000 w 12084394"/>
                <a:gd name="connsiteY340" fmla="*/ 3213304 h 4077840"/>
                <a:gd name="connsiteX341" fmla="*/ 4250316 w 12084394"/>
                <a:gd name="connsiteY341" fmla="*/ 3347979 h 4077840"/>
                <a:gd name="connsiteX342" fmla="*/ 4115689 w 12084394"/>
                <a:gd name="connsiteY342" fmla="*/ 3213304 h 4077840"/>
                <a:gd name="connsiteX343" fmla="*/ 4250316 w 12084394"/>
                <a:gd name="connsiteY343" fmla="*/ 3078629 h 4077840"/>
                <a:gd name="connsiteX344" fmla="*/ 3738289 w 12084394"/>
                <a:gd name="connsiteY344" fmla="*/ 3078629 h 4077840"/>
                <a:gd name="connsiteX345" fmla="*/ 3872963 w 12084394"/>
                <a:gd name="connsiteY345" fmla="*/ 3213304 h 4077840"/>
                <a:gd name="connsiteX346" fmla="*/ 3738289 w 12084394"/>
                <a:gd name="connsiteY346" fmla="*/ 3347979 h 4077840"/>
                <a:gd name="connsiteX347" fmla="*/ 3603609 w 12084394"/>
                <a:gd name="connsiteY347" fmla="*/ 3213304 h 4077840"/>
                <a:gd name="connsiteX348" fmla="*/ 3738289 w 12084394"/>
                <a:gd name="connsiteY348" fmla="*/ 3078629 h 4077840"/>
                <a:gd name="connsiteX349" fmla="*/ 3226242 w 12084394"/>
                <a:gd name="connsiteY349" fmla="*/ 3078629 h 4077840"/>
                <a:gd name="connsiteX350" fmla="*/ 3360931 w 12084394"/>
                <a:gd name="connsiteY350" fmla="*/ 3213304 h 4077840"/>
                <a:gd name="connsiteX351" fmla="*/ 3226242 w 12084394"/>
                <a:gd name="connsiteY351" fmla="*/ 3347979 h 4077840"/>
                <a:gd name="connsiteX352" fmla="*/ 3091565 w 12084394"/>
                <a:gd name="connsiteY352" fmla="*/ 3213304 h 4077840"/>
                <a:gd name="connsiteX353" fmla="*/ 3226242 w 12084394"/>
                <a:gd name="connsiteY353" fmla="*/ 3078629 h 4077840"/>
                <a:gd name="connsiteX354" fmla="*/ 2714363 w 12084394"/>
                <a:gd name="connsiteY354" fmla="*/ 3078629 h 4077840"/>
                <a:gd name="connsiteX355" fmla="*/ 2849039 w 12084394"/>
                <a:gd name="connsiteY355" fmla="*/ 3213304 h 4077840"/>
                <a:gd name="connsiteX356" fmla="*/ 2714363 w 12084394"/>
                <a:gd name="connsiteY356" fmla="*/ 3347979 h 4077840"/>
                <a:gd name="connsiteX357" fmla="*/ 2579687 w 12084394"/>
                <a:gd name="connsiteY357" fmla="*/ 3213304 h 4077840"/>
                <a:gd name="connsiteX358" fmla="*/ 2714363 w 12084394"/>
                <a:gd name="connsiteY358" fmla="*/ 3078629 h 4077840"/>
                <a:gd name="connsiteX359" fmla="*/ 2202306 w 12084394"/>
                <a:gd name="connsiteY359" fmla="*/ 3078629 h 4077840"/>
                <a:gd name="connsiteX360" fmla="*/ 2336978 w 12084394"/>
                <a:gd name="connsiteY360" fmla="*/ 3213304 h 4077840"/>
                <a:gd name="connsiteX361" fmla="*/ 2202306 w 12084394"/>
                <a:gd name="connsiteY361" fmla="*/ 3347979 h 4077840"/>
                <a:gd name="connsiteX362" fmla="*/ 2067631 w 12084394"/>
                <a:gd name="connsiteY362" fmla="*/ 3213304 h 4077840"/>
                <a:gd name="connsiteX363" fmla="*/ 2202306 w 12084394"/>
                <a:gd name="connsiteY363" fmla="*/ 3078629 h 4077840"/>
                <a:gd name="connsiteX364" fmla="*/ 1690413 w 12084394"/>
                <a:gd name="connsiteY364" fmla="*/ 3078629 h 4077840"/>
                <a:gd name="connsiteX365" fmla="*/ 1825086 w 12084394"/>
                <a:gd name="connsiteY365" fmla="*/ 3213304 h 4077840"/>
                <a:gd name="connsiteX366" fmla="*/ 1690413 w 12084394"/>
                <a:gd name="connsiteY366" fmla="*/ 3347979 h 4077840"/>
                <a:gd name="connsiteX367" fmla="*/ 1555739 w 12084394"/>
                <a:gd name="connsiteY367" fmla="*/ 3213304 h 4077840"/>
                <a:gd name="connsiteX368" fmla="*/ 1690413 w 12084394"/>
                <a:gd name="connsiteY368" fmla="*/ 3078629 h 4077840"/>
                <a:gd name="connsiteX369" fmla="*/ 1178354 w 12084394"/>
                <a:gd name="connsiteY369" fmla="*/ 3078629 h 4077840"/>
                <a:gd name="connsiteX370" fmla="*/ 1313027 w 12084394"/>
                <a:gd name="connsiteY370" fmla="*/ 3213304 h 4077840"/>
                <a:gd name="connsiteX371" fmla="*/ 1178354 w 12084394"/>
                <a:gd name="connsiteY371" fmla="*/ 3347979 h 4077840"/>
                <a:gd name="connsiteX372" fmla="*/ 1043680 w 12084394"/>
                <a:gd name="connsiteY372" fmla="*/ 3213304 h 4077840"/>
                <a:gd name="connsiteX373" fmla="*/ 1178354 w 12084394"/>
                <a:gd name="connsiteY373" fmla="*/ 3078629 h 4077840"/>
                <a:gd name="connsiteX374" fmla="*/ 666484 w 12084394"/>
                <a:gd name="connsiteY374" fmla="*/ 3078629 h 4077840"/>
                <a:gd name="connsiteX375" fmla="*/ 801157 w 12084394"/>
                <a:gd name="connsiteY375" fmla="*/ 3213304 h 4077840"/>
                <a:gd name="connsiteX376" fmla="*/ 666484 w 12084394"/>
                <a:gd name="connsiteY376" fmla="*/ 3347979 h 4077840"/>
                <a:gd name="connsiteX377" fmla="*/ 531810 w 12084394"/>
                <a:gd name="connsiteY377" fmla="*/ 3213304 h 4077840"/>
                <a:gd name="connsiteX378" fmla="*/ 666484 w 12084394"/>
                <a:gd name="connsiteY378" fmla="*/ 3078629 h 4077840"/>
                <a:gd name="connsiteX379" fmla="*/ 154426 w 12084394"/>
                <a:gd name="connsiteY379" fmla="*/ 3078629 h 4077840"/>
                <a:gd name="connsiteX380" fmla="*/ 289099 w 12084394"/>
                <a:gd name="connsiteY380" fmla="*/ 3213304 h 4077840"/>
                <a:gd name="connsiteX381" fmla="*/ 154426 w 12084394"/>
                <a:gd name="connsiteY381" fmla="*/ 3347979 h 4077840"/>
                <a:gd name="connsiteX382" fmla="*/ 19752 w 12084394"/>
                <a:gd name="connsiteY382" fmla="*/ 3213304 h 4077840"/>
                <a:gd name="connsiteX383" fmla="*/ 154426 w 12084394"/>
                <a:gd name="connsiteY383" fmla="*/ 3078629 h 4077840"/>
                <a:gd name="connsiteX384" fmla="*/ 11929965 w 12084394"/>
                <a:gd name="connsiteY384" fmla="*/ 2638717 h 4077840"/>
                <a:gd name="connsiteX385" fmla="*/ 12050474 w 12084394"/>
                <a:gd name="connsiteY385" fmla="*/ 2759225 h 4077840"/>
                <a:gd name="connsiteX386" fmla="*/ 11929965 w 12084394"/>
                <a:gd name="connsiteY386" fmla="*/ 2879734 h 4077840"/>
                <a:gd name="connsiteX387" fmla="*/ 11809457 w 12084394"/>
                <a:gd name="connsiteY387" fmla="*/ 2759225 h 4077840"/>
                <a:gd name="connsiteX388" fmla="*/ 11929965 w 12084394"/>
                <a:gd name="connsiteY388" fmla="*/ 2638717 h 4077840"/>
                <a:gd name="connsiteX389" fmla="*/ 11417900 w 12084394"/>
                <a:gd name="connsiteY389" fmla="*/ 2638717 h 4077840"/>
                <a:gd name="connsiteX390" fmla="*/ 11538408 w 12084394"/>
                <a:gd name="connsiteY390" fmla="*/ 2759225 h 4077840"/>
                <a:gd name="connsiteX391" fmla="*/ 11417900 w 12084394"/>
                <a:gd name="connsiteY391" fmla="*/ 2879734 h 4077840"/>
                <a:gd name="connsiteX392" fmla="*/ 11297391 w 12084394"/>
                <a:gd name="connsiteY392" fmla="*/ 2759225 h 4077840"/>
                <a:gd name="connsiteX393" fmla="*/ 11417900 w 12084394"/>
                <a:gd name="connsiteY393" fmla="*/ 2638717 h 4077840"/>
                <a:gd name="connsiteX394" fmla="*/ 10906022 w 12084394"/>
                <a:gd name="connsiteY394" fmla="*/ 2638717 h 4077840"/>
                <a:gd name="connsiteX395" fmla="*/ 11026530 w 12084394"/>
                <a:gd name="connsiteY395" fmla="*/ 2759225 h 4077840"/>
                <a:gd name="connsiteX396" fmla="*/ 10906022 w 12084394"/>
                <a:gd name="connsiteY396" fmla="*/ 2879734 h 4077840"/>
                <a:gd name="connsiteX397" fmla="*/ 10785513 w 12084394"/>
                <a:gd name="connsiteY397" fmla="*/ 2759225 h 4077840"/>
                <a:gd name="connsiteX398" fmla="*/ 10906022 w 12084394"/>
                <a:gd name="connsiteY398" fmla="*/ 2638717 h 4077840"/>
                <a:gd name="connsiteX399" fmla="*/ 10393956 w 12084394"/>
                <a:gd name="connsiteY399" fmla="*/ 2638717 h 4077840"/>
                <a:gd name="connsiteX400" fmla="*/ 10514465 w 12084394"/>
                <a:gd name="connsiteY400" fmla="*/ 2759225 h 4077840"/>
                <a:gd name="connsiteX401" fmla="*/ 10393956 w 12084394"/>
                <a:gd name="connsiteY401" fmla="*/ 2879734 h 4077840"/>
                <a:gd name="connsiteX402" fmla="*/ 10273448 w 12084394"/>
                <a:gd name="connsiteY402" fmla="*/ 2759225 h 4077840"/>
                <a:gd name="connsiteX403" fmla="*/ 10393956 w 12084394"/>
                <a:gd name="connsiteY403" fmla="*/ 2638717 h 4077840"/>
                <a:gd name="connsiteX404" fmla="*/ 9882080 w 12084394"/>
                <a:gd name="connsiteY404" fmla="*/ 2638717 h 4077840"/>
                <a:gd name="connsiteX405" fmla="*/ 10002588 w 12084394"/>
                <a:gd name="connsiteY405" fmla="*/ 2759225 h 4077840"/>
                <a:gd name="connsiteX406" fmla="*/ 9882080 w 12084394"/>
                <a:gd name="connsiteY406" fmla="*/ 2879734 h 4077840"/>
                <a:gd name="connsiteX407" fmla="*/ 9761571 w 12084394"/>
                <a:gd name="connsiteY407" fmla="*/ 2759225 h 4077840"/>
                <a:gd name="connsiteX408" fmla="*/ 9882080 w 12084394"/>
                <a:gd name="connsiteY408" fmla="*/ 2638717 h 4077840"/>
                <a:gd name="connsiteX409" fmla="*/ 9370013 w 12084394"/>
                <a:gd name="connsiteY409" fmla="*/ 2638717 h 4077840"/>
                <a:gd name="connsiteX410" fmla="*/ 9490522 w 12084394"/>
                <a:gd name="connsiteY410" fmla="*/ 2759225 h 4077840"/>
                <a:gd name="connsiteX411" fmla="*/ 9370013 w 12084394"/>
                <a:gd name="connsiteY411" fmla="*/ 2879734 h 4077840"/>
                <a:gd name="connsiteX412" fmla="*/ 9249505 w 12084394"/>
                <a:gd name="connsiteY412" fmla="*/ 2759225 h 4077840"/>
                <a:gd name="connsiteX413" fmla="*/ 9370013 w 12084394"/>
                <a:gd name="connsiteY413" fmla="*/ 2638717 h 4077840"/>
                <a:gd name="connsiteX414" fmla="*/ 8858136 w 12084394"/>
                <a:gd name="connsiteY414" fmla="*/ 2638717 h 4077840"/>
                <a:gd name="connsiteX415" fmla="*/ 8978645 w 12084394"/>
                <a:gd name="connsiteY415" fmla="*/ 2759225 h 4077840"/>
                <a:gd name="connsiteX416" fmla="*/ 8858136 w 12084394"/>
                <a:gd name="connsiteY416" fmla="*/ 2879734 h 4077840"/>
                <a:gd name="connsiteX417" fmla="*/ 8737628 w 12084394"/>
                <a:gd name="connsiteY417" fmla="*/ 2759225 h 4077840"/>
                <a:gd name="connsiteX418" fmla="*/ 8858136 w 12084394"/>
                <a:gd name="connsiteY418" fmla="*/ 2638717 h 4077840"/>
                <a:gd name="connsiteX419" fmla="*/ 8346070 w 12084394"/>
                <a:gd name="connsiteY419" fmla="*/ 2638717 h 4077840"/>
                <a:gd name="connsiteX420" fmla="*/ 8466579 w 12084394"/>
                <a:gd name="connsiteY420" fmla="*/ 2759225 h 4077840"/>
                <a:gd name="connsiteX421" fmla="*/ 8346070 w 12084394"/>
                <a:gd name="connsiteY421" fmla="*/ 2879734 h 4077840"/>
                <a:gd name="connsiteX422" fmla="*/ 8225562 w 12084394"/>
                <a:gd name="connsiteY422" fmla="*/ 2759225 h 4077840"/>
                <a:gd name="connsiteX423" fmla="*/ 8346070 w 12084394"/>
                <a:gd name="connsiteY423" fmla="*/ 2638717 h 4077840"/>
                <a:gd name="connsiteX424" fmla="*/ 7834193 w 12084394"/>
                <a:gd name="connsiteY424" fmla="*/ 2638717 h 4077840"/>
                <a:gd name="connsiteX425" fmla="*/ 7954702 w 12084394"/>
                <a:gd name="connsiteY425" fmla="*/ 2759225 h 4077840"/>
                <a:gd name="connsiteX426" fmla="*/ 7834193 w 12084394"/>
                <a:gd name="connsiteY426" fmla="*/ 2879734 h 4077840"/>
                <a:gd name="connsiteX427" fmla="*/ 7713685 w 12084394"/>
                <a:gd name="connsiteY427" fmla="*/ 2759225 h 4077840"/>
                <a:gd name="connsiteX428" fmla="*/ 7834193 w 12084394"/>
                <a:gd name="connsiteY428" fmla="*/ 2638717 h 4077840"/>
                <a:gd name="connsiteX429" fmla="*/ 7322127 w 12084394"/>
                <a:gd name="connsiteY429" fmla="*/ 2638717 h 4077840"/>
                <a:gd name="connsiteX430" fmla="*/ 7442635 w 12084394"/>
                <a:gd name="connsiteY430" fmla="*/ 2759225 h 4077840"/>
                <a:gd name="connsiteX431" fmla="*/ 7322127 w 12084394"/>
                <a:gd name="connsiteY431" fmla="*/ 2879734 h 4077840"/>
                <a:gd name="connsiteX432" fmla="*/ 7201619 w 12084394"/>
                <a:gd name="connsiteY432" fmla="*/ 2759225 h 4077840"/>
                <a:gd name="connsiteX433" fmla="*/ 7322127 w 12084394"/>
                <a:gd name="connsiteY433" fmla="*/ 2638717 h 4077840"/>
                <a:gd name="connsiteX434" fmla="*/ 6810061 w 12084394"/>
                <a:gd name="connsiteY434" fmla="*/ 2638717 h 4077840"/>
                <a:gd name="connsiteX435" fmla="*/ 6930570 w 12084394"/>
                <a:gd name="connsiteY435" fmla="*/ 2759225 h 4077840"/>
                <a:gd name="connsiteX436" fmla="*/ 6810061 w 12084394"/>
                <a:gd name="connsiteY436" fmla="*/ 2879734 h 4077840"/>
                <a:gd name="connsiteX437" fmla="*/ 6689553 w 12084394"/>
                <a:gd name="connsiteY437" fmla="*/ 2759225 h 4077840"/>
                <a:gd name="connsiteX438" fmla="*/ 6810061 w 12084394"/>
                <a:gd name="connsiteY438" fmla="*/ 2638717 h 4077840"/>
                <a:gd name="connsiteX439" fmla="*/ 6298184 w 12084394"/>
                <a:gd name="connsiteY439" fmla="*/ 2638717 h 4077840"/>
                <a:gd name="connsiteX440" fmla="*/ 6418693 w 12084394"/>
                <a:gd name="connsiteY440" fmla="*/ 2759225 h 4077840"/>
                <a:gd name="connsiteX441" fmla="*/ 6298184 w 12084394"/>
                <a:gd name="connsiteY441" fmla="*/ 2879734 h 4077840"/>
                <a:gd name="connsiteX442" fmla="*/ 6177677 w 12084394"/>
                <a:gd name="connsiteY442" fmla="*/ 2759225 h 4077840"/>
                <a:gd name="connsiteX443" fmla="*/ 6298184 w 12084394"/>
                <a:gd name="connsiteY443" fmla="*/ 2638717 h 4077840"/>
                <a:gd name="connsiteX444" fmla="*/ 5786126 w 12084394"/>
                <a:gd name="connsiteY444" fmla="*/ 2638717 h 4077840"/>
                <a:gd name="connsiteX445" fmla="*/ 5906628 w 12084394"/>
                <a:gd name="connsiteY445" fmla="*/ 2759225 h 4077840"/>
                <a:gd name="connsiteX446" fmla="*/ 5786126 w 12084394"/>
                <a:gd name="connsiteY446" fmla="*/ 2879734 h 4077840"/>
                <a:gd name="connsiteX447" fmla="*/ 5665623 w 12084394"/>
                <a:gd name="connsiteY447" fmla="*/ 2759225 h 4077840"/>
                <a:gd name="connsiteX448" fmla="*/ 5786126 w 12084394"/>
                <a:gd name="connsiteY448" fmla="*/ 2638717 h 4077840"/>
                <a:gd name="connsiteX449" fmla="*/ 5274270 w 12084394"/>
                <a:gd name="connsiteY449" fmla="*/ 2638717 h 4077840"/>
                <a:gd name="connsiteX450" fmla="*/ 5394775 w 12084394"/>
                <a:gd name="connsiteY450" fmla="*/ 2759225 h 4077840"/>
                <a:gd name="connsiteX451" fmla="*/ 5274270 w 12084394"/>
                <a:gd name="connsiteY451" fmla="*/ 2879734 h 4077840"/>
                <a:gd name="connsiteX452" fmla="*/ 5153767 w 12084394"/>
                <a:gd name="connsiteY452" fmla="*/ 2759225 h 4077840"/>
                <a:gd name="connsiteX453" fmla="*/ 5274270 w 12084394"/>
                <a:gd name="connsiteY453" fmla="*/ 2638717 h 4077840"/>
                <a:gd name="connsiteX454" fmla="*/ 4762180 w 12084394"/>
                <a:gd name="connsiteY454" fmla="*/ 2638717 h 4077840"/>
                <a:gd name="connsiteX455" fmla="*/ 4882728 w 12084394"/>
                <a:gd name="connsiteY455" fmla="*/ 2759225 h 4077840"/>
                <a:gd name="connsiteX456" fmla="*/ 4762180 w 12084394"/>
                <a:gd name="connsiteY456" fmla="*/ 2879734 h 4077840"/>
                <a:gd name="connsiteX457" fmla="*/ 4641689 w 12084394"/>
                <a:gd name="connsiteY457" fmla="*/ 2759225 h 4077840"/>
                <a:gd name="connsiteX458" fmla="*/ 4762180 w 12084394"/>
                <a:gd name="connsiteY458" fmla="*/ 2638717 h 4077840"/>
                <a:gd name="connsiteX459" fmla="*/ 4250316 w 12084394"/>
                <a:gd name="connsiteY459" fmla="*/ 2638717 h 4077840"/>
                <a:gd name="connsiteX460" fmla="*/ 4370831 w 12084394"/>
                <a:gd name="connsiteY460" fmla="*/ 2759225 h 4077840"/>
                <a:gd name="connsiteX461" fmla="*/ 4250316 w 12084394"/>
                <a:gd name="connsiteY461" fmla="*/ 2879734 h 4077840"/>
                <a:gd name="connsiteX462" fmla="*/ 4129855 w 12084394"/>
                <a:gd name="connsiteY462" fmla="*/ 2759225 h 4077840"/>
                <a:gd name="connsiteX463" fmla="*/ 4250316 w 12084394"/>
                <a:gd name="connsiteY463" fmla="*/ 2638717 h 4077840"/>
                <a:gd name="connsiteX464" fmla="*/ 3738287 w 12084394"/>
                <a:gd name="connsiteY464" fmla="*/ 2638717 h 4077840"/>
                <a:gd name="connsiteX465" fmla="*/ 3858795 w 12084394"/>
                <a:gd name="connsiteY465" fmla="*/ 2759225 h 4077840"/>
                <a:gd name="connsiteX466" fmla="*/ 3738287 w 12084394"/>
                <a:gd name="connsiteY466" fmla="*/ 2879734 h 4077840"/>
                <a:gd name="connsiteX467" fmla="*/ 3617773 w 12084394"/>
                <a:gd name="connsiteY467" fmla="*/ 2759225 h 4077840"/>
                <a:gd name="connsiteX468" fmla="*/ 3738287 w 12084394"/>
                <a:gd name="connsiteY468" fmla="*/ 2638717 h 4077840"/>
                <a:gd name="connsiteX469" fmla="*/ 3226242 w 12084394"/>
                <a:gd name="connsiteY469" fmla="*/ 2638717 h 4077840"/>
                <a:gd name="connsiteX470" fmla="*/ 3346764 w 12084394"/>
                <a:gd name="connsiteY470" fmla="*/ 2759225 h 4077840"/>
                <a:gd name="connsiteX471" fmla="*/ 3226242 w 12084394"/>
                <a:gd name="connsiteY471" fmla="*/ 2879734 h 4077840"/>
                <a:gd name="connsiteX472" fmla="*/ 3105731 w 12084394"/>
                <a:gd name="connsiteY472" fmla="*/ 2759225 h 4077840"/>
                <a:gd name="connsiteX473" fmla="*/ 3226242 w 12084394"/>
                <a:gd name="connsiteY473" fmla="*/ 2638717 h 4077840"/>
                <a:gd name="connsiteX474" fmla="*/ 2714362 w 12084394"/>
                <a:gd name="connsiteY474" fmla="*/ 2638717 h 4077840"/>
                <a:gd name="connsiteX475" fmla="*/ 2834873 w 12084394"/>
                <a:gd name="connsiteY475" fmla="*/ 2759225 h 4077840"/>
                <a:gd name="connsiteX476" fmla="*/ 2714362 w 12084394"/>
                <a:gd name="connsiteY476" fmla="*/ 2879734 h 4077840"/>
                <a:gd name="connsiteX477" fmla="*/ 2593854 w 12084394"/>
                <a:gd name="connsiteY477" fmla="*/ 2759225 h 4077840"/>
                <a:gd name="connsiteX478" fmla="*/ 2714362 w 12084394"/>
                <a:gd name="connsiteY478" fmla="*/ 2638717 h 4077840"/>
                <a:gd name="connsiteX479" fmla="*/ 2202306 w 12084394"/>
                <a:gd name="connsiteY479" fmla="*/ 2638717 h 4077840"/>
                <a:gd name="connsiteX480" fmla="*/ 2322813 w 12084394"/>
                <a:gd name="connsiteY480" fmla="*/ 2759225 h 4077840"/>
                <a:gd name="connsiteX481" fmla="*/ 2202306 w 12084394"/>
                <a:gd name="connsiteY481" fmla="*/ 2879734 h 4077840"/>
                <a:gd name="connsiteX482" fmla="*/ 2081795 w 12084394"/>
                <a:gd name="connsiteY482" fmla="*/ 2759225 h 4077840"/>
                <a:gd name="connsiteX483" fmla="*/ 2202306 w 12084394"/>
                <a:gd name="connsiteY483" fmla="*/ 2638717 h 4077840"/>
                <a:gd name="connsiteX484" fmla="*/ 1690412 w 12084394"/>
                <a:gd name="connsiteY484" fmla="*/ 2638717 h 4077840"/>
                <a:gd name="connsiteX485" fmla="*/ 1810920 w 12084394"/>
                <a:gd name="connsiteY485" fmla="*/ 2759225 h 4077840"/>
                <a:gd name="connsiteX486" fmla="*/ 1690412 w 12084394"/>
                <a:gd name="connsiteY486" fmla="*/ 2879734 h 4077840"/>
                <a:gd name="connsiteX487" fmla="*/ 1569905 w 12084394"/>
                <a:gd name="connsiteY487" fmla="*/ 2759225 h 4077840"/>
                <a:gd name="connsiteX488" fmla="*/ 1690412 w 12084394"/>
                <a:gd name="connsiteY488" fmla="*/ 2638717 h 4077840"/>
                <a:gd name="connsiteX489" fmla="*/ 1178354 w 12084394"/>
                <a:gd name="connsiteY489" fmla="*/ 2638717 h 4077840"/>
                <a:gd name="connsiteX490" fmla="*/ 1298862 w 12084394"/>
                <a:gd name="connsiteY490" fmla="*/ 2759225 h 4077840"/>
                <a:gd name="connsiteX491" fmla="*/ 1178354 w 12084394"/>
                <a:gd name="connsiteY491" fmla="*/ 2879734 h 4077840"/>
                <a:gd name="connsiteX492" fmla="*/ 1057846 w 12084394"/>
                <a:gd name="connsiteY492" fmla="*/ 2759225 h 4077840"/>
                <a:gd name="connsiteX493" fmla="*/ 1178354 w 12084394"/>
                <a:gd name="connsiteY493" fmla="*/ 2638717 h 4077840"/>
                <a:gd name="connsiteX494" fmla="*/ 666483 w 12084394"/>
                <a:gd name="connsiteY494" fmla="*/ 2638717 h 4077840"/>
                <a:gd name="connsiteX495" fmla="*/ 786991 w 12084394"/>
                <a:gd name="connsiteY495" fmla="*/ 2759225 h 4077840"/>
                <a:gd name="connsiteX496" fmla="*/ 666483 w 12084394"/>
                <a:gd name="connsiteY496" fmla="*/ 2879734 h 4077840"/>
                <a:gd name="connsiteX497" fmla="*/ 545976 w 12084394"/>
                <a:gd name="connsiteY497" fmla="*/ 2759225 h 4077840"/>
                <a:gd name="connsiteX498" fmla="*/ 666483 w 12084394"/>
                <a:gd name="connsiteY498" fmla="*/ 2638717 h 4077840"/>
                <a:gd name="connsiteX499" fmla="*/ 154426 w 12084394"/>
                <a:gd name="connsiteY499" fmla="*/ 2638717 h 4077840"/>
                <a:gd name="connsiteX500" fmla="*/ 274934 w 12084394"/>
                <a:gd name="connsiteY500" fmla="*/ 2759225 h 4077840"/>
                <a:gd name="connsiteX501" fmla="*/ 154426 w 12084394"/>
                <a:gd name="connsiteY501" fmla="*/ 2879734 h 4077840"/>
                <a:gd name="connsiteX502" fmla="*/ 33919 w 12084394"/>
                <a:gd name="connsiteY502" fmla="*/ 2759225 h 4077840"/>
                <a:gd name="connsiteX503" fmla="*/ 154426 w 12084394"/>
                <a:gd name="connsiteY503" fmla="*/ 2638717 h 4077840"/>
                <a:gd name="connsiteX504" fmla="*/ 11929965 w 12084394"/>
                <a:gd name="connsiteY504" fmla="*/ 2198994 h 4077840"/>
                <a:gd name="connsiteX505" fmla="*/ 12036118 w 12084394"/>
                <a:gd name="connsiteY505" fmla="*/ 2305147 h 4077840"/>
                <a:gd name="connsiteX506" fmla="*/ 11929965 w 12084394"/>
                <a:gd name="connsiteY506" fmla="*/ 2411300 h 4077840"/>
                <a:gd name="connsiteX507" fmla="*/ 11823812 w 12084394"/>
                <a:gd name="connsiteY507" fmla="*/ 2305147 h 4077840"/>
                <a:gd name="connsiteX508" fmla="*/ 11929965 w 12084394"/>
                <a:gd name="connsiteY508" fmla="*/ 2198994 h 4077840"/>
                <a:gd name="connsiteX509" fmla="*/ 11417900 w 12084394"/>
                <a:gd name="connsiteY509" fmla="*/ 2198994 h 4077840"/>
                <a:gd name="connsiteX510" fmla="*/ 11524053 w 12084394"/>
                <a:gd name="connsiteY510" fmla="*/ 2305147 h 4077840"/>
                <a:gd name="connsiteX511" fmla="*/ 11417900 w 12084394"/>
                <a:gd name="connsiteY511" fmla="*/ 2411300 h 4077840"/>
                <a:gd name="connsiteX512" fmla="*/ 11311747 w 12084394"/>
                <a:gd name="connsiteY512" fmla="*/ 2305147 h 4077840"/>
                <a:gd name="connsiteX513" fmla="*/ 11417900 w 12084394"/>
                <a:gd name="connsiteY513" fmla="*/ 2198994 h 4077840"/>
                <a:gd name="connsiteX514" fmla="*/ 10906023 w 12084394"/>
                <a:gd name="connsiteY514" fmla="*/ 2198994 h 4077840"/>
                <a:gd name="connsiteX515" fmla="*/ 11012176 w 12084394"/>
                <a:gd name="connsiteY515" fmla="*/ 2305147 h 4077840"/>
                <a:gd name="connsiteX516" fmla="*/ 10906023 w 12084394"/>
                <a:gd name="connsiteY516" fmla="*/ 2411300 h 4077840"/>
                <a:gd name="connsiteX517" fmla="*/ 10799870 w 12084394"/>
                <a:gd name="connsiteY517" fmla="*/ 2305147 h 4077840"/>
                <a:gd name="connsiteX518" fmla="*/ 10906023 w 12084394"/>
                <a:gd name="connsiteY518" fmla="*/ 2198994 h 4077840"/>
                <a:gd name="connsiteX519" fmla="*/ 10393957 w 12084394"/>
                <a:gd name="connsiteY519" fmla="*/ 2198994 h 4077840"/>
                <a:gd name="connsiteX520" fmla="*/ 10500110 w 12084394"/>
                <a:gd name="connsiteY520" fmla="*/ 2305147 h 4077840"/>
                <a:gd name="connsiteX521" fmla="*/ 10393957 w 12084394"/>
                <a:gd name="connsiteY521" fmla="*/ 2411300 h 4077840"/>
                <a:gd name="connsiteX522" fmla="*/ 10287804 w 12084394"/>
                <a:gd name="connsiteY522" fmla="*/ 2305147 h 4077840"/>
                <a:gd name="connsiteX523" fmla="*/ 10393957 w 12084394"/>
                <a:gd name="connsiteY523" fmla="*/ 2198994 h 4077840"/>
                <a:gd name="connsiteX524" fmla="*/ 9882079 w 12084394"/>
                <a:gd name="connsiteY524" fmla="*/ 2198994 h 4077840"/>
                <a:gd name="connsiteX525" fmla="*/ 9988232 w 12084394"/>
                <a:gd name="connsiteY525" fmla="*/ 2305147 h 4077840"/>
                <a:gd name="connsiteX526" fmla="*/ 9882079 w 12084394"/>
                <a:gd name="connsiteY526" fmla="*/ 2411300 h 4077840"/>
                <a:gd name="connsiteX527" fmla="*/ 9775926 w 12084394"/>
                <a:gd name="connsiteY527" fmla="*/ 2305147 h 4077840"/>
                <a:gd name="connsiteX528" fmla="*/ 9882079 w 12084394"/>
                <a:gd name="connsiteY528" fmla="*/ 2198994 h 4077840"/>
                <a:gd name="connsiteX529" fmla="*/ 9370014 w 12084394"/>
                <a:gd name="connsiteY529" fmla="*/ 2198994 h 4077840"/>
                <a:gd name="connsiteX530" fmla="*/ 9476167 w 12084394"/>
                <a:gd name="connsiteY530" fmla="*/ 2305147 h 4077840"/>
                <a:gd name="connsiteX531" fmla="*/ 9370014 w 12084394"/>
                <a:gd name="connsiteY531" fmla="*/ 2411300 h 4077840"/>
                <a:gd name="connsiteX532" fmla="*/ 9263861 w 12084394"/>
                <a:gd name="connsiteY532" fmla="*/ 2305147 h 4077840"/>
                <a:gd name="connsiteX533" fmla="*/ 9370014 w 12084394"/>
                <a:gd name="connsiteY533" fmla="*/ 2198994 h 4077840"/>
                <a:gd name="connsiteX534" fmla="*/ 8858136 w 12084394"/>
                <a:gd name="connsiteY534" fmla="*/ 2198994 h 4077840"/>
                <a:gd name="connsiteX535" fmla="*/ 8964289 w 12084394"/>
                <a:gd name="connsiteY535" fmla="*/ 2305147 h 4077840"/>
                <a:gd name="connsiteX536" fmla="*/ 8858136 w 12084394"/>
                <a:gd name="connsiteY536" fmla="*/ 2411300 h 4077840"/>
                <a:gd name="connsiteX537" fmla="*/ 8751983 w 12084394"/>
                <a:gd name="connsiteY537" fmla="*/ 2305147 h 4077840"/>
                <a:gd name="connsiteX538" fmla="*/ 8858136 w 12084394"/>
                <a:gd name="connsiteY538" fmla="*/ 2198994 h 4077840"/>
                <a:gd name="connsiteX539" fmla="*/ 8346071 w 12084394"/>
                <a:gd name="connsiteY539" fmla="*/ 2198994 h 4077840"/>
                <a:gd name="connsiteX540" fmla="*/ 8452224 w 12084394"/>
                <a:gd name="connsiteY540" fmla="*/ 2305147 h 4077840"/>
                <a:gd name="connsiteX541" fmla="*/ 8346071 w 12084394"/>
                <a:gd name="connsiteY541" fmla="*/ 2411300 h 4077840"/>
                <a:gd name="connsiteX542" fmla="*/ 8239918 w 12084394"/>
                <a:gd name="connsiteY542" fmla="*/ 2305147 h 4077840"/>
                <a:gd name="connsiteX543" fmla="*/ 8346071 w 12084394"/>
                <a:gd name="connsiteY543" fmla="*/ 2198994 h 4077840"/>
                <a:gd name="connsiteX544" fmla="*/ 7834194 w 12084394"/>
                <a:gd name="connsiteY544" fmla="*/ 2198994 h 4077840"/>
                <a:gd name="connsiteX545" fmla="*/ 7940347 w 12084394"/>
                <a:gd name="connsiteY545" fmla="*/ 2305147 h 4077840"/>
                <a:gd name="connsiteX546" fmla="*/ 7834194 w 12084394"/>
                <a:gd name="connsiteY546" fmla="*/ 2411300 h 4077840"/>
                <a:gd name="connsiteX547" fmla="*/ 7728041 w 12084394"/>
                <a:gd name="connsiteY547" fmla="*/ 2305147 h 4077840"/>
                <a:gd name="connsiteX548" fmla="*/ 7834194 w 12084394"/>
                <a:gd name="connsiteY548" fmla="*/ 2198994 h 4077840"/>
                <a:gd name="connsiteX549" fmla="*/ 7322128 w 12084394"/>
                <a:gd name="connsiteY549" fmla="*/ 2198994 h 4077840"/>
                <a:gd name="connsiteX550" fmla="*/ 7428281 w 12084394"/>
                <a:gd name="connsiteY550" fmla="*/ 2305147 h 4077840"/>
                <a:gd name="connsiteX551" fmla="*/ 7322128 w 12084394"/>
                <a:gd name="connsiteY551" fmla="*/ 2411300 h 4077840"/>
                <a:gd name="connsiteX552" fmla="*/ 7215975 w 12084394"/>
                <a:gd name="connsiteY552" fmla="*/ 2305147 h 4077840"/>
                <a:gd name="connsiteX553" fmla="*/ 7322128 w 12084394"/>
                <a:gd name="connsiteY553" fmla="*/ 2198994 h 4077840"/>
                <a:gd name="connsiteX554" fmla="*/ 6810062 w 12084394"/>
                <a:gd name="connsiteY554" fmla="*/ 2198994 h 4077840"/>
                <a:gd name="connsiteX555" fmla="*/ 6916215 w 12084394"/>
                <a:gd name="connsiteY555" fmla="*/ 2305147 h 4077840"/>
                <a:gd name="connsiteX556" fmla="*/ 6810062 w 12084394"/>
                <a:gd name="connsiteY556" fmla="*/ 2411300 h 4077840"/>
                <a:gd name="connsiteX557" fmla="*/ 6703909 w 12084394"/>
                <a:gd name="connsiteY557" fmla="*/ 2305147 h 4077840"/>
                <a:gd name="connsiteX558" fmla="*/ 6810062 w 12084394"/>
                <a:gd name="connsiteY558" fmla="*/ 2198994 h 4077840"/>
                <a:gd name="connsiteX559" fmla="*/ 6298186 w 12084394"/>
                <a:gd name="connsiteY559" fmla="*/ 2198994 h 4077840"/>
                <a:gd name="connsiteX560" fmla="*/ 6404338 w 12084394"/>
                <a:gd name="connsiteY560" fmla="*/ 2305147 h 4077840"/>
                <a:gd name="connsiteX561" fmla="*/ 6298186 w 12084394"/>
                <a:gd name="connsiteY561" fmla="*/ 2411300 h 4077840"/>
                <a:gd name="connsiteX562" fmla="*/ 6192032 w 12084394"/>
                <a:gd name="connsiteY562" fmla="*/ 2305147 h 4077840"/>
                <a:gd name="connsiteX563" fmla="*/ 6298186 w 12084394"/>
                <a:gd name="connsiteY563" fmla="*/ 2198994 h 4077840"/>
                <a:gd name="connsiteX564" fmla="*/ 5786126 w 12084394"/>
                <a:gd name="connsiteY564" fmla="*/ 2198994 h 4077840"/>
                <a:gd name="connsiteX565" fmla="*/ 5892275 w 12084394"/>
                <a:gd name="connsiteY565" fmla="*/ 2305147 h 4077840"/>
                <a:gd name="connsiteX566" fmla="*/ 5786126 w 12084394"/>
                <a:gd name="connsiteY566" fmla="*/ 2411300 h 4077840"/>
                <a:gd name="connsiteX567" fmla="*/ 5679979 w 12084394"/>
                <a:gd name="connsiteY567" fmla="*/ 2305147 h 4077840"/>
                <a:gd name="connsiteX568" fmla="*/ 5786126 w 12084394"/>
                <a:gd name="connsiteY568" fmla="*/ 2198994 h 4077840"/>
                <a:gd name="connsiteX569" fmla="*/ 5274270 w 12084394"/>
                <a:gd name="connsiteY569" fmla="*/ 2198994 h 4077840"/>
                <a:gd name="connsiteX570" fmla="*/ 5380420 w 12084394"/>
                <a:gd name="connsiteY570" fmla="*/ 2305147 h 4077840"/>
                <a:gd name="connsiteX571" fmla="*/ 5274270 w 12084394"/>
                <a:gd name="connsiteY571" fmla="*/ 2411300 h 4077840"/>
                <a:gd name="connsiteX572" fmla="*/ 5168119 w 12084394"/>
                <a:gd name="connsiteY572" fmla="*/ 2305147 h 4077840"/>
                <a:gd name="connsiteX573" fmla="*/ 5274270 w 12084394"/>
                <a:gd name="connsiteY573" fmla="*/ 2198994 h 4077840"/>
                <a:gd name="connsiteX574" fmla="*/ 4762180 w 12084394"/>
                <a:gd name="connsiteY574" fmla="*/ 2198994 h 4077840"/>
                <a:gd name="connsiteX575" fmla="*/ 4868369 w 12084394"/>
                <a:gd name="connsiteY575" fmla="*/ 2305147 h 4077840"/>
                <a:gd name="connsiteX576" fmla="*/ 4762180 w 12084394"/>
                <a:gd name="connsiteY576" fmla="*/ 2411300 h 4077840"/>
                <a:gd name="connsiteX577" fmla="*/ 4656043 w 12084394"/>
                <a:gd name="connsiteY577" fmla="*/ 2305147 h 4077840"/>
                <a:gd name="connsiteX578" fmla="*/ 4762180 w 12084394"/>
                <a:gd name="connsiteY578" fmla="*/ 2198994 h 4077840"/>
                <a:gd name="connsiteX579" fmla="*/ 4250316 w 12084394"/>
                <a:gd name="connsiteY579" fmla="*/ 2198994 h 4077840"/>
                <a:gd name="connsiteX580" fmla="*/ 4356476 w 12084394"/>
                <a:gd name="connsiteY580" fmla="*/ 2305147 h 4077840"/>
                <a:gd name="connsiteX581" fmla="*/ 4250316 w 12084394"/>
                <a:gd name="connsiteY581" fmla="*/ 2411300 h 4077840"/>
                <a:gd name="connsiteX582" fmla="*/ 4144156 w 12084394"/>
                <a:gd name="connsiteY582" fmla="*/ 2305147 h 4077840"/>
                <a:gd name="connsiteX583" fmla="*/ 4250316 w 12084394"/>
                <a:gd name="connsiteY583" fmla="*/ 2198994 h 4077840"/>
                <a:gd name="connsiteX584" fmla="*/ 3738289 w 12084394"/>
                <a:gd name="connsiteY584" fmla="*/ 2198994 h 4077840"/>
                <a:gd name="connsiteX585" fmla="*/ 3844442 w 12084394"/>
                <a:gd name="connsiteY585" fmla="*/ 2305147 h 4077840"/>
                <a:gd name="connsiteX586" fmla="*/ 3738289 w 12084394"/>
                <a:gd name="connsiteY586" fmla="*/ 2411300 h 4077840"/>
                <a:gd name="connsiteX587" fmla="*/ 3632128 w 12084394"/>
                <a:gd name="connsiteY587" fmla="*/ 2305147 h 4077840"/>
                <a:gd name="connsiteX588" fmla="*/ 3738289 w 12084394"/>
                <a:gd name="connsiteY588" fmla="*/ 2198994 h 4077840"/>
                <a:gd name="connsiteX589" fmla="*/ 3226242 w 12084394"/>
                <a:gd name="connsiteY589" fmla="*/ 2198994 h 4077840"/>
                <a:gd name="connsiteX590" fmla="*/ 3332405 w 12084394"/>
                <a:gd name="connsiteY590" fmla="*/ 2305147 h 4077840"/>
                <a:gd name="connsiteX591" fmla="*/ 3226242 w 12084394"/>
                <a:gd name="connsiteY591" fmla="*/ 2411300 h 4077840"/>
                <a:gd name="connsiteX592" fmla="*/ 3120089 w 12084394"/>
                <a:gd name="connsiteY592" fmla="*/ 2305147 h 4077840"/>
                <a:gd name="connsiteX593" fmla="*/ 3226242 w 12084394"/>
                <a:gd name="connsiteY593" fmla="*/ 2198994 h 4077840"/>
                <a:gd name="connsiteX594" fmla="*/ 2714363 w 12084394"/>
                <a:gd name="connsiteY594" fmla="*/ 2198994 h 4077840"/>
                <a:gd name="connsiteX595" fmla="*/ 2820518 w 12084394"/>
                <a:gd name="connsiteY595" fmla="*/ 2305147 h 4077840"/>
                <a:gd name="connsiteX596" fmla="*/ 2714363 w 12084394"/>
                <a:gd name="connsiteY596" fmla="*/ 2411300 h 4077840"/>
                <a:gd name="connsiteX597" fmla="*/ 2608208 w 12084394"/>
                <a:gd name="connsiteY597" fmla="*/ 2305147 h 4077840"/>
                <a:gd name="connsiteX598" fmla="*/ 2714363 w 12084394"/>
                <a:gd name="connsiteY598" fmla="*/ 2198994 h 4077840"/>
                <a:gd name="connsiteX599" fmla="*/ 2202306 w 12084394"/>
                <a:gd name="connsiteY599" fmla="*/ 2198994 h 4077840"/>
                <a:gd name="connsiteX600" fmla="*/ 2308457 w 12084394"/>
                <a:gd name="connsiteY600" fmla="*/ 2305147 h 4077840"/>
                <a:gd name="connsiteX601" fmla="*/ 2202306 w 12084394"/>
                <a:gd name="connsiteY601" fmla="*/ 2411300 h 4077840"/>
                <a:gd name="connsiteX602" fmla="*/ 2096153 w 12084394"/>
                <a:gd name="connsiteY602" fmla="*/ 2305147 h 4077840"/>
                <a:gd name="connsiteX603" fmla="*/ 2202306 w 12084394"/>
                <a:gd name="connsiteY603" fmla="*/ 2198994 h 4077840"/>
                <a:gd name="connsiteX604" fmla="*/ 1690413 w 12084394"/>
                <a:gd name="connsiteY604" fmla="*/ 2198994 h 4077840"/>
                <a:gd name="connsiteX605" fmla="*/ 1796565 w 12084394"/>
                <a:gd name="connsiteY605" fmla="*/ 2305147 h 4077840"/>
                <a:gd name="connsiteX606" fmla="*/ 1690413 w 12084394"/>
                <a:gd name="connsiteY606" fmla="*/ 2411300 h 4077840"/>
                <a:gd name="connsiteX607" fmla="*/ 1584260 w 12084394"/>
                <a:gd name="connsiteY607" fmla="*/ 2305147 h 4077840"/>
                <a:gd name="connsiteX608" fmla="*/ 1690413 w 12084394"/>
                <a:gd name="connsiteY608" fmla="*/ 2198994 h 4077840"/>
                <a:gd name="connsiteX609" fmla="*/ 1178353 w 12084394"/>
                <a:gd name="connsiteY609" fmla="*/ 2198994 h 4077840"/>
                <a:gd name="connsiteX610" fmla="*/ 1284506 w 12084394"/>
                <a:gd name="connsiteY610" fmla="*/ 2305147 h 4077840"/>
                <a:gd name="connsiteX611" fmla="*/ 1178353 w 12084394"/>
                <a:gd name="connsiteY611" fmla="*/ 2411300 h 4077840"/>
                <a:gd name="connsiteX612" fmla="*/ 1072201 w 12084394"/>
                <a:gd name="connsiteY612" fmla="*/ 2305147 h 4077840"/>
                <a:gd name="connsiteX613" fmla="*/ 1178353 w 12084394"/>
                <a:gd name="connsiteY613" fmla="*/ 2198994 h 4077840"/>
                <a:gd name="connsiteX614" fmla="*/ 666483 w 12084394"/>
                <a:gd name="connsiteY614" fmla="*/ 2198994 h 4077840"/>
                <a:gd name="connsiteX615" fmla="*/ 772636 w 12084394"/>
                <a:gd name="connsiteY615" fmla="*/ 2305147 h 4077840"/>
                <a:gd name="connsiteX616" fmla="*/ 666483 w 12084394"/>
                <a:gd name="connsiteY616" fmla="*/ 2411300 h 4077840"/>
                <a:gd name="connsiteX617" fmla="*/ 560331 w 12084394"/>
                <a:gd name="connsiteY617" fmla="*/ 2305147 h 4077840"/>
                <a:gd name="connsiteX618" fmla="*/ 666483 w 12084394"/>
                <a:gd name="connsiteY618" fmla="*/ 2198994 h 4077840"/>
                <a:gd name="connsiteX619" fmla="*/ 154426 w 12084394"/>
                <a:gd name="connsiteY619" fmla="*/ 2198994 h 4077840"/>
                <a:gd name="connsiteX620" fmla="*/ 260578 w 12084394"/>
                <a:gd name="connsiteY620" fmla="*/ 2305147 h 4077840"/>
                <a:gd name="connsiteX621" fmla="*/ 154426 w 12084394"/>
                <a:gd name="connsiteY621" fmla="*/ 2411300 h 4077840"/>
                <a:gd name="connsiteX622" fmla="*/ 48274 w 12084394"/>
                <a:gd name="connsiteY622" fmla="*/ 2305147 h 4077840"/>
                <a:gd name="connsiteX623" fmla="*/ 154426 w 12084394"/>
                <a:gd name="connsiteY623" fmla="*/ 2198994 h 4077840"/>
                <a:gd name="connsiteX624" fmla="*/ 11929966 w 12084394"/>
                <a:gd name="connsiteY624" fmla="*/ 1759082 h 4077840"/>
                <a:gd name="connsiteX625" fmla="*/ 12021952 w 12084394"/>
                <a:gd name="connsiteY625" fmla="*/ 1851069 h 4077840"/>
                <a:gd name="connsiteX626" fmla="*/ 11929966 w 12084394"/>
                <a:gd name="connsiteY626" fmla="*/ 1943055 h 4077840"/>
                <a:gd name="connsiteX627" fmla="*/ 11837979 w 12084394"/>
                <a:gd name="connsiteY627" fmla="*/ 1851069 h 4077840"/>
                <a:gd name="connsiteX628" fmla="*/ 11929966 w 12084394"/>
                <a:gd name="connsiteY628" fmla="*/ 1759082 h 4077840"/>
                <a:gd name="connsiteX629" fmla="*/ 11417900 w 12084394"/>
                <a:gd name="connsiteY629" fmla="*/ 1759082 h 4077840"/>
                <a:gd name="connsiteX630" fmla="*/ 11509887 w 12084394"/>
                <a:gd name="connsiteY630" fmla="*/ 1851069 h 4077840"/>
                <a:gd name="connsiteX631" fmla="*/ 11417900 w 12084394"/>
                <a:gd name="connsiteY631" fmla="*/ 1943055 h 4077840"/>
                <a:gd name="connsiteX632" fmla="*/ 11325913 w 12084394"/>
                <a:gd name="connsiteY632" fmla="*/ 1851069 h 4077840"/>
                <a:gd name="connsiteX633" fmla="*/ 11417900 w 12084394"/>
                <a:gd name="connsiteY633" fmla="*/ 1759082 h 4077840"/>
                <a:gd name="connsiteX634" fmla="*/ 10906023 w 12084394"/>
                <a:gd name="connsiteY634" fmla="*/ 1759082 h 4077840"/>
                <a:gd name="connsiteX635" fmla="*/ 10998010 w 12084394"/>
                <a:gd name="connsiteY635" fmla="*/ 1851069 h 4077840"/>
                <a:gd name="connsiteX636" fmla="*/ 10906023 w 12084394"/>
                <a:gd name="connsiteY636" fmla="*/ 1943055 h 4077840"/>
                <a:gd name="connsiteX637" fmla="*/ 10814037 w 12084394"/>
                <a:gd name="connsiteY637" fmla="*/ 1851069 h 4077840"/>
                <a:gd name="connsiteX638" fmla="*/ 10906023 w 12084394"/>
                <a:gd name="connsiteY638" fmla="*/ 1759082 h 4077840"/>
                <a:gd name="connsiteX639" fmla="*/ 10393957 w 12084394"/>
                <a:gd name="connsiteY639" fmla="*/ 1759082 h 4077840"/>
                <a:gd name="connsiteX640" fmla="*/ 10485943 w 12084394"/>
                <a:gd name="connsiteY640" fmla="*/ 1851069 h 4077840"/>
                <a:gd name="connsiteX641" fmla="*/ 10393957 w 12084394"/>
                <a:gd name="connsiteY641" fmla="*/ 1943055 h 4077840"/>
                <a:gd name="connsiteX642" fmla="*/ 10301970 w 12084394"/>
                <a:gd name="connsiteY642" fmla="*/ 1851069 h 4077840"/>
                <a:gd name="connsiteX643" fmla="*/ 10393957 w 12084394"/>
                <a:gd name="connsiteY643" fmla="*/ 1759082 h 4077840"/>
                <a:gd name="connsiteX644" fmla="*/ 9882080 w 12084394"/>
                <a:gd name="connsiteY644" fmla="*/ 1759082 h 4077840"/>
                <a:gd name="connsiteX645" fmla="*/ 9974067 w 12084394"/>
                <a:gd name="connsiteY645" fmla="*/ 1851069 h 4077840"/>
                <a:gd name="connsiteX646" fmla="*/ 9882080 w 12084394"/>
                <a:gd name="connsiteY646" fmla="*/ 1943055 h 4077840"/>
                <a:gd name="connsiteX647" fmla="*/ 9790093 w 12084394"/>
                <a:gd name="connsiteY647" fmla="*/ 1851069 h 4077840"/>
                <a:gd name="connsiteX648" fmla="*/ 9882080 w 12084394"/>
                <a:gd name="connsiteY648" fmla="*/ 1759082 h 4077840"/>
                <a:gd name="connsiteX649" fmla="*/ 9370014 w 12084394"/>
                <a:gd name="connsiteY649" fmla="*/ 1759082 h 4077840"/>
                <a:gd name="connsiteX650" fmla="*/ 9462000 w 12084394"/>
                <a:gd name="connsiteY650" fmla="*/ 1851069 h 4077840"/>
                <a:gd name="connsiteX651" fmla="*/ 9370014 w 12084394"/>
                <a:gd name="connsiteY651" fmla="*/ 1943055 h 4077840"/>
                <a:gd name="connsiteX652" fmla="*/ 9278027 w 12084394"/>
                <a:gd name="connsiteY652" fmla="*/ 1851069 h 4077840"/>
                <a:gd name="connsiteX653" fmla="*/ 9370014 w 12084394"/>
                <a:gd name="connsiteY653" fmla="*/ 1759082 h 4077840"/>
                <a:gd name="connsiteX654" fmla="*/ 8858137 w 12084394"/>
                <a:gd name="connsiteY654" fmla="*/ 1759082 h 4077840"/>
                <a:gd name="connsiteX655" fmla="*/ 8950123 w 12084394"/>
                <a:gd name="connsiteY655" fmla="*/ 1851069 h 4077840"/>
                <a:gd name="connsiteX656" fmla="*/ 8858137 w 12084394"/>
                <a:gd name="connsiteY656" fmla="*/ 1943055 h 4077840"/>
                <a:gd name="connsiteX657" fmla="*/ 8766150 w 12084394"/>
                <a:gd name="connsiteY657" fmla="*/ 1851069 h 4077840"/>
                <a:gd name="connsiteX658" fmla="*/ 8858137 w 12084394"/>
                <a:gd name="connsiteY658" fmla="*/ 1759082 h 4077840"/>
                <a:gd name="connsiteX659" fmla="*/ 8346071 w 12084394"/>
                <a:gd name="connsiteY659" fmla="*/ 1759082 h 4077840"/>
                <a:gd name="connsiteX660" fmla="*/ 8438058 w 12084394"/>
                <a:gd name="connsiteY660" fmla="*/ 1851069 h 4077840"/>
                <a:gd name="connsiteX661" fmla="*/ 8346071 w 12084394"/>
                <a:gd name="connsiteY661" fmla="*/ 1943055 h 4077840"/>
                <a:gd name="connsiteX662" fmla="*/ 8254084 w 12084394"/>
                <a:gd name="connsiteY662" fmla="*/ 1851069 h 4077840"/>
                <a:gd name="connsiteX663" fmla="*/ 8346071 w 12084394"/>
                <a:gd name="connsiteY663" fmla="*/ 1759082 h 4077840"/>
                <a:gd name="connsiteX664" fmla="*/ 7834005 w 12084394"/>
                <a:gd name="connsiteY664" fmla="*/ 1759082 h 4077840"/>
                <a:gd name="connsiteX665" fmla="*/ 7925992 w 12084394"/>
                <a:gd name="connsiteY665" fmla="*/ 1851069 h 4077840"/>
                <a:gd name="connsiteX666" fmla="*/ 7834005 w 12084394"/>
                <a:gd name="connsiteY666" fmla="*/ 1943055 h 4077840"/>
                <a:gd name="connsiteX667" fmla="*/ 7742018 w 12084394"/>
                <a:gd name="connsiteY667" fmla="*/ 1851069 h 4077840"/>
                <a:gd name="connsiteX668" fmla="*/ 7834005 w 12084394"/>
                <a:gd name="connsiteY668" fmla="*/ 1759082 h 4077840"/>
                <a:gd name="connsiteX669" fmla="*/ 7322128 w 12084394"/>
                <a:gd name="connsiteY669" fmla="*/ 1759082 h 4077840"/>
                <a:gd name="connsiteX670" fmla="*/ 7414115 w 12084394"/>
                <a:gd name="connsiteY670" fmla="*/ 1851069 h 4077840"/>
                <a:gd name="connsiteX671" fmla="*/ 7322128 w 12084394"/>
                <a:gd name="connsiteY671" fmla="*/ 1943055 h 4077840"/>
                <a:gd name="connsiteX672" fmla="*/ 7230141 w 12084394"/>
                <a:gd name="connsiteY672" fmla="*/ 1851069 h 4077840"/>
                <a:gd name="connsiteX673" fmla="*/ 7322128 w 12084394"/>
                <a:gd name="connsiteY673" fmla="*/ 1759082 h 4077840"/>
                <a:gd name="connsiteX674" fmla="*/ 6810062 w 12084394"/>
                <a:gd name="connsiteY674" fmla="*/ 1759082 h 4077840"/>
                <a:gd name="connsiteX675" fmla="*/ 6902048 w 12084394"/>
                <a:gd name="connsiteY675" fmla="*/ 1851069 h 4077840"/>
                <a:gd name="connsiteX676" fmla="*/ 6810062 w 12084394"/>
                <a:gd name="connsiteY676" fmla="*/ 1943055 h 4077840"/>
                <a:gd name="connsiteX677" fmla="*/ 6718075 w 12084394"/>
                <a:gd name="connsiteY677" fmla="*/ 1851069 h 4077840"/>
                <a:gd name="connsiteX678" fmla="*/ 6810062 w 12084394"/>
                <a:gd name="connsiteY678" fmla="*/ 1759082 h 4077840"/>
                <a:gd name="connsiteX679" fmla="*/ 6298186 w 12084394"/>
                <a:gd name="connsiteY679" fmla="*/ 1759082 h 4077840"/>
                <a:gd name="connsiteX680" fmla="*/ 6390172 w 12084394"/>
                <a:gd name="connsiteY680" fmla="*/ 1851069 h 4077840"/>
                <a:gd name="connsiteX681" fmla="*/ 6298186 w 12084394"/>
                <a:gd name="connsiteY681" fmla="*/ 1943055 h 4077840"/>
                <a:gd name="connsiteX682" fmla="*/ 6206198 w 12084394"/>
                <a:gd name="connsiteY682" fmla="*/ 1851069 h 4077840"/>
                <a:gd name="connsiteX683" fmla="*/ 6298186 w 12084394"/>
                <a:gd name="connsiteY683" fmla="*/ 1759082 h 4077840"/>
                <a:gd name="connsiteX684" fmla="*/ 5786126 w 12084394"/>
                <a:gd name="connsiteY684" fmla="*/ 1759082 h 4077840"/>
                <a:gd name="connsiteX685" fmla="*/ 5878110 w 12084394"/>
                <a:gd name="connsiteY685" fmla="*/ 1851069 h 4077840"/>
                <a:gd name="connsiteX686" fmla="*/ 5786126 w 12084394"/>
                <a:gd name="connsiteY686" fmla="*/ 1943055 h 4077840"/>
                <a:gd name="connsiteX687" fmla="*/ 5694144 w 12084394"/>
                <a:gd name="connsiteY687" fmla="*/ 1851069 h 4077840"/>
                <a:gd name="connsiteX688" fmla="*/ 5786126 w 12084394"/>
                <a:gd name="connsiteY688" fmla="*/ 1759082 h 4077840"/>
                <a:gd name="connsiteX689" fmla="*/ 5274270 w 12084394"/>
                <a:gd name="connsiteY689" fmla="*/ 1759082 h 4077840"/>
                <a:gd name="connsiteX690" fmla="*/ 5366255 w 12084394"/>
                <a:gd name="connsiteY690" fmla="*/ 1851069 h 4077840"/>
                <a:gd name="connsiteX691" fmla="*/ 5274270 w 12084394"/>
                <a:gd name="connsiteY691" fmla="*/ 1943055 h 4077840"/>
                <a:gd name="connsiteX692" fmla="*/ 5182283 w 12084394"/>
                <a:gd name="connsiteY692" fmla="*/ 1851069 h 4077840"/>
                <a:gd name="connsiteX693" fmla="*/ 5274270 w 12084394"/>
                <a:gd name="connsiteY693" fmla="*/ 1759082 h 4077840"/>
                <a:gd name="connsiteX694" fmla="*/ 4762180 w 12084394"/>
                <a:gd name="connsiteY694" fmla="*/ 1759082 h 4077840"/>
                <a:gd name="connsiteX695" fmla="*/ 4854198 w 12084394"/>
                <a:gd name="connsiteY695" fmla="*/ 1851069 h 4077840"/>
                <a:gd name="connsiteX696" fmla="*/ 4762180 w 12084394"/>
                <a:gd name="connsiteY696" fmla="*/ 1943055 h 4077840"/>
                <a:gd name="connsiteX697" fmla="*/ 4670207 w 12084394"/>
                <a:gd name="connsiteY697" fmla="*/ 1851069 h 4077840"/>
                <a:gd name="connsiteX698" fmla="*/ 4762180 w 12084394"/>
                <a:gd name="connsiteY698" fmla="*/ 1759082 h 4077840"/>
                <a:gd name="connsiteX699" fmla="*/ 4250316 w 12084394"/>
                <a:gd name="connsiteY699" fmla="*/ 1759082 h 4077840"/>
                <a:gd name="connsiteX700" fmla="*/ 4342309 w 12084394"/>
                <a:gd name="connsiteY700" fmla="*/ 1851069 h 4077840"/>
                <a:gd name="connsiteX701" fmla="*/ 4250316 w 12084394"/>
                <a:gd name="connsiteY701" fmla="*/ 1943055 h 4077840"/>
                <a:gd name="connsiteX702" fmla="*/ 4158324 w 12084394"/>
                <a:gd name="connsiteY702" fmla="*/ 1851069 h 4077840"/>
                <a:gd name="connsiteX703" fmla="*/ 4250316 w 12084394"/>
                <a:gd name="connsiteY703" fmla="*/ 1759082 h 4077840"/>
                <a:gd name="connsiteX704" fmla="*/ 3738289 w 12084394"/>
                <a:gd name="connsiteY704" fmla="*/ 1759082 h 4077840"/>
                <a:gd name="connsiteX705" fmla="*/ 3830274 w 12084394"/>
                <a:gd name="connsiteY705" fmla="*/ 1851069 h 4077840"/>
                <a:gd name="connsiteX706" fmla="*/ 3738289 w 12084394"/>
                <a:gd name="connsiteY706" fmla="*/ 1943055 h 4077840"/>
                <a:gd name="connsiteX707" fmla="*/ 3646291 w 12084394"/>
                <a:gd name="connsiteY707" fmla="*/ 1851069 h 4077840"/>
                <a:gd name="connsiteX708" fmla="*/ 3738289 w 12084394"/>
                <a:gd name="connsiteY708" fmla="*/ 1759082 h 4077840"/>
                <a:gd name="connsiteX709" fmla="*/ 3226242 w 12084394"/>
                <a:gd name="connsiteY709" fmla="*/ 1759082 h 4077840"/>
                <a:gd name="connsiteX710" fmla="*/ 3318235 w 12084394"/>
                <a:gd name="connsiteY710" fmla="*/ 1851069 h 4077840"/>
                <a:gd name="connsiteX711" fmla="*/ 3226242 w 12084394"/>
                <a:gd name="connsiteY711" fmla="*/ 1943055 h 4077840"/>
                <a:gd name="connsiteX712" fmla="*/ 3134252 w 12084394"/>
                <a:gd name="connsiteY712" fmla="*/ 1851069 h 4077840"/>
                <a:gd name="connsiteX713" fmla="*/ 3226242 w 12084394"/>
                <a:gd name="connsiteY713" fmla="*/ 1759082 h 4077840"/>
                <a:gd name="connsiteX714" fmla="*/ 2714363 w 12084394"/>
                <a:gd name="connsiteY714" fmla="*/ 1759082 h 4077840"/>
                <a:gd name="connsiteX715" fmla="*/ 2806350 w 12084394"/>
                <a:gd name="connsiteY715" fmla="*/ 1851069 h 4077840"/>
                <a:gd name="connsiteX716" fmla="*/ 2714363 w 12084394"/>
                <a:gd name="connsiteY716" fmla="*/ 1943055 h 4077840"/>
                <a:gd name="connsiteX717" fmla="*/ 2622376 w 12084394"/>
                <a:gd name="connsiteY717" fmla="*/ 1851069 h 4077840"/>
                <a:gd name="connsiteX718" fmla="*/ 2714363 w 12084394"/>
                <a:gd name="connsiteY718" fmla="*/ 1759082 h 4077840"/>
                <a:gd name="connsiteX719" fmla="*/ 2202305 w 12084394"/>
                <a:gd name="connsiteY719" fmla="*/ 1759082 h 4077840"/>
                <a:gd name="connsiteX720" fmla="*/ 2294291 w 12084394"/>
                <a:gd name="connsiteY720" fmla="*/ 1851069 h 4077840"/>
                <a:gd name="connsiteX721" fmla="*/ 2202305 w 12084394"/>
                <a:gd name="connsiteY721" fmla="*/ 1943055 h 4077840"/>
                <a:gd name="connsiteX722" fmla="*/ 2110320 w 12084394"/>
                <a:gd name="connsiteY722" fmla="*/ 1851069 h 4077840"/>
                <a:gd name="connsiteX723" fmla="*/ 2202305 w 12084394"/>
                <a:gd name="connsiteY723" fmla="*/ 1759082 h 4077840"/>
                <a:gd name="connsiteX724" fmla="*/ 1690412 w 12084394"/>
                <a:gd name="connsiteY724" fmla="*/ 1759082 h 4077840"/>
                <a:gd name="connsiteX725" fmla="*/ 1782398 w 12084394"/>
                <a:gd name="connsiteY725" fmla="*/ 1851069 h 4077840"/>
                <a:gd name="connsiteX726" fmla="*/ 1690412 w 12084394"/>
                <a:gd name="connsiteY726" fmla="*/ 1943055 h 4077840"/>
                <a:gd name="connsiteX727" fmla="*/ 1598426 w 12084394"/>
                <a:gd name="connsiteY727" fmla="*/ 1851069 h 4077840"/>
                <a:gd name="connsiteX728" fmla="*/ 1690412 w 12084394"/>
                <a:gd name="connsiteY728" fmla="*/ 1759082 h 4077840"/>
                <a:gd name="connsiteX729" fmla="*/ 1178353 w 12084394"/>
                <a:gd name="connsiteY729" fmla="*/ 1759082 h 4077840"/>
                <a:gd name="connsiteX730" fmla="*/ 1270339 w 12084394"/>
                <a:gd name="connsiteY730" fmla="*/ 1851069 h 4077840"/>
                <a:gd name="connsiteX731" fmla="*/ 1178353 w 12084394"/>
                <a:gd name="connsiteY731" fmla="*/ 1943055 h 4077840"/>
                <a:gd name="connsiteX732" fmla="*/ 1086367 w 12084394"/>
                <a:gd name="connsiteY732" fmla="*/ 1851069 h 4077840"/>
                <a:gd name="connsiteX733" fmla="*/ 1178353 w 12084394"/>
                <a:gd name="connsiteY733" fmla="*/ 1759082 h 4077840"/>
                <a:gd name="connsiteX734" fmla="*/ 666483 w 12084394"/>
                <a:gd name="connsiteY734" fmla="*/ 1759082 h 4077840"/>
                <a:gd name="connsiteX735" fmla="*/ 758469 w 12084394"/>
                <a:gd name="connsiteY735" fmla="*/ 1851069 h 4077840"/>
                <a:gd name="connsiteX736" fmla="*/ 666483 w 12084394"/>
                <a:gd name="connsiteY736" fmla="*/ 1943055 h 4077840"/>
                <a:gd name="connsiteX737" fmla="*/ 574497 w 12084394"/>
                <a:gd name="connsiteY737" fmla="*/ 1851069 h 4077840"/>
                <a:gd name="connsiteX738" fmla="*/ 666483 w 12084394"/>
                <a:gd name="connsiteY738" fmla="*/ 1759082 h 4077840"/>
                <a:gd name="connsiteX739" fmla="*/ 154424 w 12084394"/>
                <a:gd name="connsiteY739" fmla="*/ 1759082 h 4077840"/>
                <a:gd name="connsiteX740" fmla="*/ 246411 w 12084394"/>
                <a:gd name="connsiteY740" fmla="*/ 1851069 h 4077840"/>
                <a:gd name="connsiteX741" fmla="*/ 154424 w 12084394"/>
                <a:gd name="connsiteY741" fmla="*/ 1943055 h 4077840"/>
                <a:gd name="connsiteX742" fmla="*/ 62438 w 12084394"/>
                <a:gd name="connsiteY742" fmla="*/ 1851069 h 4077840"/>
                <a:gd name="connsiteX743" fmla="*/ 154424 w 12084394"/>
                <a:gd name="connsiteY743" fmla="*/ 1759082 h 4077840"/>
                <a:gd name="connsiteX744" fmla="*/ 11929965 w 12084394"/>
                <a:gd name="connsiteY744" fmla="*/ 1319549 h 4077840"/>
                <a:gd name="connsiteX745" fmla="*/ 12007597 w 12084394"/>
                <a:gd name="connsiteY745" fmla="*/ 1397181 h 4077840"/>
                <a:gd name="connsiteX746" fmla="*/ 11929965 w 12084394"/>
                <a:gd name="connsiteY746" fmla="*/ 1474811 h 4077840"/>
                <a:gd name="connsiteX747" fmla="*/ 11852334 w 12084394"/>
                <a:gd name="connsiteY747" fmla="*/ 1397181 h 4077840"/>
                <a:gd name="connsiteX748" fmla="*/ 11929965 w 12084394"/>
                <a:gd name="connsiteY748" fmla="*/ 1319549 h 4077840"/>
                <a:gd name="connsiteX749" fmla="*/ 11417900 w 12084394"/>
                <a:gd name="connsiteY749" fmla="*/ 1319549 h 4077840"/>
                <a:gd name="connsiteX750" fmla="*/ 11495531 w 12084394"/>
                <a:gd name="connsiteY750" fmla="*/ 1397181 h 4077840"/>
                <a:gd name="connsiteX751" fmla="*/ 11417900 w 12084394"/>
                <a:gd name="connsiteY751" fmla="*/ 1474811 h 4077840"/>
                <a:gd name="connsiteX752" fmla="*/ 11340268 w 12084394"/>
                <a:gd name="connsiteY752" fmla="*/ 1397181 h 4077840"/>
                <a:gd name="connsiteX753" fmla="*/ 11417900 w 12084394"/>
                <a:gd name="connsiteY753" fmla="*/ 1319549 h 4077840"/>
                <a:gd name="connsiteX754" fmla="*/ 10906023 w 12084394"/>
                <a:gd name="connsiteY754" fmla="*/ 1319549 h 4077840"/>
                <a:gd name="connsiteX755" fmla="*/ 10983654 w 12084394"/>
                <a:gd name="connsiteY755" fmla="*/ 1397181 h 4077840"/>
                <a:gd name="connsiteX756" fmla="*/ 10906023 w 12084394"/>
                <a:gd name="connsiteY756" fmla="*/ 1474811 h 4077840"/>
                <a:gd name="connsiteX757" fmla="*/ 10828392 w 12084394"/>
                <a:gd name="connsiteY757" fmla="*/ 1397181 h 4077840"/>
                <a:gd name="connsiteX758" fmla="*/ 10906023 w 12084394"/>
                <a:gd name="connsiteY758" fmla="*/ 1319549 h 4077840"/>
                <a:gd name="connsiteX759" fmla="*/ 10393956 w 12084394"/>
                <a:gd name="connsiteY759" fmla="*/ 1319549 h 4077840"/>
                <a:gd name="connsiteX760" fmla="*/ 10471588 w 12084394"/>
                <a:gd name="connsiteY760" fmla="*/ 1397181 h 4077840"/>
                <a:gd name="connsiteX761" fmla="*/ 10393956 w 12084394"/>
                <a:gd name="connsiteY761" fmla="*/ 1474811 h 4077840"/>
                <a:gd name="connsiteX762" fmla="*/ 10316325 w 12084394"/>
                <a:gd name="connsiteY762" fmla="*/ 1397181 h 4077840"/>
                <a:gd name="connsiteX763" fmla="*/ 10393956 w 12084394"/>
                <a:gd name="connsiteY763" fmla="*/ 1319549 h 4077840"/>
                <a:gd name="connsiteX764" fmla="*/ 9882080 w 12084394"/>
                <a:gd name="connsiteY764" fmla="*/ 1319549 h 4077840"/>
                <a:gd name="connsiteX765" fmla="*/ 9959711 w 12084394"/>
                <a:gd name="connsiteY765" fmla="*/ 1397181 h 4077840"/>
                <a:gd name="connsiteX766" fmla="*/ 9882080 w 12084394"/>
                <a:gd name="connsiteY766" fmla="*/ 1474811 h 4077840"/>
                <a:gd name="connsiteX767" fmla="*/ 9804449 w 12084394"/>
                <a:gd name="connsiteY767" fmla="*/ 1397181 h 4077840"/>
                <a:gd name="connsiteX768" fmla="*/ 9882080 w 12084394"/>
                <a:gd name="connsiteY768" fmla="*/ 1319549 h 4077840"/>
                <a:gd name="connsiteX769" fmla="*/ 9370013 w 12084394"/>
                <a:gd name="connsiteY769" fmla="*/ 1319549 h 4077840"/>
                <a:gd name="connsiteX770" fmla="*/ 9447645 w 12084394"/>
                <a:gd name="connsiteY770" fmla="*/ 1397181 h 4077840"/>
                <a:gd name="connsiteX771" fmla="*/ 9370013 w 12084394"/>
                <a:gd name="connsiteY771" fmla="*/ 1474811 h 4077840"/>
                <a:gd name="connsiteX772" fmla="*/ 9292382 w 12084394"/>
                <a:gd name="connsiteY772" fmla="*/ 1397181 h 4077840"/>
                <a:gd name="connsiteX773" fmla="*/ 9370013 w 12084394"/>
                <a:gd name="connsiteY773" fmla="*/ 1319549 h 4077840"/>
                <a:gd name="connsiteX774" fmla="*/ 8858136 w 12084394"/>
                <a:gd name="connsiteY774" fmla="*/ 1319549 h 4077840"/>
                <a:gd name="connsiteX775" fmla="*/ 8935768 w 12084394"/>
                <a:gd name="connsiteY775" fmla="*/ 1397181 h 4077840"/>
                <a:gd name="connsiteX776" fmla="*/ 8858136 w 12084394"/>
                <a:gd name="connsiteY776" fmla="*/ 1474811 h 4077840"/>
                <a:gd name="connsiteX777" fmla="*/ 8780505 w 12084394"/>
                <a:gd name="connsiteY777" fmla="*/ 1397181 h 4077840"/>
                <a:gd name="connsiteX778" fmla="*/ 8858136 w 12084394"/>
                <a:gd name="connsiteY778" fmla="*/ 1319549 h 4077840"/>
                <a:gd name="connsiteX779" fmla="*/ 8346071 w 12084394"/>
                <a:gd name="connsiteY779" fmla="*/ 1319549 h 4077840"/>
                <a:gd name="connsiteX780" fmla="*/ 8423702 w 12084394"/>
                <a:gd name="connsiteY780" fmla="*/ 1397181 h 4077840"/>
                <a:gd name="connsiteX781" fmla="*/ 8346071 w 12084394"/>
                <a:gd name="connsiteY781" fmla="*/ 1474811 h 4077840"/>
                <a:gd name="connsiteX782" fmla="*/ 8268439 w 12084394"/>
                <a:gd name="connsiteY782" fmla="*/ 1397181 h 4077840"/>
                <a:gd name="connsiteX783" fmla="*/ 8346071 w 12084394"/>
                <a:gd name="connsiteY783" fmla="*/ 1319549 h 4077840"/>
                <a:gd name="connsiteX784" fmla="*/ 7834193 w 12084394"/>
                <a:gd name="connsiteY784" fmla="*/ 1319549 h 4077840"/>
                <a:gd name="connsiteX785" fmla="*/ 7911825 w 12084394"/>
                <a:gd name="connsiteY785" fmla="*/ 1397181 h 4077840"/>
                <a:gd name="connsiteX786" fmla="*/ 7834193 w 12084394"/>
                <a:gd name="connsiteY786" fmla="*/ 1474811 h 4077840"/>
                <a:gd name="connsiteX787" fmla="*/ 7756562 w 12084394"/>
                <a:gd name="connsiteY787" fmla="*/ 1397181 h 4077840"/>
                <a:gd name="connsiteX788" fmla="*/ 7834193 w 12084394"/>
                <a:gd name="connsiteY788" fmla="*/ 1319549 h 4077840"/>
                <a:gd name="connsiteX789" fmla="*/ 7322128 w 12084394"/>
                <a:gd name="connsiteY789" fmla="*/ 1319549 h 4077840"/>
                <a:gd name="connsiteX790" fmla="*/ 7399759 w 12084394"/>
                <a:gd name="connsiteY790" fmla="*/ 1397181 h 4077840"/>
                <a:gd name="connsiteX791" fmla="*/ 7322128 w 12084394"/>
                <a:gd name="connsiteY791" fmla="*/ 1474811 h 4077840"/>
                <a:gd name="connsiteX792" fmla="*/ 7244496 w 12084394"/>
                <a:gd name="connsiteY792" fmla="*/ 1397181 h 4077840"/>
                <a:gd name="connsiteX793" fmla="*/ 7322128 w 12084394"/>
                <a:gd name="connsiteY793" fmla="*/ 1319549 h 4077840"/>
                <a:gd name="connsiteX794" fmla="*/ 6810251 w 12084394"/>
                <a:gd name="connsiteY794" fmla="*/ 1319549 h 4077840"/>
                <a:gd name="connsiteX795" fmla="*/ 6887882 w 12084394"/>
                <a:gd name="connsiteY795" fmla="*/ 1397181 h 4077840"/>
                <a:gd name="connsiteX796" fmla="*/ 6810251 w 12084394"/>
                <a:gd name="connsiteY796" fmla="*/ 1474811 h 4077840"/>
                <a:gd name="connsiteX797" fmla="*/ 6732619 w 12084394"/>
                <a:gd name="connsiteY797" fmla="*/ 1397181 h 4077840"/>
                <a:gd name="connsiteX798" fmla="*/ 6810251 w 12084394"/>
                <a:gd name="connsiteY798" fmla="*/ 1319549 h 4077840"/>
                <a:gd name="connsiteX799" fmla="*/ 6298184 w 12084394"/>
                <a:gd name="connsiteY799" fmla="*/ 1319549 h 4077840"/>
                <a:gd name="connsiteX800" fmla="*/ 6375816 w 12084394"/>
                <a:gd name="connsiteY800" fmla="*/ 1397181 h 4077840"/>
                <a:gd name="connsiteX801" fmla="*/ 6298184 w 12084394"/>
                <a:gd name="connsiteY801" fmla="*/ 1474811 h 4077840"/>
                <a:gd name="connsiteX802" fmla="*/ 6220554 w 12084394"/>
                <a:gd name="connsiteY802" fmla="*/ 1397181 h 4077840"/>
                <a:gd name="connsiteX803" fmla="*/ 6298184 w 12084394"/>
                <a:gd name="connsiteY803" fmla="*/ 1319549 h 4077840"/>
                <a:gd name="connsiteX804" fmla="*/ 5786126 w 12084394"/>
                <a:gd name="connsiteY804" fmla="*/ 1319549 h 4077840"/>
                <a:gd name="connsiteX805" fmla="*/ 5863754 w 12084394"/>
                <a:gd name="connsiteY805" fmla="*/ 1397181 h 4077840"/>
                <a:gd name="connsiteX806" fmla="*/ 5786126 w 12084394"/>
                <a:gd name="connsiteY806" fmla="*/ 1474811 h 4077840"/>
                <a:gd name="connsiteX807" fmla="*/ 5708497 w 12084394"/>
                <a:gd name="connsiteY807" fmla="*/ 1397181 h 4077840"/>
                <a:gd name="connsiteX808" fmla="*/ 5786126 w 12084394"/>
                <a:gd name="connsiteY808" fmla="*/ 1319549 h 4077840"/>
                <a:gd name="connsiteX809" fmla="*/ 5274270 w 12084394"/>
                <a:gd name="connsiteY809" fmla="*/ 1319549 h 4077840"/>
                <a:gd name="connsiteX810" fmla="*/ 5351901 w 12084394"/>
                <a:gd name="connsiteY810" fmla="*/ 1397181 h 4077840"/>
                <a:gd name="connsiteX811" fmla="*/ 5274270 w 12084394"/>
                <a:gd name="connsiteY811" fmla="*/ 1474811 h 4077840"/>
                <a:gd name="connsiteX812" fmla="*/ 5196640 w 12084394"/>
                <a:gd name="connsiteY812" fmla="*/ 1397181 h 4077840"/>
                <a:gd name="connsiteX813" fmla="*/ 5274270 w 12084394"/>
                <a:gd name="connsiteY813" fmla="*/ 1319549 h 4077840"/>
                <a:gd name="connsiteX814" fmla="*/ 4762180 w 12084394"/>
                <a:gd name="connsiteY814" fmla="*/ 1319549 h 4077840"/>
                <a:gd name="connsiteX815" fmla="*/ 4839836 w 12084394"/>
                <a:gd name="connsiteY815" fmla="*/ 1397181 h 4077840"/>
                <a:gd name="connsiteX816" fmla="*/ 4762180 w 12084394"/>
                <a:gd name="connsiteY816" fmla="*/ 1474811 h 4077840"/>
                <a:gd name="connsiteX817" fmla="*/ 4684568 w 12084394"/>
                <a:gd name="connsiteY817" fmla="*/ 1397181 h 4077840"/>
                <a:gd name="connsiteX818" fmla="*/ 4762180 w 12084394"/>
                <a:gd name="connsiteY818" fmla="*/ 1319549 h 4077840"/>
                <a:gd name="connsiteX819" fmla="*/ 4250316 w 12084394"/>
                <a:gd name="connsiteY819" fmla="*/ 1319549 h 4077840"/>
                <a:gd name="connsiteX820" fmla="*/ 4327952 w 12084394"/>
                <a:gd name="connsiteY820" fmla="*/ 1397181 h 4077840"/>
                <a:gd name="connsiteX821" fmla="*/ 4250316 w 12084394"/>
                <a:gd name="connsiteY821" fmla="*/ 1474811 h 4077840"/>
                <a:gd name="connsiteX822" fmla="*/ 4172680 w 12084394"/>
                <a:gd name="connsiteY822" fmla="*/ 1397181 h 4077840"/>
                <a:gd name="connsiteX823" fmla="*/ 4250316 w 12084394"/>
                <a:gd name="connsiteY823" fmla="*/ 1319549 h 4077840"/>
                <a:gd name="connsiteX824" fmla="*/ 3738287 w 12084394"/>
                <a:gd name="connsiteY824" fmla="*/ 1319549 h 4077840"/>
                <a:gd name="connsiteX825" fmla="*/ 3815917 w 12084394"/>
                <a:gd name="connsiteY825" fmla="*/ 1397181 h 4077840"/>
                <a:gd name="connsiteX826" fmla="*/ 3738287 w 12084394"/>
                <a:gd name="connsiteY826" fmla="*/ 1474811 h 4077840"/>
                <a:gd name="connsiteX827" fmla="*/ 3660647 w 12084394"/>
                <a:gd name="connsiteY827" fmla="*/ 1397181 h 4077840"/>
                <a:gd name="connsiteX828" fmla="*/ 3738287 w 12084394"/>
                <a:gd name="connsiteY828" fmla="*/ 1319549 h 4077840"/>
                <a:gd name="connsiteX829" fmla="*/ 3226239 w 12084394"/>
                <a:gd name="connsiteY829" fmla="*/ 1319549 h 4077840"/>
                <a:gd name="connsiteX830" fmla="*/ 3303877 w 12084394"/>
                <a:gd name="connsiteY830" fmla="*/ 1397181 h 4077840"/>
                <a:gd name="connsiteX831" fmla="*/ 3226239 w 12084394"/>
                <a:gd name="connsiteY831" fmla="*/ 1474811 h 4077840"/>
                <a:gd name="connsiteX832" fmla="*/ 3148605 w 12084394"/>
                <a:gd name="connsiteY832" fmla="*/ 1397181 h 4077840"/>
                <a:gd name="connsiteX833" fmla="*/ 3226239 w 12084394"/>
                <a:gd name="connsiteY833" fmla="*/ 1319549 h 4077840"/>
                <a:gd name="connsiteX834" fmla="*/ 2714362 w 12084394"/>
                <a:gd name="connsiteY834" fmla="*/ 1319549 h 4077840"/>
                <a:gd name="connsiteX835" fmla="*/ 2791993 w 12084394"/>
                <a:gd name="connsiteY835" fmla="*/ 1397181 h 4077840"/>
                <a:gd name="connsiteX836" fmla="*/ 2714362 w 12084394"/>
                <a:gd name="connsiteY836" fmla="*/ 1474811 h 4077840"/>
                <a:gd name="connsiteX837" fmla="*/ 2636733 w 12084394"/>
                <a:gd name="connsiteY837" fmla="*/ 1397181 h 4077840"/>
                <a:gd name="connsiteX838" fmla="*/ 2714362 w 12084394"/>
                <a:gd name="connsiteY838" fmla="*/ 1319549 h 4077840"/>
                <a:gd name="connsiteX839" fmla="*/ 2202305 w 12084394"/>
                <a:gd name="connsiteY839" fmla="*/ 1319549 h 4077840"/>
                <a:gd name="connsiteX840" fmla="*/ 2279935 w 12084394"/>
                <a:gd name="connsiteY840" fmla="*/ 1397181 h 4077840"/>
                <a:gd name="connsiteX841" fmla="*/ 2202305 w 12084394"/>
                <a:gd name="connsiteY841" fmla="*/ 1474811 h 4077840"/>
                <a:gd name="connsiteX842" fmla="*/ 2124675 w 12084394"/>
                <a:gd name="connsiteY842" fmla="*/ 1397181 h 4077840"/>
                <a:gd name="connsiteX843" fmla="*/ 2202305 w 12084394"/>
                <a:gd name="connsiteY843" fmla="*/ 1319549 h 4077840"/>
                <a:gd name="connsiteX844" fmla="*/ 1690412 w 12084394"/>
                <a:gd name="connsiteY844" fmla="*/ 1319549 h 4077840"/>
                <a:gd name="connsiteX845" fmla="*/ 1768043 w 12084394"/>
                <a:gd name="connsiteY845" fmla="*/ 1397181 h 4077840"/>
                <a:gd name="connsiteX846" fmla="*/ 1690412 w 12084394"/>
                <a:gd name="connsiteY846" fmla="*/ 1474811 h 4077840"/>
                <a:gd name="connsiteX847" fmla="*/ 1612781 w 12084394"/>
                <a:gd name="connsiteY847" fmla="*/ 1397181 h 4077840"/>
                <a:gd name="connsiteX848" fmla="*/ 1690412 w 12084394"/>
                <a:gd name="connsiteY848" fmla="*/ 1319549 h 4077840"/>
                <a:gd name="connsiteX849" fmla="*/ 1178353 w 12084394"/>
                <a:gd name="connsiteY849" fmla="*/ 1319549 h 4077840"/>
                <a:gd name="connsiteX850" fmla="*/ 1255984 w 12084394"/>
                <a:gd name="connsiteY850" fmla="*/ 1397181 h 4077840"/>
                <a:gd name="connsiteX851" fmla="*/ 1178353 w 12084394"/>
                <a:gd name="connsiteY851" fmla="*/ 1474811 h 4077840"/>
                <a:gd name="connsiteX852" fmla="*/ 1100722 w 12084394"/>
                <a:gd name="connsiteY852" fmla="*/ 1397181 h 4077840"/>
                <a:gd name="connsiteX853" fmla="*/ 1178353 w 12084394"/>
                <a:gd name="connsiteY853" fmla="*/ 1319549 h 4077840"/>
                <a:gd name="connsiteX854" fmla="*/ 666483 w 12084394"/>
                <a:gd name="connsiteY854" fmla="*/ 1319549 h 4077840"/>
                <a:gd name="connsiteX855" fmla="*/ 744113 w 12084394"/>
                <a:gd name="connsiteY855" fmla="*/ 1397181 h 4077840"/>
                <a:gd name="connsiteX856" fmla="*/ 666483 w 12084394"/>
                <a:gd name="connsiteY856" fmla="*/ 1474811 h 4077840"/>
                <a:gd name="connsiteX857" fmla="*/ 588852 w 12084394"/>
                <a:gd name="connsiteY857" fmla="*/ 1397181 h 4077840"/>
                <a:gd name="connsiteX858" fmla="*/ 666483 w 12084394"/>
                <a:gd name="connsiteY858" fmla="*/ 1319549 h 4077840"/>
                <a:gd name="connsiteX859" fmla="*/ 154424 w 12084394"/>
                <a:gd name="connsiteY859" fmla="*/ 1319549 h 4077840"/>
                <a:gd name="connsiteX860" fmla="*/ 232055 w 12084394"/>
                <a:gd name="connsiteY860" fmla="*/ 1397181 h 4077840"/>
                <a:gd name="connsiteX861" fmla="*/ 154424 w 12084394"/>
                <a:gd name="connsiteY861" fmla="*/ 1474811 h 4077840"/>
                <a:gd name="connsiteX862" fmla="*/ 76793 w 12084394"/>
                <a:gd name="connsiteY862" fmla="*/ 1397181 h 4077840"/>
                <a:gd name="connsiteX863" fmla="*/ 154424 w 12084394"/>
                <a:gd name="connsiteY863" fmla="*/ 1319549 h 4077840"/>
                <a:gd name="connsiteX864" fmla="*/ 11929965 w 12084394"/>
                <a:gd name="connsiteY864" fmla="*/ 879636 h 4077840"/>
                <a:gd name="connsiteX865" fmla="*/ 11993430 w 12084394"/>
                <a:gd name="connsiteY865" fmla="*/ 943101 h 4077840"/>
                <a:gd name="connsiteX866" fmla="*/ 11929965 w 12084394"/>
                <a:gd name="connsiteY866" fmla="*/ 1006567 h 4077840"/>
                <a:gd name="connsiteX867" fmla="*/ 11866500 w 12084394"/>
                <a:gd name="connsiteY867" fmla="*/ 943101 h 4077840"/>
                <a:gd name="connsiteX868" fmla="*/ 11929965 w 12084394"/>
                <a:gd name="connsiteY868" fmla="*/ 879636 h 4077840"/>
                <a:gd name="connsiteX869" fmla="*/ 11417899 w 12084394"/>
                <a:gd name="connsiteY869" fmla="*/ 879636 h 4077840"/>
                <a:gd name="connsiteX870" fmla="*/ 11481364 w 12084394"/>
                <a:gd name="connsiteY870" fmla="*/ 943101 h 4077840"/>
                <a:gd name="connsiteX871" fmla="*/ 11417899 w 12084394"/>
                <a:gd name="connsiteY871" fmla="*/ 1006567 h 4077840"/>
                <a:gd name="connsiteX872" fmla="*/ 11354434 w 12084394"/>
                <a:gd name="connsiteY872" fmla="*/ 943101 h 4077840"/>
                <a:gd name="connsiteX873" fmla="*/ 11417899 w 12084394"/>
                <a:gd name="connsiteY873" fmla="*/ 879636 h 4077840"/>
                <a:gd name="connsiteX874" fmla="*/ 10906023 w 12084394"/>
                <a:gd name="connsiteY874" fmla="*/ 879636 h 4077840"/>
                <a:gd name="connsiteX875" fmla="*/ 10969488 w 12084394"/>
                <a:gd name="connsiteY875" fmla="*/ 943101 h 4077840"/>
                <a:gd name="connsiteX876" fmla="*/ 10906023 w 12084394"/>
                <a:gd name="connsiteY876" fmla="*/ 1006567 h 4077840"/>
                <a:gd name="connsiteX877" fmla="*/ 10842558 w 12084394"/>
                <a:gd name="connsiteY877" fmla="*/ 943101 h 4077840"/>
                <a:gd name="connsiteX878" fmla="*/ 10906023 w 12084394"/>
                <a:gd name="connsiteY878" fmla="*/ 879636 h 4077840"/>
                <a:gd name="connsiteX879" fmla="*/ 10393956 w 12084394"/>
                <a:gd name="connsiteY879" fmla="*/ 879636 h 4077840"/>
                <a:gd name="connsiteX880" fmla="*/ 10457421 w 12084394"/>
                <a:gd name="connsiteY880" fmla="*/ 943101 h 4077840"/>
                <a:gd name="connsiteX881" fmla="*/ 10393956 w 12084394"/>
                <a:gd name="connsiteY881" fmla="*/ 1006567 h 4077840"/>
                <a:gd name="connsiteX882" fmla="*/ 10330491 w 12084394"/>
                <a:gd name="connsiteY882" fmla="*/ 943101 h 4077840"/>
                <a:gd name="connsiteX883" fmla="*/ 10393956 w 12084394"/>
                <a:gd name="connsiteY883" fmla="*/ 879636 h 4077840"/>
                <a:gd name="connsiteX884" fmla="*/ 9882079 w 12084394"/>
                <a:gd name="connsiteY884" fmla="*/ 879636 h 4077840"/>
                <a:gd name="connsiteX885" fmla="*/ 9945544 w 12084394"/>
                <a:gd name="connsiteY885" fmla="*/ 943101 h 4077840"/>
                <a:gd name="connsiteX886" fmla="*/ 9882079 w 12084394"/>
                <a:gd name="connsiteY886" fmla="*/ 1006567 h 4077840"/>
                <a:gd name="connsiteX887" fmla="*/ 9818615 w 12084394"/>
                <a:gd name="connsiteY887" fmla="*/ 943101 h 4077840"/>
                <a:gd name="connsiteX888" fmla="*/ 9882079 w 12084394"/>
                <a:gd name="connsiteY888" fmla="*/ 879636 h 4077840"/>
                <a:gd name="connsiteX889" fmla="*/ 5274270 w 12084394"/>
                <a:gd name="connsiteY889" fmla="*/ 879636 h 4077840"/>
                <a:gd name="connsiteX890" fmla="*/ 5337733 w 12084394"/>
                <a:gd name="connsiteY890" fmla="*/ 943101 h 4077840"/>
                <a:gd name="connsiteX891" fmla="*/ 5274270 w 12084394"/>
                <a:gd name="connsiteY891" fmla="*/ 1006567 h 4077840"/>
                <a:gd name="connsiteX892" fmla="*/ 5210807 w 12084394"/>
                <a:gd name="connsiteY892" fmla="*/ 943101 h 4077840"/>
                <a:gd name="connsiteX893" fmla="*/ 5274270 w 12084394"/>
                <a:gd name="connsiteY893" fmla="*/ 879636 h 4077840"/>
                <a:gd name="connsiteX894" fmla="*/ 4762180 w 12084394"/>
                <a:gd name="connsiteY894" fmla="*/ 879636 h 4077840"/>
                <a:gd name="connsiteX895" fmla="*/ 4825668 w 12084394"/>
                <a:gd name="connsiteY895" fmla="*/ 943101 h 4077840"/>
                <a:gd name="connsiteX896" fmla="*/ 4762180 w 12084394"/>
                <a:gd name="connsiteY896" fmla="*/ 1006567 h 4077840"/>
                <a:gd name="connsiteX897" fmla="*/ 4698732 w 12084394"/>
                <a:gd name="connsiteY897" fmla="*/ 943101 h 4077840"/>
                <a:gd name="connsiteX898" fmla="*/ 4762180 w 12084394"/>
                <a:gd name="connsiteY898" fmla="*/ 879636 h 4077840"/>
                <a:gd name="connsiteX899" fmla="*/ 4250316 w 12084394"/>
                <a:gd name="connsiteY899" fmla="*/ 879636 h 4077840"/>
                <a:gd name="connsiteX900" fmla="*/ 4313785 w 12084394"/>
                <a:gd name="connsiteY900" fmla="*/ 943101 h 4077840"/>
                <a:gd name="connsiteX901" fmla="*/ 4250316 w 12084394"/>
                <a:gd name="connsiteY901" fmla="*/ 1006567 h 4077840"/>
                <a:gd name="connsiteX902" fmla="*/ 4186848 w 12084394"/>
                <a:gd name="connsiteY902" fmla="*/ 943101 h 4077840"/>
                <a:gd name="connsiteX903" fmla="*/ 4250316 w 12084394"/>
                <a:gd name="connsiteY903" fmla="*/ 879636 h 4077840"/>
                <a:gd name="connsiteX904" fmla="*/ 3738289 w 12084394"/>
                <a:gd name="connsiteY904" fmla="*/ 879636 h 4077840"/>
                <a:gd name="connsiteX905" fmla="*/ 3801749 w 12084394"/>
                <a:gd name="connsiteY905" fmla="*/ 943101 h 4077840"/>
                <a:gd name="connsiteX906" fmla="*/ 3738289 w 12084394"/>
                <a:gd name="connsiteY906" fmla="*/ 1006567 h 4077840"/>
                <a:gd name="connsiteX907" fmla="*/ 3674814 w 12084394"/>
                <a:gd name="connsiteY907" fmla="*/ 943101 h 4077840"/>
                <a:gd name="connsiteX908" fmla="*/ 3738289 w 12084394"/>
                <a:gd name="connsiteY908" fmla="*/ 879636 h 4077840"/>
                <a:gd name="connsiteX909" fmla="*/ 3226242 w 12084394"/>
                <a:gd name="connsiteY909" fmla="*/ 879636 h 4077840"/>
                <a:gd name="connsiteX910" fmla="*/ 3289709 w 12084394"/>
                <a:gd name="connsiteY910" fmla="*/ 943101 h 4077840"/>
                <a:gd name="connsiteX911" fmla="*/ 3226242 w 12084394"/>
                <a:gd name="connsiteY911" fmla="*/ 1006567 h 4077840"/>
                <a:gd name="connsiteX912" fmla="*/ 3162775 w 12084394"/>
                <a:gd name="connsiteY912" fmla="*/ 943101 h 4077840"/>
                <a:gd name="connsiteX913" fmla="*/ 3226242 w 12084394"/>
                <a:gd name="connsiteY913" fmla="*/ 879636 h 4077840"/>
                <a:gd name="connsiteX914" fmla="*/ 2714362 w 12084394"/>
                <a:gd name="connsiteY914" fmla="*/ 879636 h 4077840"/>
                <a:gd name="connsiteX915" fmla="*/ 2777827 w 12084394"/>
                <a:gd name="connsiteY915" fmla="*/ 943101 h 4077840"/>
                <a:gd name="connsiteX916" fmla="*/ 2714362 w 12084394"/>
                <a:gd name="connsiteY916" fmla="*/ 1006567 h 4077840"/>
                <a:gd name="connsiteX917" fmla="*/ 2650897 w 12084394"/>
                <a:gd name="connsiteY917" fmla="*/ 943101 h 4077840"/>
                <a:gd name="connsiteX918" fmla="*/ 2714362 w 12084394"/>
                <a:gd name="connsiteY918" fmla="*/ 879636 h 4077840"/>
                <a:gd name="connsiteX919" fmla="*/ 2202305 w 12084394"/>
                <a:gd name="connsiteY919" fmla="*/ 879636 h 4077840"/>
                <a:gd name="connsiteX920" fmla="*/ 2265769 w 12084394"/>
                <a:gd name="connsiteY920" fmla="*/ 943101 h 4077840"/>
                <a:gd name="connsiteX921" fmla="*/ 2202305 w 12084394"/>
                <a:gd name="connsiteY921" fmla="*/ 1006567 h 4077840"/>
                <a:gd name="connsiteX922" fmla="*/ 2138841 w 12084394"/>
                <a:gd name="connsiteY922" fmla="*/ 943101 h 4077840"/>
                <a:gd name="connsiteX923" fmla="*/ 2202305 w 12084394"/>
                <a:gd name="connsiteY923" fmla="*/ 879636 h 4077840"/>
                <a:gd name="connsiteX924" fmla="*/ 1690412 w 12084394"/>
                <a:gd name="connsiteY924" fmla="*/ 879636 h 4077840"/>
                <a:gd name="connsiteX925" fmla="*/ 1753877 w 12084394"/>
                <a:gd name="connsiteY925" fmla="*/ 943101 h 4077840"/>
                <a:gd name="connsiteX926" fmla="*/ 1690412 w 12084394"/>
                <a:gd name="connsiteY926" fmla="*/ 1006567 h 4077840"/>
                <a:gd name="connsiteX927" fmla="*/ 1626948 w 12084394"/>
                <a:gd name="connsiteY927" fmla="*/ 943101 h 4077840"/>
                <a:gd name="connsiteX928" fmla="*/ 1690412 w 12084394"/>
                <a:gd name="connsiteY928" fmla="*/ 879636 h 4077840"/>
                <a:gd name="connsiteX929" fmla="*/ 1178353 w 12084394"/>
                <a:gd name="connsiteY929" fmla="*/ 879636 h 4077840"/>
                <a:gd name="connsiteX930" fmla="*/ 1241817 w 12084394"/>
                <a:gd name="connsiteY930" fmla="*/ 943101 h 4077840"/>
                <a:gd name="connsiteX931" fmla="*/ 1178353 w 12084394"/>
                <a:gd name="connsiteY931" fmla="*/ 1006567 h 4077840"/>
                <a:gd name="connsiteX932" fmla="*/ 1114888 w 12084394"/>
                <a:gd name="connsiteY932" fmla="*/ 943101 h 4077840"/>
                <a:gd name="connsiteX933" fmla="*/ 1178353 w 12084394"/>
                <a:gd name="connsiteY933" fmla="*/ 879636 h 4077840"/>
                <a:gd name="connsiteX934" fmla="*/ 666483 w 12084394"/>
                <a:gd name="connsiteY934" fmla="*/ 879636 h 4077840"/>
                <a:gd name="connsiteX935" fmla="*/ 729947 w 12084394"/>
                <a:gd name="connsiteY935" fmla="*/ 943101 h 4077840"/>
                <a:gd name="connsiteX936" fmla="*/ 666483 w 12084394"/>
                <a:gd name="connsiteY936" fmla="*/ 1006567 h 4077840"/>
                <a:gd name="connsiteX937" fmla="*/ 603018 w 12084394"/>
                <a:gd name="connsiteY937" fmla="*/ 943101 h 4077840"/>
                <a:gd name="connsiteX938" fmla="*/ 666483 w 12084394"/>
                <a:gd name="connsiteY938" fmla="*/ 879636 h 4077840"/>
                <a:gd name="connsiteX939" fmla="*/ 154424 w 12084394"/>
                <a:gd name="connsiteY939" fmla="*/ 879636 h 4077840"/>
                <a:gd name="connsiteX940" fmla="*/ 217889 w 12084394"/>
                <a:gd name="connsiteY940" fmla="*/ 943101 h 4077840"/>
                <a:gd name="connsiteX941" fmla="*/ 154424 w 12084394"/>
                <a:gd name="connsiteY941" fmla="*/ 1006567 h 4077840"/>
                <a:gd name="connsiteX942" fmla="*/ 90960 w 12084394"/>
                <a:gd name="connsiteY942" fmla="*/ 943101 h 4077840"/>
                <a:gd name="connsiteX943" fmla="*/ 154424 w 12084394"/>
                <a:gd name="connsiteY943" fmla="*/ 879636 h 4077840"/>
                <a:gd name="connsiteX944" fmla="*/ 9370014 w 12084394"/>
                <a:gd name="connsiteY944" fmla="*/ 879635 h 4077840"/>
                <a:gd name="connsiteX945" fmla="*/ 9433479 w 12084394"/>
                <a:gd name="connsiteY945" fmla="*/ 943100 h 4077840"/>
                <a:gd name="connsiteX946" fmla="*/ 9370014 w 12084394"/>
                <a:gd name="connsiteY946" fmla="*/ 1006566 h 4077840"/>
                <a:gd name="connsiteX947" fmla="*/ 9306549 w 12084394"/>
                <a:gd name="connsiteY947" fmla="*/ 943100 h 4077840"/>
                <a:gd name="connsiteX948" fmla="*/ 9370014 w 12084394"/>
                <a:gd name="connsiteY948" fmla="*/ 879635 h 4077840"/>
                <a:gd name="connsiteX949" fmla="*/ 8857948 w 12084394"/>
                <a:gd name="connsiteY949" fmla="*/ 879635 h 4077840"/>
                <a:gd name="connsiteX950" fmla="*/ 8921412 w 12084394"/>
                <a:gd name="connsiteY950" fmla="*/ 943100 h 4077840"/>
                <a:gd name="connsiteX951" fmla="*/ 8857948 w 12084394"/>
                <a:gd name="connsiteY951" fmla="*/ 1006566 h 4077840"/>
                <a:gd name="connsiteX952" fmla="*/ 8794482 w 12084394"/>
                <a:gd name="connsiteY952" fmla="*/ 943100 h 4077840"/>
                <a:gd name="connsiteX953" fmla="*/ 8857948 w 12084394"/>
                <a:gd name="connsiteY953" fmla="*/ 879635 h 4077840"/>
                <a:gd name="connsiteX954" fmla="*/ 8346071 w 12084394"/>
                <a:gd name="connsiteY954" fmla="*/ 879635 h 4077840"/>
                <a:gd name="connsiteX955" fmla="*/ 8409535 w 12084394"/>
                <a:gd name="connsiteY955" fmla="*/ 943100 h 4077840"/>
                <a:gd name="connsiteX956" fmla="*/ 8346071 w 12084394"/>
                <a:gd name="connsiteY956" fmla="*/ 1006566 h 4077840"/>
                <a:gd name="connsiteX957" fmla="*/ 8282605 w 12084394"/>
                <a:gd name="connsiteY957" fmla="*/ 943100 h 4077840"/>
                <a:gd name="connsiteX958" fmla="*/ 8346071 w 12084394"/>
                <a:gd name="connsiteY958" fmla="*/ 879635 h 4077840"/>
                <a:gd name="connsiteX959" fmla="*/ 7834005 w 12084394"/>
                <a:gd name="connsiteY959" fmla="*/ 879635 h 4077840"/>
                <a:gd name="connsiteX960" fmla="*/ 7897470 w 12084394"/>
                <a:gd name="connsiteY960" fmla="*/ 943100 h 4077840"/>
                <a:gd name="connsiteX961" fmla="*/ 7834005 w 12084394"/>
                <a:gd name="connsiteY961" fmla="*/ 1006566 h 4077840"/>
                <a:gd name="connsiteX962" fmla="*/ 7770540 w 12084394"/>
                <a:gd name="connsiteY962" fmla="*/ 943100 h 4077840"/>
                <a:gd name="connsiteX963" fmla="*/ 7834005 w 12084394"/>
                <a:gd name="connsiteY963" fmla="*/ 879635 h 4077840"/>
                <a:gd name="connsiteX964" fmla="*/ 7322128 w 12084394"/>
                <a:gd name="connsiteY964" fmla="*/ 879635 h 4077840"/>
                <a:gd name="connsiteX965" fmla="*/ 7385592 w 12084394"/>
                <a:gd name="connsiteY965" fmla="*/ 943100 h 4077840"/>
                <a:gd name="connsiteX966" fmla="*/ 7322128 w 12084394"/>
                <a:gd name="connsiteY966" fmla="*/ 1006566 h 4077840"/>
                <a:gd name="connsiteX967" fmla="*/ 7258662 w 12084394"/>
                <a:gd name="connsiteY967" fmla="*/ 943100 h 4077840"/>
                <a:gd name="connsiteX968" fmla="*/ 7322128 w 12084394"/>
                <a:gd name="connsiteY968" fmla="*/ 879635 h 4077840"/>
                <a:gd name="connsiteX969" fmla="*/ 6810062 w 12084394"/>
                <a:gd name="connsiteY969" fmla="*/ 879635 h 4077840"/>
                <a:gd name="connsiteX970" fmla="*/ 6873527 w 12084394"/>
                <a:gd name="connsiteY970" fmla="*/ 943100 h 4077840"/>
                <a:gd name="connsiteX971" fmla="*/ 6810062 w 12084394"/>
                <a:gd name="connsiteY971" fmla="*/ 1006566 h 4077840"/>
                <a:gd name="connsiteX972" fmla="*/ 6746597 w 12084394"/>
                <a:gd name="connsiteY972" fmla="*/ 943100 h 4077840"/>
                <a:gd name="connsiteX973" fmla="*/ 6810062 w 12084394"/>
                <a:gd name="connsiteY973" fmla="*/ 879635 h 4077840"/>
                <a:gd name="connsiteX974" fmla="*/ 6298186 w 12084394"/>
                <a:gd name="connsiteY974" fmla="*/ 879635 h 4077840"/>
                <a:gd name="connsiteX975" fmla="*/ 6361650 w 12084394"/>
                <a:gd name="connsiteY975" fmla="*/ 943100 h 4077840"/>
                <a:gd name="connsiteX976" fmla="*/ 6298186 w 12084394"/>
                <a:gd name="connsiteY976" fmla="*/ 1006566 h 4077840"/>
                <a:gd name="connsiteX977" fmla="*/ 6234720 w 12084394"/>
                <a:gd name="connsiteY977" fmla="*/ 943100 h 4077840"/>
                <a:gd name="connsiteX978" fmla="*/ 6298186 w 12084394"/>
                <a:gd name="connsiteY978" fmla="*/ 879635 h 4077840"/>
                <a:gd name="connsiteX979" fmla="*/ 5786126 w 12084394"/>
                <a:gd name="connsiteY979" fmla="*/ 879635 h 4077840"/>
                <a:gd name="connsiteX980" fmla="*/ 5849588 w 12084394"/>
                <a:gd name="connsiteY980" fmla="*/ 943100 h 4077840"/>
                <a:gd name="connsiteX981" fmla="*/ 5786126 w 12084394"/>
                <a:gd name="connsiteY981" fmla="*/ 1006566 h 4077840"/>
                <a:gd name="connsiteX982" fmla="*/ 5722663 w 12084394"/>
                <a:gd name="connsiteY982" fmla="*/ 943100 h 4077840"/>
                <a:gd name="connsiteX983" fmla="*/ 5786126 w 12084394"/>
                <a:gd name="connsiteY983" fmla="*/ 879635 h 4077840"/>
                <a:gd name="connsiteX984" fmla="*/ 11417900 w 12084394"/>
                <a:gd name="connsiteY984" fmla="*/ 439913 h 4077840"/>
                <a:gd name="connsiteX985" fmla="*/ 11467010 w 12084394"/>
                <a:gd name="connsiteY985" fmla="*/ 489022 h 4077840"/>
                <a:gd name="connsiteX986" fmla="*/ 11417900 w 12084394"/>
                <a:gd name="connsiteY986" fmla="*/ 538132 h 4077840"/>
                <a:gd name="connsiteX987" fmla="*/ 11368791 w 12084394"/>
                <a:gd name="connsiteY987" fmla="*/ 489022 h 4077840"/>
                <a:gd name="connsiteX988" fmla="*/ 11417900 w 12084394"/>
                <a:gd name="connsiteY988" fmla="*/ 439913 h 4077840"/>
                <a:gd name="connsiteX989" fmla="*/ 10906024 w 12084394"/>
                <a:gd name="connsiteY989" fmla="*/ 439913 h 4077840"/>
                <a:gd name="connsiteX990" fmla="*/ 10955133 w 12084394"/>
                <a:gd name="connsiteY990" fmla="*/ 489022 h 4077840"/>
                <a:gd name="connsiteX991" fmla="*/ 10906024 w 12084394"/>
                <a:gd name="connsiteY991" fmla="*/ 538132 h 4077840"/>
                <a:gd name="connsiteX992" fmla="*/ 10856914 w 12084394"/>
                <a:gd name="connsiteY992" fmla="*/ 489022 h 4077840"/>
                <a:gd name="connsiteX993" fmla="*/ 10906024 w 12084394"/>
                <a:gd name="connsiteY993" fmla="*/ 439913 h 4077840"/>
                <a:gd name="connsiteX994" fmla="*/ 10393958 w 12084394"/>
                <a:gd name="connsiteY994" fmla="*/ 439913 h 4077840"/>
                <a:gd name="connsiteX995" fmla="*/ 10443067 w 12084394"/>
                <a:gd name="connsiteY995" fmla="*/ 489022 h 4077840"/>
                <a:gd name="connsiteX996" fmla="*/ 10393958 w 12084394"/>
                <a:gd name="connsiteY996" fmla="*/ 538132 h 4077840"/>
                <a:gd name="connsiteX997" fmla="*/ 10344848 w 12084394"/>
                <a:gd name="connsiteY997" fmla="*/ 489022 h 4077840"/>
                <a:gd name="connsiteX998" fmla="*/ 10393958 w 12084394"/>
                <a:gd name="connsiteY998" fmla="*/ 439913 h 4077840"/>
                <a:gd name="connsiteX999" fmla="*/ 9882080 w 12084394"/>
                <a:gd name="connsiteY999" fmla="*/ 439913 h 4077840"/>
                <a:gd name="connsiteX1000" fmla="*/ 9931190 w 12084394"/>
                <a:gd name="connsiteY1000" fmla="*/ 489022 h 4077840"/>
                <a:gd name="connsiteX1001" fmla="*/ 9882080 w 12084394"/>
                <a:gd name="connsiteY1001" fmla="*/ 538132 h 4077840"/>
                <a:gd name="connsiteX1002" fmla="*/ 9832971 w 12084394"/>
                <a:gd name="connsiteY1002" fmla="*/ 489022 h 4077840"/>
                <a:gd name="connsiteX1003" fmla="*/ 9882080 w 12084394"/>
                <a:gd name="connsiteY1003" fmla="*/ 439913 h 4077840"/>
                <a:gd name="connsiteX1004" fmla="*/ 9370013 w 12084394"/>
                <a:gd name="connsiteY1004" fmla="*/ 439913 h 4077840"/>
                <a:gd name="connsiteX1005" fmla="*/ 9419123 w 12084394"/>
                <a:gd name="connsiteY1005" fmla="*/ 489022 h 4077840"/>
                <a:gd name="connsiteX1006" fmla="*/ 9370013 w 12084394"/>
                <a:gd name="connsiteY1006" fmla="*/ 538132 h 4077840"/>
                <a:gd name="connsiteX1007" fmla="*/ 9320903 w 12084394"/>
                <a:gd name="connsiteY1007" fmla="*/ 489022 h 4077840"/>
                <a:gd name="connsiteX1008" fmla="*/ 9370013 w 12084394"/>
                <a:gd name="connsiteY1008" fmla="*/ 439913 h 4077840"/>
                <a:gd name="connsiteX1009" fmla="*/ 8858137 w 12084394"/>
                <a:gd name="connsiteY1009" fmla="*/ 439913 h 4077840"/>
                <a:gd name="connsiteX1010" fmla="*/ 8907247 w 12084394"/>
                <a:gd name="connsiteY1010" fmla="*/ 489022 h 4077840"/>
                <a:gd name="connsiteX1011" fmla="*/ 8858137 w 12084394"/>
                <a:gd name="connsiteY1011" fmla="*/ 538132 h 4077840"/>
                <a:gd name="connsiteX1012" fmla="*/ 8809027 w 12084394"/>
                <a:gd name="connsiteY1012" fmla="*/ 489022 h 4077840"/>
                <a:gd name="connsiteX1013" fmla="*/ 8858137 w 12084394"/>
                <a:gd name="connsiteY1013" fmla="*/ 439913 h 4077840"/>
                <a:gd name="connsiteX1014" fmla="*/ 8346071 w 12084394"/>
                <a:gd name="connsiteY1014" fmla="*/ 439913 h 4077840"/>
                <a:gd name="connsiteX1015" fmla="*/ 8395181 w 12084394"/>
                <a:gd name="connsiteY1015" fmla="*/ 489022 h 4077840"/>
                <a:gd name="connsiteX1016" fmla="*/ 8346071 w 12084394"/>
                <a:gd name="connsiteY1016" fmla="*/ 538132 h 4077840"/>
                <a:gd name="connsiteX1017" fmla="*/ 8296961 w 12084394"/>
                <a:gd name="connsiteY1017" fmla="*/ 489022 h 4077840"/>
                <a:gd name="connsiteX1018" fmla="*/ 8346071 w 12084394"/>
                <a:gd name="connsiteY1018" fmla="*/ 439913 h 4077840"/>
                <a:gd name="connsiteX1019" fmla="*/ 7834193 w 12084394"/>
                <a:gd name="connsiteY1019" fmla="*/ 439913 h 4077840"/>
                <a:gd name="connsiteX1020" fmla="*/ 7883303 w 12084394"/>
                <a:gd name="connsiteY1020" fmla="*/ 489022 h 4077840"/>
                <a:gd name="connsiteX1021" fmla="*/ 7834193 w 12084394"/>
                <a:gd name="connsiteY1021" fmla="*/ 538132 h 4077840"/>
                <a:gd name="connsiteX1022" fmla="*/ 7785083 w 12084394"/>
                <a:gd name="connsiteY1022" fmla="*/ 489022 h 4077840"/>
                <a:gd name="connsiteX1023" fmla="*/ 7834193 w 12084394"/>
                <a:gd name="connsiteY1023" fmla="*/ 439913 h 4077840"/>
                <a:gd name="connsiteX1024" fmla="*/ 7322128 w 12084394"/>
                <a:gd name="connsiteY1024" fmla="*/ 439913 h 4077840"/>
                <a:gd name="connsiteX1025" fmla="*/ 7371238 w 12084394"/>
                <a:gd name="connsiteY1025" fmla="*/ 489022 h 4077840"/>
                <a:gd name="connsiteX1026" fmla="*/ 7322128 w 12084394"/>
                <a:gd name="connsiteY1026" fmla="*/ 538132 h 4077840"/>
                <a:gd name="connsiteX1027" fmla="*/ 7273018 w 12084394"/>
                <a:gd name="connsiteY1027" fmla="*/ 489022 h 4077840"/>
                <a:gd name="connsiteX1028" fmla="*/ 7322128 w 12084394"/>
                <a:gd name="connsiteY1028" fmla="*/ 439913 h 4077840"/>
                <a:gd name="connsiteX1029" fmla="*/ 6810251 w 12084394"/>
                <a:gd name="connsiteY1029" fmla="*/ 439913 h 4077840"/>
                <a:gd name="connsiteX1030" fmla="*/ 6859361 w 12084394"/>
                <a:gd name="connsiteY1030" fmla="*/ 489022 h 4077840"/>
                <a:gd name="connsiteX1031" fmla="*/ 6810251 w 12084394"/>
                <a:gd name="connsiteY1031" fmla="*/ 538132 h 4077840"/>
                <a:gd name="connsiteX1032" fmla="*/ 6761141 w 12084394"/>
                <a:gd name="connsiteY1032" fmla="*/ 489022 h 4077840"/>
                <a:gd name="connsiteX1033" fmla="*/ 6810251 w 12084394"/>
                <a:gd name="connsiteY1033" fmla="*/ 439913 h 4077840"/>
                <a:gd name="connsiteX1034" fmla="*/ 6298184 w 12084394"/>
                <a:gd name="connsiteY1034" fmla="*/ 439913 h 4077840"/>
                <a:gd name="connsiteX1035" fmla="*/ 6347295 w 12084394"/>
                <a:gd name="connsiteY1035" fmla="*/ 489022 h 4077840"/>
                <a:gd name="connsiteX1036" fmla="*/ 6298184 w 12084394"/>
                <a:gd name="connsiteY1036" fmla="*/ 538132 h 4077840"/>
                <a:gd name="connsiteX1037" fmla="*/ 6249074 w 12084394"/>
                <a:gd name="connsiteY1037" fmla="*/ 489022 h 4077840"/>
                <a:gd name="connsiteX1038" fmla="*/ 6298184 w 12084394"/>
                <a:gd name="connsiteY1038" fmla="*/ 439913 h 4077840"/>
                <a:gd name="connsiteX1039" fmla="*/ 5786315 w 12084394"/>
                <a:gd name="connsiteY1039" fmla="*/ 439913 h 4077840"/>
                <a:gd name="connsiteX1040" fmla="*/ 5835423 w 12084394"/>
                <a:gd name="connsiteY1040" fmla="*/ 489022 h 4077840"/>
                <a:gd name="connsiteX1041" fmla="*/ 5786315 w 12084394"/>
                <a:gd name="connsiteY1041" fmla="*/ 538132 h 4077840"/>
                <a:gd name="connsiteX1042" fmla="*/ 5737207 w 12084394"/>
                <a:gd name="connsiteY1042" fmla="*/ 489022 h 4077840"/>
                <a:gd name="connsiteX1043" fmla="*/ 5786315 w 12084394"/>
                <a:gd name="connsiteY1043" fmla="*/ 439913 h 4077840"/>
                <a:gd name="connsiteX1044" fmla="*/ 5274270 w 12084394"/>
                <a:gd name="connsiteY1044" fmla="*/ 439913 h 4077840"/>
                <a:gd name="connsiteX1045" fmla="*/ 5323380 w 12084394"/>
                <a:gd name="connsiteY1045" fmla="*/ 489022 h 4077840"/>
                <a:gd name="connsiteX1046" fmla="*/ 5274270 w 12084394"/>
                <a:gd name="connsiteY1046" fmla="*/ 538132 h 4077840"/>
                <a:gd name="connsiteX1047" fmla="*/ 5225158 w 12084394"/>
                <a:gd name="connsiteY1047" fmla="*/ 489022 h 4077840"/>
                <a:gd name="connsiteX1048" fmla="*/ 5274270 w 12084394"/>
                <a:gd name="connsiteY1048" fmla="*/ 439913 h 4077840"/>
                <a:gd name="connsiteX1049" fmla="*/ 4762180 w 12084394"/>
                <a:gd name="connsiteY1049" fmla="*/ 439913 h 4077840"/>
                <a:gd name="connsiteX1050" fmla="*/ 4811308 w 12084394"/>
                <a:gd name="connsiteY1050" fmla="*/ 489022 h 4077840"/>
                <a:gd name="connsiteX1051" fmla="*/ 4762180 w 12084394"/>
                <a:gd name="connsiteY1051" fmla="*/ 538132 h 4077840"/>
                <a:gd name="connsiteX1052" fmla="*/ 4713081 w 12084394"/>
                <a:gd name="connsiteY1052" fmla="*/ 489022 h 4077840"/>
                <a:gd name="connsiteX1053" fmla="*/ 4762180 w 12084394"/>
                <a:gd name="connsiteY1053" fmla="*/ 439913 h 4077840"/>
                <a:gd name="connsiteX1054" fmla="*/ 4250316 w 12084394"/>
                <a:gd name="connsiteY1054" fmla="*/ 439913 h 4077840"/>
                <a:gd name="connsiteX1055" fmla="*/ 4299428 w 12084394"/>
                <a:gd name="connsiteY1055" fmla="*/ 489022 h 4077840"/>
                <a:gd name="connsiteX1056" fmla="*/ 4250316 w 12084394"/>
                <a:gd name="connsiteY1056" fmla="*/ 538132 h 4077840"/>
                <a:gd name="connsiteX1057" fmla="*/ 4201204 w 12084394"/>
                <a:gd name="connsiteY1057" fmla="*/ 489022 h 4077840"/>
                <a:gd name="connsiteX1058" fmla="*/ 4250316 w 12084394"/>
                <a:gd name="connsiteY1058" fmla="*/ 439913 h 4077840"/>
                <a:gd name="connsiteX1059" fmla="*/ 3738287 w 12084394"/>
                <a:gd name="connsiteY1059" fmla="*/ 439913 h 4077840"/>
                <a:gd name="connsiteX1060" fmla="*/ 3787395 w 12084394"/>
                <a:gd name="connsiteY1060" fmla="*/ 489022 h 4077840"/>
                <a:gd name="connsiteX1061" fmla="*/ 3738287 w 12084394"/>
                <a:gd name="connsiteY1061" fmla="*/ 538132 h 4077840"/>
                <a:gd name="connsiteX1062" fmla="*/ 3689172 w 12084394"/>
                <a:gd name="connsiteY1062" fmla="*/ 489022 h 4077840"/>
                <a:gd name="connsiteX1063" fmla="*/ 3738287 w 12084394"/>
                <a:gd name="connsiteY1063" fmla="*/ 439913 h 4077840"/>
                <a:gd name="connsiteX1064" fmla="*/ 3226241 w 12084394"/>
                <a:gd name="connsiteY1064" fmla="*/ 439913 h 4077840"/>
                <a:gd name="connsiteX1065" fmla="*/ 3275356 w 12084394"/>
                <a:gd name="connsiteY1065" fmla="*/ 489022 h 4077840"/>
                <a:gd name="connsiteX1066" fmla="*/ 3226241 w 12084394"/>
                <a:gd name="connsiteY1066" fmla="*/ 538132 h 4077840"/>
                <a:gd name="connsiteX1067" fmla="*/ 3177127 w 12084394"/>
                <a:gd name="connsiteY1067" fmla="*/ 489022 h 4077840"/>
                <a:gd name="connsiteX1068" fmla="*/ 3226241 w 12084394"/>
                <a:gd name="connsiteY1068" fmla="*/ 439913 h 4077840"/>
                <a:gd name="connsiteX1069" fmla="*/ 2714361 w 12084394"/>
                <a:gd name="connsiteY1069" fmla="*/ 439913 h 4077840"/>
                <a:gd name="connsiteX1070" fmla="*/ 2763472 w 12084394"/>
                <a:gd name="connsiteY1070" fmla="*/ 489022 h 4077840"/>
                <a:gd name="connsiteX1071" fmla="*/ 2714361 w 12084394"/>
                <a:gd name="connsiteY1071" fmla="*/ 538132 h 4077840"/>
                <a:gd name="connsiteX1072" fmla="*/ 2665250 w 12084394"/>
                <a:gd name="connsiteY1072" fmla="*/ 489022 h 4077840"/>
                <a:gd name="connsiteX1073" fmla="*/ 2714361 w 12084394"/>
                <a:gd name="connsiteY1073" fmla="*/ 439913 h 4077840"/>
                <a:gd name="connsiteX1074" fmla="*/ 2202305 w 12084394"/>
                <a:gd name="connsiteY1074" fmla="*/ 439913 h 4077840"/>
                <a:gd name="connsiteX1075" fmla="*/ 2251415 w 12084394"/>
                <a:gd name="connsiteY1075" fmla="*/ 489022 h 4077840"/>
                <a:gd name="connsiteX1076" fmla="*/ 2202305 w 12084394"/>
                <a:gd name="connsiteY1076" fmla="*/ 538132 h 4077840"/>
                <a:gd name="connsiteX1077" fmla="*/ 2153195 w 12084394"/>
                <a:gd name="connsiteY1077" fmla="*/ 489022 h 4077840"/>
                <a:gd name="connsiteX1078" fmla="*/ 2202305 w 12084394"/>
                <a:gd name="connsiteY1078" fmla="*/ 439913 h 4077840"/>
                <a:gd name="connsiteX1079" fmla="*/ 1690412 w 12084394"/>
                <a:gd name="connsiteY1079" fmla="*/ 439913 h 4077840"/>
                <a:gd name="connsiteX1080" fmla="*/ 1739522 w 12084394"/>
                <a:gd name="connsiteY1080" fmla="*/ 489022 h 4077840"/>
                <a:gd name="connsiteX1081" fmla="*/ 1690412 w 12084394"/>
                <a:gd name="connsiteY1081" fmla="*/ 538132 h 4077840"/>
                <a:gd name="connsiteX1082" fmla="*/ 1641302 w 12084394"/>
                <a:gd name="connsiteY1082" fmla="*/ 489022 h 4077840"/>
                <a:gd name="connsiteX1083" fmla="*/ 1690412 w 12084394"/>
                <a:gd name="connsiteY1083" fmla="*/ 439913 h 4077840"/>
                <a:gd name="connsiteX1084" fmla="*/ 1178353 w 12084394"/>
                <a:gd name="connsiteY1084" fmla="*/ 439913 h 4077840"/>
                <a:gd name="connsiteX1085" fmla="*/ 1227462 w 12084394"/>
                <a:gd name="connsiteY1085" fmla="*/ 489022 h 4077840"/>
                <a:gd name="connsiteX1086" fmla="*/ 1178353 w 12084394"/>
                <a:gd name="connsiteY1086" fmla="*/ 538132 h 4077840"/>
                <a:gd name="connsiteX1087" fmla="*/ 1129243 w 12084394"/>
                <a:gd name="connsiteY1087" fmla="*/ 489022 h 4077840"/>
                <a:gd name="connsiteX1088" fmla="*/ 1178353 w 12084394"/>
                <a:gd name="connsiteY1088" fmla="*/ 439913 h 4077840"/>
                <a:gd name="connsiteX1089" fmla="*/ 666483 w 12084394"/>
                <a:gd name="connsiteY1089" fmla="*/ 439913 h 4077840"/>
                <a:gd name="connsiteX1090" fmla="*/ 715592 w 12084394"/>
                <a:gd name="connsiteY1090" fmla="*/ 489022 h 4077840"/>
                <a:gd name="connsiteX1091" fmla="*/ 666483 w 12084394"/>
                <a:gd name="connsiteY1091" fmla="*/ 538132 h 4077840"/>
                <a:gd name="connsiteX1092" fmla="*/ 617373 w 12084394"/>
                <a:gd name="connsiteY1092" fmla="*/ 489022 h 4077840"/>
                <a:gd name="connsiteX1093" fmla="*/ 666483 w 12084394"/>
                <a:gd name="connsiteY1093" fmla="*/ 439913 h 4077840"/>
                <a:gd name="connsiteX1094" fmla="*/ 154424 w 12084394"/>
                <a:gd name="connsiteY1094" fmla="*/ 439913 h 4077840"/>
                <a:gd name="connsiteX1095" fmla="*/ 203534 w 12084394"/>
                <a:gd name="connsiteY1095" fmla="*/ 489022 h 4077840"/>
                <a:gd name="connsiteX1096" fmla="*/ 154424 w 12084394"/>
                <a:gd name="connsiteY1096" fmla="*/ 538132 h 4077840"/>
                <a:gd name="connsiteX1097" fmla="*/ 105315 w 12084394"/>
                <a:gd name="connsiteY1097" fmla="*/ 489022 h 4077840"/>
                <a:gd name="connsiteX1098" fmla="*/ 154424 w 12084394"/>
                <a:gd name="connsiteY1098" fmla="*/ 439913 h 4077840"/>
                <a:gd name="connsiteX1099" fmla="*/ 11929966 w 12084394"/>
                <a:gd name="connsiteY1099" fmla="*/ 439912 h 4077840"/>
                <a:gd name="connsiteX1100" fmla="*/ 11979075 w 12084394"/>
                <a:gd name="connsiteY1100" fmla="*/ 489022 h 4077840"/>
                <a:gd name="connsiteX1101" fmla="*/ 11929966 w 12084394"/>
                <a:gd name="connsiteY1101" fmla="*/ 538132 h 4077840"/>
                <a:gd name="connsiteX1102" fmla="*/ 11880856 w 12084394"/>
                <a:gd name="connsiteY1102" fmla="*/ 489022 h 4077840"/>
                <a:gd name="connsiteX1103" fmla="*/ 11929966 w 12084394"/>
                <a:gd name="connsiteY1103" fmla="*/ 439912 h 4077840"/>
                <a:gd name="connsiteX1104" fmla="*/ 11929965 w 12084394"/>
                <a:gd name="connsiteY1104" fmla="*/ 0 h 4077840"/>
                <a:gd name="connsiteX1105" fmla="*/ 11964908 w 12084394"/>
                <a:gd name="connsiteY1105" fmla="*/ 34944 h 4077840"/>
                <a:gd name="connsiteX1106" fmla="*/ 11929965 w 12084394"/>
                <a:gd name="connsiteY1106" fmla="*/ 69887 h 4077840"/>
                <a:gd name="connsiteX1107" fmla="*/ 11895022 w 12084394"/>
                <a:gd name="connsiteY1107" fmla="*/ 34944 h 4077840"/>
                <a:gd name="connsiteX1108" fmla="*/ 11929965 w 12084394"/>
                <a:gd name="connsiteY1108" fmla="*/ 0 h 4077840"/>
                <a:gd name="connsiteX1109" fmla="*/ 11417900 w 12084394"/>
                <a:gd name="connsiteY1109" fmla="*/ 0 h 4077840"/>
                <a:gd name="connsiteX1110" fmla="*/ 11452843 w 12084394"/>
                <a:gd name="connsiteY1110" fmla="*/ 34944 h 4077840"/>
                <a:gd name="connsiteX1111" fmla="*/ 11417900 w 12084394"/>
                <a:gd name="connsiteY1111" fmla="*/ 69887 h 4077840"/>
                <a:gd name="connsiteX1112" fmla="*/ 11382957 w 12084394"/>
                <a:gd name="connsiteY1112" fmla="*/ 34944 h 4077840"/>
                <a:gd name="connsiteX1113" fmla="*/ 11417900 w 12084394"/>
                <a:gd name="connsiteY1113" fmla="*/ 0 h 4077840"/>
                <a:gd name="connsiteX1114" fmla="*/ 10906023 w 12084394"/>
                <a:gd name="connsiteY1114" fmla="*/ 0 h 4077840"/>
                <a:gd name="connsiteX1115" fmla="*/ 10940966 w 12084394"/>
                <a:gd name="connsiteY1115" fmla="*/ 34944 h 4077840"/>
                <a:gd name="connsiteX1116" fmla="*/ 10906023 w 12084394"/>
                <a:gd name="connsiteY1116" fmla="*/ 69887 h 4077840"/>
                <a:gd name="connsiteX1117" fmla="*/ 10871080 w 12084394"/>
                <a:gd name="connsiteY1117" fmla="*/ 34944 h 4077840"/>
                <a:gd name="connsiteX1118" fmla="*/ 10906023 w 12084394"/>
                <a:gd name="connsiteY1118" fmla="*/ 0 h 4077840"/>
                <a:gd name="connsiteX1119" fmla="*/ 10393958 w 12084394"/>
                <a:gd name="connsiteY1119" fmla="*/ 0 h 4077840"/>
                <a:gd name="connsiteX1120" fmla="*/ 10428901 w 12084394"/>
                <a:gd name="connsiteY1120" fmla="*/ 34944 h 4077840"/>
                <a:gd name="connsiteX1121" fmla="*/ 10393958 w 12084394"/>
                <a:gd name="connsiteY1121" fmla="*/ 69887 h 4077840"/>
                <a:gd name="connsiteX1122" fmla="*/ 10359014 w 12084394"/>
                <a:gd name="connsiteY1122" fmla="*/ 34944 h 4077840"/>
                <a:gd name="connsiteX1123" fmla="*/ 10393958 w 12084394"/>
                <a:gd name="connsiteY1123" fmla="*/ 0 h 4077840"/>
                <a:gd name="connsiteX1124" fmla="*/ 9882080 w 12084394"/>
                <a:gd name="connsiteY1124" fmla="*/ 0 h 4077840"/>
                <a:gd name="connsiteX1125" fmla="*/ 9917023 w 12084394"/>
                <a:gd name="connsiteY1125" fmla="*/ 34944 h 4077840"/>
                <a:gd name="connsiteX1126" fmla="*/ 9882080 w 12084394"/>
                <a:gd name="connsiteY1126" fmla="*/ 69887 h 4077840"/>
                <a:gd name="connsiteX1127" fmla="*/ 9847137 w 12084394"/>
                <a:gd name="connsiteY1127" fmla="*/ 34944 h 4077840"/>
                <a:gd name="connsiteX1128" fmla="*/ 9882080 w 12084394"/>
                <a:gd name="connsiteY1128" fmla="*/ 0 h 4077840"/>
                <a:gd name="connsiteX1129" fmla="*/ 9370014 w 12084394"/>
                <a:gd name="connsiteY1129" fmla="*/ 0 h 4077840"/>
                <a:gd name="connsiteX1130" fmla="*/ 9404958 w 12084394"/>
                <a:gd name="connsiteY1130" fmla="*/ 34944 h 4077840"/>
                <a:gd name="connsiteX1131" fmla="*/ 9370014 w 12084394"/>
                <a:gd name="connsiteY1131" fmla="*/ 69887 h 4077840"/>
                <a:gd name="connsiteX1132" fmla="*/ 9335070 w 12084394"/>
                <a:gd name="connsiteY1132" fmla="*/ 34944 h 4077840"/>
                <a:gd name="connsiteX1133" fmla="*/ 9370014 w 12084394"/>
                <a:gd name="connsiteY1133" fmla="*/ 0 h 4077840"/>
                <a:gd name="connsiteX1134" fmla="*/ 8857948 w 12084394"/>
                <a:gd name="connsiteY1134" fmla="*/ 0 h 4077840"/>
                <a:gd name="connsiteX1135" fmla="*/ 8892891 w 12084394"/>
                <a:gd name="connsiteY1135" fmla="*/ 34944 h 4077840"/>
                <a:gd name="connsiteX1136" fmla="*/ 8857948 w 12084394"/>
                <a:gd name="connsiteY1136" fmla="*/ 69887 h 4077840"/>
                <a:gd name="connsiteX1137" fmla="*/ 8823004 w 12084394"/>
                <a:gd name="connsiteY1137" fmla="*/ 34944 h 4077840"/>
                <a:gd name="connsiteX1138" fmla="*/ 8857948 w 12084394"/>
                <a:gd name="connsiteY1138" fmla="*/ 0 h 4077840"/>
                <a:gd name="connsiteX1139" fmla="*/ 8346071 w 12084394"/>
                <a:gd name="connsiteY1139" fmla="*/ 0 h 4077840"/>
                <a:gd name="connsiteX1140" fmla="*/ 8381015 w 12084394"/>
                <a:gd name="connsiteY1140" fmla="*/ 34944 h 4077840"/>
                <a:gd name="connsiteX1141" fmla="*/ 8346071 w 12084394"/>
                <a:gd name="connsiteY1141" fmla="*/ 69887 h 4077840"/>
                <a:gd name="connsiteX1142" fmla="*/ 8311127 w 12084394"/>
                <a:gd name="connsiteY1142" fmla="*/ 34944 h 4077840"/>
                <a:gd name="connsiteX1143" fmla="*/ 8346071 w 12084394"/>
                <a:gd name="connsiteY1143" fmla="*/ 0 h 4077840"/>
                <a:gd name="connsiteX1144" fmla="*/ 7834004 w 12084394"/>
                <a:gd name="connsiteY1144" fmla="*/ 0 h 4077840"/>
                <a:gd name="connsiteX1145" fmla="*/ 7868948 w 12084394"/>
                <a:gd name="connsiteY1145" fmla="*/ 34944 h 4077840"/>
                <a:gd name="connsiteX1146" fmla="*/ 7834004 w 12084394"/>
                <a:gd name="connsiteY1146" fmla="*/ 69887 h 4077840"/>
                <a:gd name="connsiteX1147" fmla="*/ 7799061 w 12084394"/>
                <a:gd name="connsiteY1147" fmla="*/ 34944 h 4077840"/>
                <a:gd name="connsiteX1148" fmla="*/ 7834004 w 12084394"/>
                <a:gd name="connsiteY1148" fmla="*/ 0 h 4077840"/>
                <a:gd name="connsiteX1149" fmla="*/ 7322128 w 12084394"/>
                <a:gd name="connsiteY1149" fmla="*/ 0 h 4077840"/>
                <a:gd name="connsiteX1150" fmla="*/ 7357071 w 12084394"/>
                <a:gd name="connsiteY1150" fmla="*/ 34944 h 4077840"/>
                <a:gd name="connsiteX1151" fmla="*/ 7322128 w 12084394"/>
                <a:gd name="connsiteY1151" fmla="*/ 69887 h 4077840"/>
                <a:gd name="connsiteX1152" fmla="*/ 7287184 w 12084394"/>
                <a:gd name="connsiteY1152" fmla="*/ 34944 h 4077840"/>
                <a:gd name="connsiteX1153" fmla="*/ 7322128 w 12084394"/>
                <a:gd name="connsiteY1153" fmla="*/ 0 h 4077840"/>
                <a:gd name="connsiteX1154" fmla="*/ 6810062 w 12084394"/>
                <a:gd name="connsiteY1154" fmla="*/ 0 h 4077840"/>
                <a:gd name="connsiteX1155" fmla="*/ 6845006 w 12084394"/>
                <a:gd name="connsiteY1155" fmla="*/ 34944 h 4077840"/>
                <a:gd name="connsiteX1156" fmla="*/ 6810062 w 12084394"/>
                <a:gd name="connsiteY1156" fmla="*/ 69887 h 4077840"/>
                <a:gd name="connsiteX1157" fmla="*/ 6775118 w 12084394"/>
                <a:gd name="connsiteY1157" fmla="*/ 34944 h 4077840"/>
                <a:gd name="connsiteX1158" fmla="*/ 6810062 w 12084394"/>
                <a:gd name="connsiteY1158" fmla="*/ 0 h 4077840"/>
                <a:gd name="connsiteX1159" fmla="*/ 6298186 w 12084394"/>
                <a:gd name="connsiteY1159" fmla="*/ 0 h 4077840"/>
                <a:gd name="connsiteX1160" fmla="*/ 6333129 w 12084394"/>
                <a:gd name="connsiteY1160" fmla="*/ 34944 h 4077840"/>
                <a:gd name="connsiteX1161" fmla="*/ 6298186 w 12084394"/>
                <a:gd name="connsiteY1161" fmla="*/ 69887 h 4077840"/>
                <a:gd name="connsiteX1162" fmla="*/ 6263242 w 12084394"/>
                <a:gd name="connsiteY1162" fmla="*/ 34944 h 4077840"/>
                <a:gd name="connsiteX1163" fmla="*/ 6298186 w 12084394"/>
                <a:gd name="connsiteY1163" fmla="*/ 0 h 4077840"/>
                <a:gd name="connsiteX1164" fmla="*/ 5786126 w 12084394"/>
                <a:gd name="connsiteY1164" fmla="*/ 0 h 4077840"/>
                <a:gd name="connsiteX1165" fmla="*/ 5821068 w 12084394"/>
                <a:gd name="connsiteY1165" fmla="*/ 34944 h 4077840"/>
                <a:gd name="connsiteX1166" fmla="*/ 5786126 w 12084394"/>
                <a:gd name="connsiteY1166" fmla="*/ 69887 h 4077840"/>
                <a:gd name="connsiteX1167" fmla="*/ 5751183 w 12084394"/>
                <a:gd name="connsiteY1167" fmla="*/ 34944 h 4077840"/>
                <a:gd name="connsiteX1168" fmla="*/ 5786126 w 12084394"/>
                <a:gd name="connsiteY1168" fmla="*/ 0 h 4077840"/>
                <a:gd name="connsiteX1169" fmla="*/ 5274270 w 12084394"/>
                <a:gd name="connsiteY1169" fmla="*/ 0 h 4077840"/>
                <a:gd name="connsiteX1170" fmla="*/ 5309213 w 12084394"/>
                <a:gd name="connsiteY1170" fmla="*/ 34944 h 4077840"/>
                <a:gd name="connsiteX1171" fmla="*/ 5274270 w 12084394"/>
                <a:gd name="connsiteY1171" fmla="*/ 69887 h 4077840"/>
                <a:gd name="connsiteX1172" fmla="*/ 5239326 w 12084394"/>
                <a:gd name="connsiteY1172" fmla="*/ 34944 h 4077840"/>
                <a:gd name="connsiteX1173" fmla="*/ 5274270 w 12084394"/>
                <a:gd name="connsiteY1173" fmla="*/ 0 h 4077840"/>
                <a:gd name="connsiteX1174" fmla="*/ 4762180 w 12084394"/>
                <a:gd name="connsiteY1174" fmla="*/ 0 h 4077840"/>
                <a:gd name="connsiteX1175" fmla="*/ 4797138 w 12084394"/>
                <a:gd name="connsiteY1175" fmla="*/ 34944 h 4077840"/>
                <a:gd name="connsiteX1176" fmla="*/ 4762180 w 12084394"/>
                <a:gd name="connsiteY1176" fmla="*/ 69887 h 4077840"/>
                <a:gd name="connsiteX1177" fmla="*/ 4727244 w 12084394"/>
                <a:gd name="connsiteY1177" fmla="*/ 34944 h 4077840"/>
                <a:gd name="connsiteX1178" fmla="*/ 4762180 w 12084394"/>
                <a:gd name="connsiteY1178" fmla="*/ 0 h 4077840"/>
                <a:gd name="connsiteX1179" fmla="*/ 4250316 w 12084394"/>
                <a:gd name="connsiteY1179" fmla="*/ 0 h 4077840"/>
                <a:gd name="connsiteX1180" fmla="*/ 4285260 w 12084394"/>
                <a:gd name="connsiteY1180" fmla="*/ 34944 h 4077840"/>
                <a:gd name="connsiteX1181" fmla="*/ 4250316 w 12084394"/>
                <a:gd name="connsiteY1181" fmla="*/ 69887 h 4077840"/>
                <a:gd name="connsiteX1182" fmla="*/ 4215371 w 12084394"/>
                <a:gd name="connsiteY1182" fmla="*/ 34944 h 4077840"/>
                <a:gd name="connsiteX1183" fmla="*/ 4250316 w 12084394"/>
                <a:gd name="connsiteY1183" fmla="*/ 0 h 4077840"/>
                <a:gd name="connsiteX1184" fmla="*/ 3738287 w 12084394"/>
                <a:gd name="connsiteY1184" fmla="*/ 0 h 4077840"/>
                <a:gd name="connsiteX1185" fmla="*/ 3773228 w 12084394"/>
                <a:gd name="connsiteY1185" fmla="*/ 34944 h 4077840"/>
                <a:gd name="connsiteX1186" fmla="*/ 3738287 w 12084394"/>
                <a:gd name="connsiteY1186" fmla="*/ 69887 h 4077840"/>
                <a:gd name="connsiteX1187" fmla="*/ 3703339 w 12084394"/>
                <a:gd name="connsiteY1187" fmla="*/ 34944 h 4077840"/>
                <a:gd name="connsiteX1188" fmla="*/ 3738287 w 12084394"/>
                <a:gd name="connsiteY1188" fmla="*/ 0 h 4077840"/>
                <a:gd name="connsiteX1189" fmla="*/ 3226239 w 12084394"/>
                <a:gd name="connsiteY1189" fmla="*/ 0 h 4077840"/>
                <a:gd name="connsiteX1190" fmla="*/ 3261187 w 12084394"/>
                <a:gd name="connsiteY1190" fmla="*/ 34944 h 4077840"/>
                <a:gd name="connsiteX1191" fmla="*/ 3226239 w 12084394"/>
                <a:gd name="connsiteY1191" fmla="*/ 69887 h 4077840"/>
                <a:gd name="connsiteX1192" fmla="*/ 3191293 w 12084394"/>
                <a:gd name="connsiteY1192" fmla="*/ 34944 h 4077840"/>
                <a:gd name="connsiteX1193" fmla="*/ 3226239 w 12084394"/>
                <a:gd name="connsiteY1193" fmla="*/ 0 h 4077840"/>
                <a:gd name="connsiteX1194" fmla="*/ 2714361 w 12084394"/>
                <a:gd name="connsiteY1194" fmla="*/ 0 h 4077840"/>
                <a:gd name="connsiteX1195" fmla="*/ 2749305 w 12084394"/>
                <a:gd name="connsiteY1195" fmla="*/ 34944 h 4077840"/>
                <a:gd name="connsiteX1196" fmla="*/ 2714361 w 12084394"/>
                <a:gd name="connsiteY1196" fmla="*/ 69887 h 4077840"/>
                <a:gd name="connsiteX1197" fmla="*/ 2679418 w 12084394"/>
                <a:gd name="connsiteY1197" fmla="*/ 34944 h 4077840"/>
                <a:gd name="connsiteX1198" fmla="*/ 2714361 w 12084394"/>
                <a:gd name="connsiteY1198" fmla="*/ 0 h 4077840"/>
                <a:gd name="connsiteX1199" fmla="*/ 2202305 w 12084394"/>
                <a:gd name="connsiteY1199" fmla="*/ 0 h 4077840"/>
                <a:gd name="connsiteX1200" fmla="*/ 2237248 w 12084394"/>
                <a:gd name="connsiteY1200" fmla="*/ 34944 h 4077840"/>
                <a:gd name="connsiteX1201" fmla="*/ 2202305 w 12084394"/>
                <a:gd name="connsiteY1201" fmla="*/ 69887 h 4077840"/>
                <a:gd name="connsiteX1202" fmla="*/ 2167360 w 12084394"/>
                <a:gd name="connsiteY1202" fmla="*/ 34944 h 4077840"/>
                <a:gd name="connsiteX1203" fmla="*/ 2202305 w 12084394"/>
                <a:gd name="connsiteY1203" fmla="*/ 0 h 4077840"/>
                <a:gd name="connsiteX1204" fmla="*/ 1690412 w 12084394"/>
                <a:gd name="connsiteY1204" fmla="*/ 0 h 4077840"/>
                <a:gd name="connsiteX1205" fmla="*/ 1725355 w 12084394"/>
                <a:gd name="connsiteY1205" fmla="*/ 34944 h 4077840"/>
                <a:gd name="connsiteX1206" fmla="*/ 1690412 w 12084394"/>
                <a:gd name="connsiteY1206" fmla="*/ 69887 h 4077840"/>
                <a:gd name="connsiteX1207" fmla="*/ 1655468 w 12084394"/>
                <a:gd name="connsiteY1207" fmla="*/ 34944 h 4077840"/>
                <a:gd name="connsiteX1208" fmla="*/ 1690412 w 12084394"/>
                <a:gd name="connsiteY1208" fmla="*/ 0 h 4077840"/>
                <a:gd name="connsiteX1209" fmla="*/ 1178353 w 12084394"/>
                <a:gd name="connsiteY1209" fmla="*/ 0 h 4077840"/>
                <a:gd name="connsiteX1210" fmla="*/ 1213295 w 12084394"/>
                <a:gd name="connsiteY1210" fmla="*/ 34944 h 4077840"/>
                <a:gd name="connsiteX1211" fmla="*/ 1178353 w 12084394"/>
                <a:gd name="connsiteY1211" fmla="*/ 69887 h 4077840"/>
                <a:gd name="connsiteX1212" fmla="*/ 1143409 w 12084394"/>
                <a:gd name="connsiteY1212" fmla="*/ 34944 h 4077840"/>
                <a:gd name="connsiteX1213" fmla="*/ 1178353 w 12084394"/>
                <a:gd name="connsiteY1213" fmla="*/ 0 h 4077840"/>
                <a:gd name="connsiteX1214" fmla="*/ 666483 w 12084394"/>
                <a:gd name="connsiteY1214" fmla="*/ 0 h 4077840"/>
                <a:gd name="connsiteX1215" fmla="*/ 701425 w 12084394"/>
                <a:gd name="connsiteY1215" fmla="*/ 34944 h 4077840"/>
                <a:gd name="connsiteX1216" fmla="*/ 666483 w 12084394"/>
                <a:gd name="connsiteY1216" fmla="*/ 69887 h 4077840"/>
                <a:gd name="connsiteX1217" fmla="*/ 631539 w 12084394"/>
                <a:gd name="connsiteY1217" fmla="*/ 34944 h 4077840"/>
                <a:gd name="connsiteX1218" fmla="*/ 666483 w 12084394"/>
                <a:gd name="connsiteY1218" fmla="*/ 0 h 4077840"/>
                <a:gd name="connsiteX1219" fmla="*/ 154424 w 12084394"/>
                <a:gd name="connsiteY1219" fmla="*/ 0 h 4077840"/>
                <a:gd name="connsiteX1220" fmla="*/ 189367 w 12084394"/>
                <a:gd name="connsiteY1220" fmla="*/ 34944 h 4077840"/>
                <a:gd name="connsiteX1221" fmla="*/ 154424 w 12084394"/>
                <a:gd name="connsiteY1221" fmla="*/ 69887 h 4077840"/>
                <a:gd name="connsiteX1222" fmla="*/ 119480 w 12084394"/>
                <a:gd name="connsiteY1222" fmla="*/ 34944 h 4077840"/>
                <a:gd name="connsiteX1223" fmla="*/ 154424 w 12084394"/>
                <a:gd name="connsiteY1223" fmla="*/ 0 h 4077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</a:cxnLst>
              <a:rect l="l" t="t" r="r" b="b"/>
              <a:pathLst>
                <a:path w="12084394" h="4077840">
                  <a:moveTo>
                    <a:pt x="11929965" y="3958074"/>
                  </a:moveTo>
                  <a:cubicBezTo>
                    <a:pt x="11997563" y="3958074"/>
                    <a:pt x="12055562" y="3999174"/>
                    <a:pt x="12080337" y="4057748"/>
                  </a:cubicBezTo>
                  <a:lnTo>
                    <a:pt x="12084394" y="4077840"/>
                  </a:lnTo>
                  <a:lnTo>
                    <a:pt x="11775537" y="4077840"/>
                  </a:lnTo>
                  <a:lnTo>
                    <a:pt x="11779594" y="4057748"/>
                  </a:lnTo>
                  <a:cubicBezTo>
                    <a:pt x="11804369" y="3999174"/>
                    <a:pt x="11862367" y="3958074"/>
                    <a:pt x="11929965" y="3958074"/>
                  </a:cubicBezTo>
                  <a:close/>
                  <a:moveTo>
                    <a:pt x="11417899" y="3958074"/>
                  </a:moveTo>
                  <a:cubicBezTo>
                    <a:pt x="11485497" y="3958074"/>
                    <a:pt x="11543496" y="3999174"/>
                    <a:pt x="11568271" y="4057748"/>
                  </a:cubicBezTo>
                  <a:lnTo>
                    <a:pt x="11572328" y="4077840"/>
                  </a:lnTo>
                  <a:lnTo>
                    <a:pt x="11263471" y="4077840"/>
                  </a:lnTo>
                  <a:lnTo>
                    <a:pt x="11267528" y="4057748"/>
                  </a:lnTo>
                  <a:cubicBezTo>
                    <a:pt x="11292303" y="3999174"/>
                    <a:pt x="11350302" y="3958074"/>
                    <a:pt x="11417899" y="3958074"/>
                  </a:cubicBezTo>
                  <a:close/>
                  <a:moveTo>
                    <a:pt x="10906022" y="3958074"/>
                  </a:moveTo>
                  <a:cubicBezTo>
                    <a:pt x="10973620" y="3958074"/>
                    <a:pt x="11031619" y="3999174"/>
                    <a:pt x="11056393" y="4057748"/>
                  </a:cubicBezTo>
                  <a:lnTo>
                    <a:pt x="11060450" y="4077840"/>
                  </a:lnTo>
                  <a:lnTo>
                    <a:pt x="10751593" y="4077840"/>
                  </a:lnTo>
                  <a:lnTo>
                    <a:pt x="10755650" y="4057748"/>
                  </a:lnTo>
                  <a:cubicBezTo>
                    <a:pt x="10780425" y="3999174"/>
                    <a:pt x="10838424" y="3958074"/>
                    <a:pt x="10906022" y="3958074"/>
                  </a:cubicBezTo>
                  <a:close/>
                  <a:moveTo>
                    <a:pt x="10393956" y="3958074"/>
                  </a:moveTo>
                  <a:cubicBezTo>
                    <a:pt x="10461554" y="3958074"/>
                    <a:pt x="10519553" y="3999174"/>
                    <a:pt x="10544328" y="4057748"/>
                  </a:cubicBezTo>
                  <a:lnTo>
                    <a:pt x="10548385" y="4077840"/>
                  </a:lnTo>
                  <a:lnTo>
                    <a:pt x="10239527" y="4077840"/>
                  </a:lnTo>
                  <a:lnTo>
                    <a:pt x="10243584" y="4057748"/>
                  </a:lnTo>
                  <a:cubicBezTo>
                    <a:pt x="10268359" y="3999174"/>
                    <a:pt x="10326358" y="3958074"/>
                    <a:pt x="10393956" y="3958074"/>
                  </a:cubicBezTo>
                  <a:close/>
                  <a:moveTo>
                    <a:pt x="9882079" y="3958074"/>
                  </a:moveTo>
                  <a:cubicBezTo>
                    <a:pt x="9949677" y="3958074"/>
                    <a:pt x="10007676" y="3999174"/>
                    <a:pt x="10032451" y="4057748"/>
                  </a:cubicBezTo>
                  <a:lnTo>
                    <a:pt x="10036508" y="4077840"/>
                  </a:lnTo>
                  <a:lnTo>
                    <a:pt x="9727651" y="4077840"/>
                  </a:lnTo>
                  <a:lnTo>
                    <a:pt x="9731708" y="4057748"/>
                  </a:lnTo>
                  <a:cubicBezTo>
                    <a:pt x="9756482" y="3999174"/>
                    <a:pt x="9814482" y="3958074"/>
                    <a:pt x="9882079" y="3958074"/>
                  </a:cubicBezTo>
                  <a:close/>
                  <a:moveTo>
                    <a:pt x="9370013" y="3958074"/>
                  </a:moveTo>
                  <a:cubicBezTo>
                    <a:pt x="9437610" y="3958074"/>
                    <a:pt x="9495610" y="3999174"/>
                    <a:pt x="9520384" y="4057748"/>
                  </a:cubicBezTo>
                  <a:lnTo>
                    <a:pt x="9524441" y="4077840"/>
                  </a:lnTo>
                  <a:lnTo>
                    <a:pt x="9215584" y="4077840"/>
                  </a:lnTo>
                  <a:lnTo>
                    <a:pt x="9219641" y="4057748"/>
                  </a:lnTo>
                  <a:cubicBezTo>
                    <a:pt x="9244415" y="3999174"/>
                    <a:pt x="9302414" y="3958074"/>
                    <a:pt x="9370013" y="3958074"/>
                  </a:cubicBezTo>
                  <a:close/>
                  <a:moveTo>
                    <a:pt x="8858136" y="3958074"/>
                  </a:moveTo>
                  <a:cubicBezTo>
                    <a:pt x="8925734" y="3958074"/>
                    <a:pt x="8983733" y="3999174"/>
                    <a:pt x="9008508" y="4057748"/>
                  </a:cubicBezTo>
                  <a:lnTo>
                    <a:pt x="9012565" y="4077840"/>
                  </a:lnTo>
                  <a:lnTo>
                    <a:pt x="8703708" y="4077840"/>
                  </a:lnTo>
                  <a:lnTo>
                    <a:pt x="8707765" y="4057748"/>
                  </a:lnTo>
                  <a:cubicBezTo>
                    <a:pt x="8732539" y="3999174"/>
                    <a:pt x="8790538" y="3958074"/>
                    <a:pt x="8858136" y="3958074"/>
                  </a:cubicBezTo>
                  <a:close/>
                  <a:moveTo>
                    <a:pt x="8346070" y="3958074"/>
                  </a:moveTo>
                  <a:cubicBezTo>
                    <a:pt x="8413668" y="3958074"/>
                    <a:pt x="8471666" y="3999174"/>
                    <a:pt x="8496441" y="4057748"/>
                  </a:cubicBezTo>
                  <a:lnTo>
                    <a:pt x="8500498" y="4077840"/>
                  </a:lnTo>
                  <a:lnTo>
                    <a:pt x="8191642" y="4077840"/>
                  </a:lnTo>
                  <a:lnTo>
                    <a:pt x="8195698" y="4057748"/>
                  </a:lnTo>
                  <a:cubicBezTo>
                    <a:pt x="8220473" y="3999174"/>
                    <a:pt x="8278472" y="3958074"/>
                    <a:pt x="8346070" y="3958074"/>
                  </a:cubicBezTo>
                  <a:close/>
                  <a:moveTo>
                    <a:pt x="7834193" y="3958074"/>
                  </a:moveTo>
                  <a:cubicBezTo>
                    <a:pt x="7901792" y="3958074"/>
                    <a:pt x="7959791" y="3999174"/>
                    <a:pt x="7984565" y="4057748"/>
                  </a:cubicBezTo>
                  <a:lnTo>
                    <a:pt x="7988622" y="4077840"/>
                  </a:lnTo>
                  <a:lnTo>
                    <a:pt x="7679765" y="4077840"/>
                  </a:lnTo>
                  <a:lnTo>
                    <a:pt x="7683822" y="4057748"/>
                  </a:lnTo>
                  <a:cubicBezTo>
                    <a:pt x="7708596" y="3999174"/>
                    <a:pt x="7766595" y="3958074"/>
                    <a:pt x="7834193" y="3958074"/>
                  </a:cubicBezTo>
                  <a:close/>
                  <a:moveTo>
                    <a:pt x="7322127" y="3958074"/>
                  </a:moveTo>
                  <a:cubicBezTo>
                    <a:pt x="7389725" y="3958074"/>
                    <a:pt x="7447724" y="3999174"/>
                    <a:pt x="7472498" y="4057748"/>
                  </a:cubicBezTo>
                  <a:lnTo>
                    <a:pt x="7476555" y="4077840"/>
                  </a:lnTo>
                  <a:lnTo>
                    <a:pt x="7167699" y="4077840"/>
                  </a:lnTo>
                  <a:lnTo>
                    <a:pt x="7171755" y="4057748"/>
                  </a:lnTo>
                  <a:cubicBezTo>
                    <a:pt x="7196530" y="3999174"/>
                    <a:pt x="7254529" y="3958074"/>
                    <a:pt x="7322127" y="3958074"/>
                  </a:cubicBezTo>
                  <a:close/>
                  <a:moveTo>
                    <a:pt x="6810062" y="3958074"/>
                  </a:moveTo>
                  <a:cubicBezTo>
                    <a:pt x="6877661" y="3958074"/>
                    <a:pt x="6935660" y="3999174"/>
                    <a:pt x="6960434" y="4057748"/>
                  </a:cubicBezTo>
                  <a:lnTo>
                    <a:pt x="6964491" y="4077840"/>
                  </a:lnTo>
                  <a:lnTo>
                    <a:pt x="6655635" y="4077840"/>
                  </a:lnTo>
                  <a:lnTo>
                    <a:pt x="6659691" y="4057748"/>
                  </a:lnTo>
                  <a:cubicBezTo>
                    <a:pt x="6684466" y="3999174"/>
                    <a:pt x="6742464" y="3958074"/>
                    <a:pt x="6810062" y="3958074"/>
                  </a:cubicBezTo>
                  <a:close/>
                  <a:moveTo>
                    <a:pt x="6298184" y="3958074"/>
                  </a:moveTo>
                  <a:cubicBezTo>
                    <a:pt x="6365783" y="3958074"/>
                    <a:pt x="6423782" y="3999174"/>
                    <a:pt x="6448557" y="4057748"/>
                  </a:cubicBezTo>
                  <a:lnTo>
                    <a:pt x="6452613" y="4077840"/>
                  </a:lnTo>
                  <a:lnTo>
                    <a:pt x="6143757" y="4077840"/>
                  </a:lnTo>
                  <a:lnTo>
                    <a:pt x="6147813" y="4057748"/>
                  </a:lnTo>
                  <a:cubicBezTo>
                    <a:pt x="6172588" y="3999174"/>
                    <a:pt x="6230586" y="3958074"/>
                    <a:pt x="6298184" y="3958074"/>
                  </a:cubicBezTo>
                  <a:close/>
                  <a:moveTo>
                    <a:pt x="5786126" y="3958074"/>
                  </a:moveTo>
                  <a:cubicBezTo>
                    <a:pt x="5853721" y="3958074"/>
                    <a:pt x="5911718" y="3999174"/>
                    <a:pt x="5936491" y="4057748"/>
                  </a:cubicBezTo>
                  <a:lnTo>
                    <a:pt x="5940548" y="4077840"/>
                  </a:lnTo>
                  <a:lnTo>
                    <a:pt x="5631705" y="4077840"/>
                  </a:lnTo>
                  <a:lnTo>
                    <a:pt x="5635761" y="4057748"/>
                  </a:lnTo>
                  <a:cubicBezTo>
                    <a:pt x="5660535" y="3999174"/>
                    <a:pt x="5718532" y="3958074"/>
                    <a:pt x="5786126" y="3958074"/>
                  </a:cubicBezTo>
                  <a:close/>
                  <a:moveTo>
                    <a:pt x="5274270" y="3958074"/>
                  </a:moveTo>
                  <a:cubicBezTo>
                    <a:pt x="5341866" y="3958074"/>
                    <a:pt x="5399863" y="3999174"/>
                    <a:pt x="5424637" y="4057748"/>
                  </a:cubicBezTo>
                  <a:lnTo>
                    <a:pt x="5428693" y="4077840"/>
                  </a:lnTo>
                  <a:lnTo>
                    <a:pt x="5119842" y="4077840"/>
                  </a:lnTo>
                  <a:lnTo>
                    <a:pt x="5123898" y="4057748"/>
                  </a:lnTo>
                  <a:cubicBezTo>
                    <a:pt x="5148673" y="3999174"/>
                    <a:pt x="5206672" y="3958074"/>
                    <a:pt x="5274270" y="3958074"/>
                  </a:cubicBezTo>
                  <a:close/>
                  <a:moveTo>
                    <a:pt x="4762180" y="3958074"/>
                  </a:moveTo>
                  <a:cubicBezTo>
                    <a:pt x="4829804" y="3958074"/>
                    <a:pt x="4887811" y="3999174"/>
                    <a:pt x="4912588" y="4057748"/>
                  </a:cubicBezTo>
                  <a:lnTo>
                    <a:pt x="4916645" y="4077840"/>
                  </a:lnTo>
                  <a:lnTo>
                    <a:pt x="4607771" y="4077840"/>
                  </a:lnTo>
                  <a:lnTo>
                    <a:pt x="4611827" y="4057748"/>
                  </a:lnTo>
                  <a:cubicBezTo>
                    <a:pt x="4636599" y="3999174"/>
                    <a:pt x="4694593" y="3958074"/>
                    <a:pt x="4762180" y="3958074"/>
                  </a:cubicBezTo>
                  <a:close/>
                  <a:moveTo>
                    <a:pt x="4250316" y="3958074"/>
                  </a:moveTo>
                  <a:cubicBezTo>
                    <a:pt x="4317919" y="3958074"/>
                    <a:pt x="4375920" y="3999174"/>
                    <a:pt x="4400696" y="4057748"/>
                  </a:cubicBezTo>
                  <a:lnTo>
                    <a:pt x="4404753" y="4077840"/>
                  </a:lnTo>
                  <a:lnTo>
                    <a:pt x="4095930" y="4077840"/>
                  </a:lnTo>
                  <a:lnTo>
                    <a:pt x="4099984" y="4057748"/>
                  </a:lnTo>
                  <a:cubicBezTo>
                    <a:pt x="4124744" y="3999174"/>
                    <a:pt x="4182715" y="3958074"/>
                    <a:pt x="4250316" y="3958074"/>
                  </a:cubicBezTo>
                  <a:close/>
                  <a:moveTo>
                    <a:pt x="3738289" y="3958074"/>
                  </a:moveTo>
                  <a:cubicBezTo>
                    <a:pt x="3805888" y="3958074"/>
                    <a:pt x="3863888" y="3999174"/>
                    <a:pt x="3888663" y="4057748"/>
                  </a:cubicBezTo>
                  <a:lnTo>
                    <a:pt x="3892720" y="4077840"/>
                  </a:lnTo>
                  <a:lnTo>
                    <a:pt x="3583860" y="4077840"/>
                  </a:lnTo>
                  <a:lnTo>
                    <a:pt x="3587916" y="4057748"/>
                  </a:lnTo>
                  <a:cubicBezTo>
                    <a:pt x="3612688" y="3999174"/>
                    <a:pt x="3670683" y="3958074"/>
                    <a:pt x="3738289" y="3958074"/>
                  </a:cubicBezTo>
                  <a:close/>
                  <a:moveTo>
                    <a:pt x="3226242" y="3958074"/>
                  </a:moveTo>
                  <a:cubicBezTo>
                    <a:pt x="3293846" y="3958074"/>
                    <a:pt x="3351848" y="3999174"/>
                    <a:pt x="3376624" y="4057748"/>
                  </a:cubicBezTo>
                  <a:lnTo>
                    <a:pt x="3380681" y="4077840"/>
                  </a:lnTo>
                  <a:lnTo>
                    <a:pt x="3071812" y="4077840"/>
                  </a:lnTo>
                  <a:lnTo>
                    <a:pt x="3075868" y="4057748"/>
                  </a:lnTo>
                  <a:cubicBezTo>
                    <a:pt x="3100643" y="3999174"/>
                    <a:pt x="3158643" y="3958074"/>
                    <a:pt x="3226242" y="3958074"/>
                  </a:cubicBezTo>
                  <a:close/>
                  <a:moveTo>
                    <a:pt x="2714363" y="3958074"/>
                  </a:moveTo>
                  <a:cubicBezTo>
                    <a:pt x="2781962" y="3958074"/>
                    <a:pt x="2839961" y="3999174"/>
                    <a:pt x="2864736" y="4057748"/>
                  </a:cubicBezTo>
                  <a:lnTo>
                    <a:pt x="2868792" y="4077840"/>
                  </a:lnTo>
                  <a:lnTo>
                    <a:pt x="2559936" y="4077840"/>
                  </a:lnTo>
                  <a:lnTo>
                    <a:pt x="2563993" y="4057748"/>
                  </a:lnTo>
                  <a:cubicBezTo>
                    <a:pt x="2588767" y="3999174"/>
                    <a:pt x="2646765" y="3958074"/>
                    <a:pt x="2714363" y="3958074"/>
                  </a:cubicBezTo>
                  <a:close/>
                  <a:moveTo>
                    <a:pt x="2202307" y="3958074"/>
                  </a:moveTo>
                  <a:cubicBezTo>
                    <a:pt x="2269904" y="3958074"/>
                    <a:pt x="2327902" y="3999174"/>
                    <a:pt x="2352676" y="4057748"/>
                  </a:cubicBezTo>
                  <a:lnTo>
                    <a:pt x="2356732" y="4077840"/>
                  </a:lnTo>
                  <a:lnTo>
                    <a:pt x="2047866" y="4077840"/>
                  </a:lnTo>
                  <a:lnTo>
                    <a:pt x="2051924" y="4057748"/>
                  </a:lnTo>
                  <a:cubicBezTo>
                    <a:pt x="2076703" y="3999174"/>
                    <a:pt x="2134711" y="3958074"/>
                    <a:pt x="2202307" y="3958074"/>
                  </a:cubicBezTo>
                  <a:close/>
                  <a:moveTo>
                    <a:pt x="1690413" y="3958074"/>
                  </a:moveTo>
                  <a:cubicBezTo>
                    <a:pt x="1758012" y="3958074"/>
                    <a:pt x="1816010" y="3999174"/>
                    <a:pt x="1840785" y="4057748"/>
                  </a:cubicBezTo>
                  <a:lnTo>
                    <a:pt x="1844841" y="4077840"/>
                  </a:lnTo>
                  <a:lnTo>
                    <a:pt x="1535987" y="4077840"/>
                  </a:lnTo>
                  <a:lnTo>
                    <a:pt x="1540043" y="4057748"/>
                  </a:lnTo>
                  <a:cubicBezTo>
                    <a:pt x="1564818" y="3999174"/>
                    <a:pt x="1622817" y="3958074"/>
                    <a:pt x="1690413" y="3958074"/>
                  </a:cubicBezTo>
                  <a:close/>
                  <a:moveTo>
                    <a:pt x="1178354" y="3958074"/>
                  </a:moveTo>
                  <a:cubicBezTo>
                    <a:pt x="1245952" y="3958074"/>
                    <a:pt x="1303950" y="3999174"/>
                    <a:pt x="1328724" y="4057748"/>
                  </a:cubicBezTo>
                  <a:lnTo>
                    <a:pt x="1332781" y="4077840"/>
                  </a:lnTo>
                  <a:lnTo>
                    <a:pt x="1023928" y="4077840"/>
                  </a:lnTo>
                  <a:lnTo>
                    <a:pt x="1027984" y="4057748"/>
                  </a:lnTo>
                  <a:cubicBezTo>
                    <a:pt x="1052759" y="3999174"/>
                    <a:pt x="1110758" y="3958074"/>
                    <a:pt x="1178354" y="3958074"/>
                  </a:cubicBezTo>
                  <a:close/>
                  <a:moveTo>
                    <a:pt x="666484" y="3958074"/>
                  </a:moveTo>
                  <a:cubicBezTo>
                    <a:pt x="734082" y="3958074"/>
                    <a:pt x="792080" y="3999174"/>
                    <a:pt x="816855" y="4057748"/>
                  </a:cubicBezTo>
                  <a:lnTo>
                    <a:pt x="820911" y="4077840"/>
                  </a:lnTo>
                  <a:lnTo>
                    <a:pt x="512057" y="4077840"/>
                  </a:lnTo>
                  <a:lnTo>
                    <a:pt x="516114" y="4057748"/>
                  </a:lnTo>
                  <a:cubicBezTo>
                    <a:pt x="540888" y="3999174"/>
                    <a:pt x="598887" y="3958074"/>
                    <a:pt x="666484" y="3958074"/>
                  </a:cubicBezTo>
                  <a:close/>
                  <a:moveTo>
                    <a:pt x="154426" y="3958074"/>
                  </a:moveTo>
                  <a:cubicBezTo>
                    <a:pt x="222024" y="3958074"/>
                    <a:pt x="280023" y="3999174"/>
                    <a:pt x="304797" y="4057748"/>
                  </a:cubicBezTo>
                  <a:lnTo>
                    <a:pt x="308853" y="4077840"/>
                  </a:lnTo>
                  <a:lnTo>
                    <a:pt x="0" y="4077840"/>
                  </a:lnTo>
                  <a:lnTo>
                    <a:pt x="4057" y="4057748"/>
                  </a:lnTo>
                  <a:cubicBezTo>
                    <a:pt x="28831" y="3999174"/>
                    <a:pt x="86829" y="3958074"/>
                    <a:pt x="154426" y="3958074"/>
                  </a:cubicBezTo>
                  <a:close/>
                  <a:moveTo>
                    <a:pt x="11929966" y="3518352"/>
                  </a:moveTo>
                  <a:cubicBezTo>
                    <a:pt x="12012273" y="3518352"/>
                    <a:pt x="12078996" y="3585074"/>
                    <a:pt x="12078996" y="3667382"/>
                  </a:cubicBezTo>
                  <a:cubicBezTo>
                    <a:pt x="12078996" y="3749688"/>
                    <a:pt x="12012273" y="3816412"/>
                    <a:pt x="11929966" y="3816412"/>
                  </a:cubicBezTo>
                  <a:cubicBezTo>
                    <a:pt x="11847659" y="3816412"/>
                    <a:pt x="11780936" y="3749689"/>
                    <a:pt x="11780936" y="3667382"/>
                  </a:cubicBezTo>
                  <a:cubicBezTo>
                    <a:pt x="11780936" y="3585075"/>
                    <a:pt x="11847659" y="3518352"/>
                    <a:pt x="11929966" y="3518352"/>
                  </a:cubicBezTo>
                  <a:close/>
                  <a:moveTo>
                    <a:pt x="11417900" y="3518352"/>
                  </a:moveTo>
                  <a:cubicBezTo>
                    <a:pt x="11500207" y="3518352"/>
                    <a:pt x="11566930" y="3585074"/>
                    <a:pt x="11566930" y="3667382"/>
                  </a:cubicBezTo>
                  <a:cubicBezTo>
                    <a:pt x="11566930" y="3749688"/>
                    <a:pt x="11500207" y="3816412"/>
                    <a:pt x="11417900" y="3816412"/>
                  </a:cubicBezTo>
                  <a:cubicBezTo>
                    <a:pt x="11335593" y="3816412"/>
                    <a:pt x="11268870" y="3749689"/>
                    <a:pt x="11268870" y="3667382"/>
                  </a:cubicBezTo>
                  <a:cubicBezTo>
                    <a:pt x="11268870" y="3585075"/>
                    <a:pt x="11335593" y="3518352"/>
                    <a:pt x="11417900" y="3518352"/>
                  </a:cubicBezTo>
                  <a:close/>
                  <a:moveTo>
                    <a:pt x="10906022" y="3518352"/>
                  </a:moveTo>
                  <a:cubicBezTo>
                    <a:pt x="10988330" y="3518352"/>
                    <a:pt x="11055053" y="3585074"/>
                    <a:pt x="11055053" y="3667382"/>
                  </a:cubicBezTo>
                  <a:cubicBezTo>
                    <a:pt x="11055053" y="3749688"/>
                    <a:pt x="10988330" y="3816412"/>
                    <a:pt x="10906022" y="3816412"/>
                  </a:cubicBezTo>
                  <a:cubicBezTo>
                    <a:pt x="10823715" y="3816412"/>
                    <a:pt x="10756992" y="3749689"/>
                    <a:pt x="10756992" y="3667382"/>
                  </a:cubicBezTo>
                  <a:cubicBezTo>
                    <a:pt x="10756992" y="3585075"/>
                    <a:pt x="10823715" y="3518352"/>
                    <a:pt x="10906022" y="3518352"/>
                  </a:cubicBezTo>
                  <a:close/>
                  <a:moveTo>
                    <a:pt x="10393957" y="3518352"/>
                  </a:moveTo>
                  <a:cubicBezTo>
                    <a:pt x="10476264" y="3518352"/>
                    <a:pt x="10542987" y="3585074"/>
                    <a:pt x="10542987" y="3667382"/>
                  </a:cubicBezTo>
                  <a:cubicBezTo>
                    <a:pt x="10542987" y="3749688"/>
                    <a:pt x="10476264" y="3816412"/>
                    <a:pt x="10393957" y="3816412"/>
                  </a:cubicBezTo>
                  <a:cubicBezTo>
                    <a:pt x="10311649" y="3816412"/>
                    <a:pt x="10244926" y="3749689"/>
                    <a:pt x="10244926" y="3667382"/>
                  </a:cubicBezTo>
                  <a:cubicBezTo>
                    <a:pt x="10244926" y="3585075"/>
                    <a:pt x="10311649" y="3518352"/>
                    <a:pt x="10393957" y="3518352"/>
                  </a:cubicBezTo>
                  <a:close/>
                  <a:moveTo>
                    <a:pt x="9882080" y="3518352"/>
                  </a:moveTo>
                  <a:cubicBezTo>
                    <a:pt x="9964387" y="3518352"/>
                    <a:pt x="10031110" y="3585074"/>
                    <a:pt x="10031110" y="3667382"/>
                  </a:cubicBezTo>
                  <a:cubicBezTo>
                    <a:pt x="10031110" y="3749688"/>
                    <a:pt x="9964387" y="3816412"/>
                    <a:pt x="9882080" y="3816412"/>
                  </a:cubicBezTo>
                  <a:cubicBezTo>
                    <a:pt x="9799773" y="3816412"/>
                    <a:pt x="9733050" y="3749689"/>
                    <a:pt x="9733050" y="3667382"/>
                  </a:cubicBezTo>
                  <a:cubicBezTo>
                    <a:pt x="9733050" y="3585075"/>
                    <a:pt x="9799773" y="3518352"/>
                    <a:pt x="9882080" y="3518352"/>
                  </a:cubicBezTo>
                  <a:close/>
                  <a:moveTo>
                    <a:pt x="9370013" y="3518352"/>
                  </a:moveTo>
                  <a:cubicBezTo>
                    <a:pt x="9452320" y="3518352"/>
                    <a:pt x="9519043" y="3585074"/>
                    <a:pt x="9519043" y="3667382"/>
                  </a:cubicBezTo>
                  <a:cubicBezTo>
                    <a:pt x="9519043" y="3749688"/>
                    <a:pt x="9452321" y="3816412"/>
                    <a:pt x="9370013" y="3816412"/>
                  </a:cubicBezTo>
                  <a:cubicBezTo>
                    <a:pt x="9287707" y="3816412"/>
                    <a:pt x="9220983" y="3749689"/>
                    <a:pt x="9220983" y="3667382"/>
                  </a:cubicBezTo>
                  <a:cubicBezTo>
                    <a:pt x="9220983" y="3585075"/>
                    <a:pt x="9287706" y="3518352"/>
                    <a:pt x="9370013" y="3518352"/>
                  </a:cubicBezTo>
                  <a:close/>
                  <a:moveTo>
                    <a:pt x="8858137" y="3518352"/>
                  </a:moveTo>
                  <a:cubicBezTo>
                    <a:pt x="8940443" y="3518352"/>
                    <a:pt x="9007167" y="3585074"/>
                    <a:pt x="9007167" y="3667382"/>
                  </a:cubicBezTo>
                  <a:cubicBezTo>
                    <a:pt x="9007167" y="3749688"/>
                    <a:pt x="8940444" y="3816412"/>
                    <a:pt x="8858137" y="3816412"/>
                  </a:cubicBezTo>
                  <a:cubicBezTo>
                    <a:pt x="8775830" y="3816412"/>
                    <a:pt x="8709107" y="3749689"/>
                    <a:pt x="8709107" y="3667382"/>
                  </a:cubicBezTo>
                  <a:cubicBezTo>
                    <a:pt x="8709107" y="3585075"/>
                    <a:pt x="8775829" y="3518352"/>
                    <a:pt x="8858137" y="3518352"/>
                  </a:cubicBezTo>
                  <a:close/>
                  <a:moveTo>
                    <a:pt x="8346070" y="3518352"/>
                  </a:moveTo>
                  <a:cubicBezTo>
                    <a:pt x="8428377" y="3518352"/>
                    <a:pt x="8495101" y="3585074"/>
                    <a:pt x="8495101" y="3667382"/>
                  </a:cubicBezTo>
                  <a:cubicBezTo>
                    <a:pt x="8495101" y="3749688"/>
                    <a:pt x="8428378" y="3816412"/>
                    <a:pt x="8346070" y="3816412"/>
                  </a:cubicBezTo>
                  <a:cubicBezTo>
                    <a:pt x="8263764" y="3816412"/>
                    <a:pt x="8197040" y="3749689"/>
                    <a:pt x="8197040" y="3667382"/>
                  </a:cubicBezTo>
                  <a:cubicBezTo>
                    <a:pt x="8197040" y="3585075"/>
                    <a:pt x="8263763" y="3518352"/>
                    <a:pt x="8346070" y="3518352"/>
                  </a:cubicBezTo>
                  <a:close/>
                  <a:moveTo>
                    <a:pt x="7834194" y="3518352"/>
                  </a:moveTo>
                  <a:cubicBezTo>
                    <a:pt x="7916501" y="3518352"/>
                    <a:pt x="7983224" y="3585074"/>
                    <a:pt x="7983224" y="3667382"/>
                  </a:cubicBezTo>
                  <a:cubicBezTo>
                    <a:pt x="7983224" y="3749688"/>
                    <a:pt x="7916501" y="3816412"/>
                    <a:pt x="7834194" y="3816412"/>
                  </a:cubicBezTo>
                  <a:cubicBezTo>
                    <a:pt x="7751887" y="3816412"/>
                    <a:pt x="7685164" y="3749689"/>
                    <a:pt x="7685164" y="3667382"/>
                  </a:cubicBezTo>
                  <a:cubicBezTo>
                    <a:pt x="7685164" y="3585075"/>
                    <a:pt x="7751887" y="3518352"/>
                    <a:pt x="7834194" y="3518352"/>
                  </a:cubicBezTo>
                  <a:close/>
                  <a:moveTo>
                    <a:pt x="7322128" y="3518352"/>
                  </a:moveTo>
                  <a:cubicBezTo>
                    <a:pt x="7404434" y="3518352"/>
                    <a:pt x="7471158" y="3585074"/>
                    <a:pt x="7471158" y="3667382"/>
                  </a:cubicBezTo>
                  <a:cubicBezTo>
                    <a:pt x="7471158" y="3749688"/>
                    <a:pt x="7404435" y="3816412"/>
                    <a:pt x="7322128" y="3816412"/>
                  </a:cubicBezTo>
                  <a:cubicBezTo>
                    <a:pt x="7239821" y="3816412"/>
                    <a:pt x="7173097" y="3749689"/>
                    <a:pt x="7173097" y="3667382"/>
                  </a:cubicBezTo>
                  <a:cubicBezTo>
                    <a:pt x="7173097" y="3585075"/>
                    <a:pt x="7239820" y="3518352"/>
                    <a:pt x="7322128" y="3518352"/>
                  </a:cubicBezTo>
                  <a:close/>
                  <a:moveTo>
                    <a:pt x="6810062" y="3518352"/>
                  </a:moveTo>
                  <a:cubicBezTo>
                    <a:pt x="6892369" y="3518352"/>
                    <a:pt x="6959092" y="3585074"/>
                    <a:pt x="6959092" y="3667382"/>
                  </a:cubicBezTo>
                  <a:cubicBezTo>
                    <a:pt x="6959092" y="3749688"/>
                    <a:pt x="6892369" y="3816412"/>
                    <a:pt x="6810062" y="3816412"/>
                  </a:cubicBezTo>
                  <a:cubicBezTo>
                    <a:pt x="6727755" y="3816412"/>
                    <a:pt x="6661032" y="3749689"/>
                    <a:pt x="6661032" y="3667382"/>
                  </a:cubicBezTo>
                  <a:cubicBezTo>
                    <a:pt x="6661032" y="3585075"/>
                    <a:pt x="6727755" y="3518352"/>
                    <a:pt x="6810062" y="3518352"/>
                  </a:cubicBezTo>
                  <a:close/>
                  <a:moveTo>
                    <a:pt x="6298186" y="3518352"/>
                  </a:moveTo>
                  <a:cubicBezTo>
                    <a:pt x="6380491" y="3518352"/>
                    <a:pt x="6447215" y="3585074"/>
                    <a:pt x="6447215" y="3667382"/>
                  </a:cubicBezTo>
                  <a:cubicBezTo>
                    <a:pt x="6447215" y="3749688"/>
                    <a:pt x="6380493" y="3816412"/>
                    <a:pt x="6298186" y="3816412"/>
                  </a:cubicBezTo>
                  <a:cubicBezTo>
                    <a:pt x="6215878" y="3816412"/>
                    <a:pt x="6149155" y="3749689"/>
                    <a:pt x="6149155" y="3667382"/>
                  </a:cubicBezTo>
                  <a:cubicBezTo>
                    <a:pt x="6149155" y="3585075"/>
                    <a:pt x="6215877" y="3518352"/>
                    <a:pt x="6298186" y="3518352"/>
                  </a:cubicBezTo>
                  <a:close/>
                  <a:moveTo>
                    <a:pt x="5786126" y="3518352"/>
                  </a:moveTo>
                  <a:cubicBezTo>
                    <a:pt x="5868430" y="3518352"/>
                    <a:pt x="5935149" y="3585074"/>
                    <a:pt x="5935149" y="3667382"/>
                  </a:cubicBezTo>
                  <a:cubicBezTo>
                    <a:pt x="5935149" y="3749688"/>
                    <a:pt x="5868430" y="3816412"/>
                    <a:pt x="5786126" y="3816412"/>
                  </a:cubicBezTo>
                  <a:cubicBezTo>
                    <a:pt x="5703824" y="3816412"/>
                    <a:pt x="5637102" y="3749689"/>
                    <a:pt x="5637102" y="3667382"/>
                  </a:cubicBezTo>
                  <a:cubicBezTo>
                    <a:pt x="5637102" y="3585075"/>
                    <a:pt x="5703823" y="3518352"/>
                    <a:pt x="5786126" y="3518352"/>
                  </a:cubicBezTo>
                  <a:close/>
                  <a:moveTo>
                    <a:pt x="5274270" y="3518352"/>
                  </a:moveTo>
                  <a:cubicBezTo>
                    <a:pt x="5356576" y="3518352"/>
                    <a:pt x="5423296" y="3585074"/>
                    <a:pt x="5423296" y="3667382"/>
                  </a:cubicBezTo>
                  <a:cubicBezTo>
                    <a:pt x="5423296" y="3749688"/>
                    <a:pt x="5356576" y="3816412"/>
                    <a:pt x="5274270" y="3816412"/>
                  </a:cubicBezTo>
                  <a:cubicBezTo>
                    <a:pt x="5191962" y="3816412"/>
                    <a:pt x="5125232" y="3749689"/>
                    <a:pt x="5125232" y="3667382"/>
                  </a:cubicBezTo>
                  <a:cubicBezTo>
                    <a:pt x="5125232" y="3585075"/>
                    <a:pt x="5191962" y="3518352"/>
                    <a:pt x="5274270" y="3518352"/>
                  </a:cubicBezTo>
                  <a:close/>
                  <a:moveTo>
                    <a:pt x="4762180" y="3518352"/>
                  </a:moveTo>
                  <a:cubicBezTo>
                    <a:pt x="4844514" y="3518352"/>
                    <a:pt x="4911249" y="3585074"/>
                    <a:pt x="4911249" y="3667382"/>
                  </a:cubicBezTo>
                  <a:cubicBezTo>
                    <a:pt x="4911249" y="3749688"/>
                    <a:pt x="4844516" y="3816412"/>
                    <a:pt x="4762180" y="3816412"/>
                  </a:cubicBezTo>
                  <a:cubicBezTo>
                    <a:pt x="4679887" y="3816412"/>
                    <a:pt x="4613169" y="3749689"/>
                    <a:pt x="4613169" y="3667382"/>
                  </a:cubicBezTo>
                  <a:cubicBezTo>
                    <a:pt x="4613169" y="3585075"/>
                    <a:pt x="4679887" y="3518352"/>
                    <a:pt x="4762180" y="3518352"/>
                  </a:cubicBezTo>
                  <a:close/>
                  <a:moveTo>
                    <a:pt x="4250316" y="3518352"/>
                  </a:moveTo>
                  <a:cubicBezTo>
                    <a:pt x="4332628" y="3518352"/>
                    <a:pt x="4399355" y="3585074"/>
                    <a:pt x="4399355" y="3667382"/>
                  </a:cubicBezTo>
                  <a:cubicBezTo>
                    <a:pt x="4399355" y="3749688"/>
                    <a:pt x="4332628" y="3816412"/>
                    <a:pt x="4250316" y="3816412"/>
                  </a:cubicBezTo>
                  <a:cubicBezTo>
                    <a:pt x="4168006" y="3816412"/>
                    <a:pt x="4101334" y="3749689"/>
                    <a:pt x="4101334" y="3667382"/>
                  </a:cubicBezTo>
                  <a:cubicBezTo>
                    <a:pt x="4101334" y="3585075"/>
                    <a:pt x="4168006" y="3518352"/>
                    <a:pt x="4250316" y="3518352"/>
                  </a:cubicBezTo>
                  <a:close/>
                  <a:moveTo>
                    <a:pt x="3738289" y="3518352"/>
                  </a:moveTo>
                  <a:cubicBezTo>
                    <a:pt x="3820593" y="3518352"/>
                    <a:pt x="3887320" y="3585074"/>
                    <a:pt x="3887320" y="3667382"/>
                  </a:cubicBezTo>
                  <a:cubicBezTo>
                    <a:pt x="3887320" y="3749688"/>
                    <a:pt x="3820593" y="3816412"/>
                    <a:pt x="3738289" y="3816412"/>
                  </a:cubicBezTo>
                  <a:cubicBezTo>
                    <a:pt x="3655972" y="3816412"/>
                    <a:pt x="3589256" y="3749689"/>
                    <a:pt x="3589256" y="3667382"/>
                  </a:cubicBezTo>
                  <a:cubicBezTo>
                    <a:pt x="3589256" y="3585075"/>
                    <a:pt x="3655972" y="3518352"/>
                    <a:pt x="3738289" y="3518352"/>
                  </a:cubicBezTo>
                  <a:close/>
                  <a:moveTo>
                    <a:pt x="3226242" y="3518352"/>
                  </a:moveTo>
                  <a:cubicBezTo>
                    <a:pt x="3308555" y="3518352"/>
                    <a:pt x="3375284" y="3585074"/>
                    <a:pt x="3375284" y="3667382"/>
                  </a:cubicBezTo>
                  <a:cubicBezTo>
                    <a:pt x="3375284" y="3749688"/>
                    <a:pt x="3308555" y="3816412"/>
                    <a:pt x="3226242" y="3816412"/>
                  </a:cubicBezTo>
                  <a:cubicBezTo>
                    <a:pt x="3143933" y="3816412"/>
                    <a:pt x="3077210" y="3749689"/>
                    <a:pt x="3077210" y="3667382"/>
                  </a:cubicBezTo>
                  <a:cubicBezTo>
                    <a:pt x="3077210" y="3585075"/>
                    <a:pt x="3143933" y="3518352"/>
                    <a:pt x="3226242" y="3518352"/>
                  </a:cubicBezTo>
                  <a:close/>
                  <a:moveTo>
                    <a:pt x="2714363" y="3518352"/>
                  </a:moveTo>
                  <a:cubicBezTo>
                    <a:pt x="2796672" y="3518352"/>
                    <a:pt x="2863399" y="3585074"/>
                    <a:pt x="2863399" y="3667382"/>
                  </a:cubicBezTo>
                  <a:cubicBezTo>
                    <a:pt x="2863399" y="3749688"/>
                    <a:pt x="2796672" y="3816412"/>
                    <a:pt x="2714363" y="3816412"/>
                  </a:cubicBezTo>
                  <a:cubicBezTo>
                    <a:pt x="2632054" y="3816412"/>
                    <a:pt x="2565335" y="3749689"/>
                    <a:pt x="2565335" y="3667382"/>
                  </a:cubicBezTo>
                  <a:cubicBezTo>
                    <a:pt x="2565335" y="3585075"/>
                    <a:pt x="2632054" y="3518352"/>
                    <a:pt x="2714363" y="3518352"/>
                  </a:cubicBezTo>
                  <a:close/>
                  <a:moveTo>
                    <a:pt x="2202307" y="3518352"/>
                  </a:moveTo>
                  <a:cubicBezTo>
                    <a:pt x="2284612" y="3518352"/>
                    <a:pt x="2351334" y="3585074"/>
                    <a:pt x="2351334" y="3667382"/>
                  </a:cubicBezTo>
                  <a:cubicBezTo>
                    <a:pt x="2351334" y="3749688"/>
                    <a:pt x="2284612" y="3816412"/>
                    <a:pt x="2202307" y="3816412"/>
                  </a:cubicBezTo>
                  <a:cubicBezTo>
                    <a:pt x="2120002" y="3816412"/>
                    <a:pt x="2053277" y="3749689"/>
                    <a:pt x="2053277" y="3667382"/>
                  </a:cubicBezTo>
                  <a:cubicBezTo>
                    <a:pt x="2053277" y="3585075"/>
                    <a:pt x="2120002" y="3518352"/>
                    <a:pt x="2202307" y="3518352"/>
                  </a:cubicBezTo>
                  <a:close/>
                  <a:moveTo>
                    <a:pt x="1690413" y="3518352"/>
                  </a:moveTo>
                  <a:cubicBezTo>
                    <a:pt x="1772720" y="3518352"/>
                    <a:pt x="1839443" y="3585074"/>
                    <a:pt x="1839443" y="3667382"/>
                  </a:cubicBezTo>
                  <a:cubicBezTo>
                    <a:pt x="1839443" y="3749688"/>
                    <a:pt x="1772720" y="3816412"/>
                    <a:pt x="1690413" y="3816412"/>
                  </a:cubicBezTo>
                  <a:cubicBezTo>
                    <a:pt x="1608107" y="3816412"/>
                    <a:pt x="1541384" y="3749689"/>
                    <a:pt x="1541384" y="3667382"/>
                  </a:cubicBezTo>
                  <a:cubicBezTo>
                    <a:pt x="1541384" y="3585075"/>
                    <a:pt x="1608107" y="3518352"/>
                    <a:pt x="1690413" y="3518352"/>
                  </a:cubicBezTo>
                  <a:close/>
                  <a:moveTo>
                    <a:pt x="1178354" y="3518352"/>
                  </a:moveTo>
                  <a:cubicBezTo>
                    <a:pt x="1260660" y="3518352"/>
                    <a:pt x="1327383" y="3585074"/>
                    <a:pt x="1327383" y="3667382"/>
                  </a:cubicBezTo>
                  <a:cubicBezTo>
                    <a:pt x="1327383" y="3749688"/>
                    <a:pt x="1260660" y="3816412"/>
                    <a:pt x="1178354" y="3816412"/>
                  </a:cubicBezTo>
                  <a:cubicBezTo>
                    <a:pt x="1096047" y="3816412"/>
                    <a:pt x="1029325" y="3749689"/>
                    <a:pt x="1029325" y="3667382"/>
                  </a:cubicBezTo>
                  <a:cubicBezTo>
                    <a:pt x="1029325" y="3585075"/>
                    <a:pt x="1096047" y="3518352"/>
                    <a:pt x="1178354" y="3518352"/>
                  </a:cubicBezTo>
                  <a:close/>
                  <a:moveTo>
                    <a:pt x="666484" y="3518352"/>
                  </a:moveTo>
                  <a:cubicBezTo>
                    <a:pt x="748790" y="3518352"/>
                    <a:pt x="815513" y="3585074"/>
                    <a:pt x="815513" y="3667382"/>
                  </a:cubicBezTo>
                  <a:cubicBezTo>
                    <a:pt x="815513" y="3749688"/>
                    <a:pt x="748790" y="3816412"/>
                    <a:pt x="666484" y="3816412"/>
                  </a:cubicBezTo>
                  <a:cubicBezTo>
                    <a:pt x="584178" y="3816412"/>
                    <a:pt x="517455" y="3749689"/>
                    <a:pt x="517455" y="3667382"/>
                  </a:cubicBezTo>
                  <a:cubicBezTo>
                    <a:pt x="517455" y="3585075"/>
                    <a:pt x="584178" y="3518352"/>
                    <a:pt x="666484" y="3518352"/>
                  </a:cubicBezTo>
                  <a:close/>
                  <a:moveTo>
                    <a:pt x="154426" y="3518352"/>
                  </a:moveTo>
                  <a:cubicBezTo>
                    <a:pt x="236733" y="3518352"/>
                    <a:pt x="303455" y="3585074"/>
                    <a:pt x="303455" y="3667382"/>
                  </a:cubicBezTo>
                  <a:cubicBezTo>
                    <a:pt x="303455" y="3749688"/>
                    <a:pt x="236733" y="3816412"/>
                    <a:pt x="154426" y="3816412"/>
                  </a:cubicBezTo>
                  <a:cubicBezTo>
                    <a:pt x="72120" y="3816412"/>
                    <a:pt x="5397" y="3749689"/>
                    <a:pt x="5397" y="3667382"/>
                  </a:cubicBezTo>
                  <a:cubicBezTo>
                    <a:pt x="5397" y="3585075"/>
                    <a:pt x="72120" y="3518352"/>
                    <a:pt x="154426" y="3518352"/>
                  </a:cubicBezTo>
                  <a:close/>
                  <a:moveTo>
                    <a:pt x="11929966" y="3078629"/>
                  </a:moveTo>
                  <a:cubicBezTo>
                    <a:pt x="12004345" y="3078629"/>
                    <a:pt x="12064640" y="3138925"/>
                    <a:pt x="12064640" y="3213304"/>
                  </a:cubicBezTo>
                  <a:cubicBezTo>
                    <a:pt x="12064640" y="3287683"/>
                    <a:pt x="12004345" y="3347979"/>
                    <a:pt x="11929966" y="3347979"/>
                  </a:cubicBezTo>
                  <a:cubicBezTo>
                    <a:pt x="11855587" y="3347979"/>
                    <a:pt x="11795291" y="3287683"/>
                    <a:pt x="11795291" y="3213304"/>
                  </a:cubicBezTo>
                  <a:cubicBezTo>
                    <a:pt x="11795291" y="3138925"/>
                    <a:pt x="11855587" y="3078629"/>
                    <a:pt x="11929966" y="3078629"/>
                  </a:cubicBezTo>
                  <a:close/>
                  <a:moveTo>
                    <a:pt x="11417900" y="3078629"/>
                  </a:moveTo>
                  <a:cubicBezTo>
                    <a:pt x="11492279" y="3078629"/>
                    <a:pt x="11552575" y="3138925"/>
                    <a:pt x="11552575" y="3213304"/>
                  </a:cubicBezTo>
                  <a:cubicBezTo>
                    <a:pt x="11552575" y="3287683"/>
                    <a:pt x="11492279" y="3347979"/>
                    <a:pt x="11417900" y="3347979"/>
                  </a:cubicBezTo>
                  <a:cubicBezTo>
                    <a:pt x="11343521" y="3347979"/>
                    <a:pt x="11283225" y="3287683"/>
                    <a:pt x="11283225" y="3213304"/>
                  </a:cubicBezTo>
                  <a:cubicBezTo>
                    <a:pt x="11283225" y="3138925"/>
                    <a:pt x="11343521" y="3078629"/>
                    <a:pt x="11417900" y="3078629"/>
                  </a:cubicBezTo>
                  <a:close/>
                  <a:moveTo>
                    <a:pt x="10906022" y="3078629"/>
                  </a:moveTo>
                  <a:cubicBezTo>
                    <a:pt x="10980401" y="3078629"/>
                    <a:pt x="11040697" y="3138925"/>
                    <a:pt x="11040697" y="3213304"/>
                  </a:cubicBezTo>
                  <a:cubicBezTo>
                    <a:pt x="11040697" y="3287683"/>
                    <a:pt x="10980401" y="3347979"/>
                    <a:pt x="10906022" y="3347979"/>
                  </a:cubicBezTo>
                  <a:cubicBezTo>
                    <a:pt x="10831643" y="3347979"/>
                    <a:pt x="10771347" y="3287683"/>
                    <a:pt x="10771347" y="3213304"/>
                  </a:cubicBezTo>
                  <a:cubicBezTo>
                    <a:pt x="10771347" y="3138925"/>
                    <a:pt x="10831643" y="3078629"/>
                    <a:pt x="10906022" y="3078629"/>
                  </a:cubicBezTo>
                  <a:close/>
                  <a:moveTo>
                    <a:pt x="10393956" y="3078629"/>
                  </a:moveTo>
                  <a:cubicBezTo>
                    <a:pt x="10468335" y="3078629"/>
                    <a:pt x="10528631" y="3138925"/>
                    <a:pt x="10528631" y="3213304"/>
                  </a:cubicBezTo>
                  <a:cubicBezTo>
                    <a:pt x="10528631" y="3287683"/>
                    <a:pt x="10468335" y="3347979"/>
                    <a:pt x="10393956" y="3347979"/>
                  </a:cubicBezTo>
                  <a:cubicBezTo>
                    <a:pt x="10319577" y="3347979"/>
                    <a:pt x="10259282" y="3287683"/>
                    <a:pt x="10259282" y="3213304"/>
                  </a:cubicBezTo>
                  <a:cubicBezTo>
                    <a:pt x="10259282" y="3138925"/>
                    <a:pt x="10319577" y="3078629"/>
                    <a:pt x="10393956" y="3078629"/>
                  </a:cubicBezTo>
                  <a:close/>
                  <a:moveTo>
                    <a:pt x="9882080" y="3078629"/>
                  </a:moveTo>
                  <a:cubicBezTo>
                    <a:pt x="9956459" y="3078629"/>
                    <a:pt x="10016755" y="3138925"/>
                    <a:pt x="10016755" y="3213304"/>
                  </a:cubicBezTo>
                  <a:cubicBezTo>
                    <a:pt x="10016755" y="3287683"/>
                    <a:pt x="9956459" y="3347979"/>
                    <a:pt x="9882080" y="3347979"/>
                  </a:cubicBezTo>
                  <a:cubicBezTo>
                    <a:pt x="9807701" y="3347979"/>
                    <a:pt x="9747405" y="3287683"/>
                    <a:pt x="9747405" y="3213304"/>
                  </a:cubicBezTo>
                  <a:cubicBezTo>
                    <a:pt x="9747405" y="3138925"/>
                    <a:pt x="9807701" y="3078629"/>
                    <a:pt x="9882080" y="3078629"/>
                  </a:cubicBezTo>
                  <a:close/>
                  <a:moveTo>
                    <a:pt x="9370014" y="3078629"/>
                  </a:moveTo>
                  <a:cubicBezTo>
                    <a:pt x="9444393" y="3078629"/>
                    <a:pt x="9504688" y="3138925"/>
                    <a:pt x="9504688" y="3213304"/>
                  </a:cubicBezTo>
                  <a:cubicBezTo>
                    <a:pt x="9504688" y="3287683"/>
                    <a:pt x="9444393" y="3347979"/>
                    <a:pt x="9370014" y="3347979"/>
                  </a:cubicBezTo>
                  <a:cubicBezTo>
                    <a:pt x="9295635" y="3347979"/>
                    <a:pt x="9235339" y="3287683"/>
                    <a:pt x="9235339" y="3213304"/>
                  </a:cubicBezTo>
                  <a:cubicBezTo>
                    <a:pt x="9235339" y="3138925"/>
                    <a:pt x="9295635" y="3078629"/>
                    <a:pt x="9370014" y="3078629"/>
                  </a:cubicBezTo>
                  <a:close/>
                  <a:moveTo>
                    <a:pt x="8858136" y="3078629"/>
                  </a:moveTo>
                  <a:cubicBezTo>
                    <a:pt x="8932516" y="3078629"/>
                    <a:pt x="8992811" y="3138925"/>
                    <a:pt x="8992811" y="3213304"/>
                  </a:cubicBezTo>
                  <a:cubicBezTo>
                    <a:pt x="8992811" y="3287683"/>
                    <a:pt x="8932516" y="3347979"/>
                    <a:pt x="8858136" y="3347979"/>
                  </a:cubicBezTo>
                  <a:cubicBezTo>
                    <a:pt x="8783757" y="3347979"/>
                    <a:pt x="8723462" y="3287683"/>
                    <a:pt x="8723462" y="3213304"/>
                  </a:cubicBezTo>
                  <a:cubicBezTo>
                    <a:pt x="8723462" y="3138925"/>
                    <a:pt x="8783757" y="3078629"/>
                    <a:pt x="8858136" y="3078629"/>
                  </a:cubicBezTo>
                  <a:close/>
                  <a:moveTo>
                    <a:pt x="8346071" y="3078629"/>
                  </a:moveTo>
                  <a:cubicBezTo>
                    <a:pt x="8420450" y="3078629"/>
                    <a:pt x="8480746" y="3138925"/>
                    <a:pt x="8480746" y="3213304"/>
                  </a:cubicBezTo>
                  <a:cubicBezTo>
                    <a:pt x="8480746" y="3287683"/>
                    <a:pt x="8420450" y="3347979"/>
                    <a:pt x="8346071" y="3347979"/>
                  </a:cubicBezTo>
                  <a:cubicBezTo>
                    <a:pt x="8271692" y="3347979"/>
                    <a:pt x="8211396" y="3287683"/>
                    <a:pt x="8211396" y="3213304"/>
                  </a:cubicBezTo>
                  <a:cubicBezTo>
                    <a:pt x="8211396" y="3138925"/>
                    <a:pt x="8271692" y="3078629"/>
                    <a:pt x="8346071" y="3078629"/>
                  </a:cubicBezTo>
                  <a:close/>
                  <a:moveTo>
                    <a:pt x="7834194" y="3078629"/>
                  </a:moveTo>
                  <a:cubicBezTo>
                    <a:pt x="7908573" y="3078629"/>
                    <a:pt x="7968868" y="3138925"/>
                    <a:pt x="7968868" y="3213304"/>
                  </a:cubicBezTo>
                  <a:cubicBezTo>
                    <a:pt x="7968868" y="3287683"/>
                    <a:pt x="7908573" y="3347979"/>
                    <a:pt x="7834194" y="3347979"/>
                  </a:cubicBezTo>
                  <a:cubicBezTo>
                    <a:pt x="7759815" y="3347979"/>
                    <a:pt x="7699519" y="3287683"/>
                    <a:pt x="7699519" y="3213304"/>
                  </a:cubicBezTo>
                  <a:cubicBezTo>
                    <a:pt x="7699519" y="3138925"/>
                    <a:pt x="7759815" y="3078629"/>
                    <a:pt x="7834194" y="3078629"/>
                  </a:cubicBezTo>
                  <a:close/>
                  <a:moveTo>
                    <a:pt x="7322127" y="3078629"/>
                  </a:moveTo>
                  <a:cubicBezTo>
                    <a:pt x="7396506" y="3078629"/>
                    <a:pt x="7456802" y="3138925"/>
                    <a:pt x="7456802" y="3213304"/>
                  </a:cubicBezTo>
                  <a:cubicBezTo>
                    <a:pt x="7456802" y="3287683"/>
                    <a:pt x="7396506" y="3347979"/>
                    <a:pt x="7322127" y="3347979"/>
                  </a:cubicBezTo>
                  <a:cubicBezTo>
                    <a:pt x="7247748" y="3347979"/>
                    <a:pt x="7187453" y="3287683"/>
                    <a:pt x="7187453" y="3213304"/>
                  </a:cubicBezTo>
                  <a:cubicBezTo>
                    <a:pt x="7187453" y="3138925"/>
                    <a:pt x="7247748" y="3078629"/>
                    <a:pt x="7322127" y="3078629"/>
                  </a:cubicBezTo>
                  <a:close/>
                  <a:moveTo>
                    <a:pt x="6810062" y="3078629"/>
                  </a:moveTo>
                  <a:cubicBezTo>
                    <a:pt x="6884441" y="3078629"/>
                    <a:pt x="6944736" y="3138925"/>
                    <a:pt x="6944736" y="3213304"/>
                  </a:cubicBezTo>
                  <a:cubicBezTo>
                    <a:pt x="6944736" y="3287683"/>
                    <a:pt x="6884441" y="3347979"/>
                    <a:pt x="6810062" y="3347979"/>
                  </a:cubicBezTo>
                  <a:cubicBezTo>
                    <a:pt x="6735683" y="3347979"/>
                    <a:pt x="6675387" y="3287683"/>
                    <a:pt x="6675387" y="3213304"/>
                  </a:cubicBezTo>
                  <a:cubicBezTo>
                    <a:pt x="6675387" y="3138925"/>
                    <a:pt x="6735683" y="3078629"/>
                    <a:pt x="6810062" y="3078629"/>
                  </a:cubicBezTo>
                  <a:close/>
                  <a:moveTo>
                    <a:pt x="6298186" y="3078629"/>
                  </a:moveTo>
                  <a:cubicBezTo>
                    <a:pt x="6372564" y="3078629"/>
                    <a:pt x="6432860" y="3138925"/>
                    <a:pt x="6432860" y="3213304"/>
                  </a:cubicBezTo>
                  <a:cubicBezTo>
                    <a:pt x="6432860" y="3287683"/>
                    <a:pt x="6372564" y="3347979"/>
                    <a:pt x="6298186" y="3347979"/>
                  </a:cubicBezTo>
                  <a:cubicBezTo>
                    <a:pt x="6223806" y="3347979"/>
                    <a:pt x="6163510" y="3287683"/>
                    <a:pt x="6163510" y="3213304"/>
                  </a:cubicBezTo>
                  <a:cubicBezTo>
                    <a:pt x="6163510" y="3138925"/>
                    <a:pt x="6223806" y="3078629"/>
                    <a:pt x="6298186" y="3078629"/>
                  </a:cubicBezTo>
                  <a:close/>
                  <a:moveTo>
                    <a:pt x="5786126" y="3078629"/>
                  </a:moveTo>
                  <a:cubicBezTo>
                    <a:pt x="5860504" y="3078629"/>
                    <a:pt x="5920794" y="3138925"/>
                    <a:pt x="5920794" y="3213304"/>
                  </a:cubicBezTo>
                  <a:cubicBezTo>
                    <a:pt x="5920794" y="3287683"/>
                    <a:pt x="5860504" y="3347979"/>
                    <a:pt x="5786126" y="3347979"/>
                  </a:cubicBezTo>
                  <a:cubicBezTo>
                    <a:pt x="5711750" y="3347979"/>
                    <a:pt x="5651456" y="3287683"/>
                    <a:pt x="5651456" y="3213304"/>
                  </a:cubicBezTo>
                  <a:cubicBezTo>
                    <a:pt x="5651456" y="3138925"/>
                    <a:pt x="5711750" y="3078629"/>
                    <a:pt x="5786126" y="3078629"/>
                  </a:cubicBezTo>
                  <a:close/>
                  <a:moveTo>
                    <a:pt x="5274270" y="3078629"/>
                  </a:moveTo>
                  <a:cubicBezTo>
                    <a:pt x="5348647" y="3078629"/>
                    <a:pt x="5408941" y="3138925"/>
                    <a:pt x="5408941" y="3213304"/>
                  </a:cubicBezTo>
                  <a:cubicBezTo>
                    <a:pt x="5408941" y="3287683"/>
                    <a:pt x="5348647" y="3347979"/>
                    <a:pt x="5274270" y="3347979"/>
                  </a:cubicBezTo>
                  <a:cubicBezTo>
                    <a:pt x="5199890" y="3347979"/>
                    <a:pt x="5139595" y="3287683"/>
                    <a:pt x="5139595" y="3213304"/>
                  </a:cubicBezTo>
                  <a:cubicBezTo>
                    <a:pt x="5139595" y="3138925"/>
                    <a:pt x="5199890" y="3078629"/>
                    <a:pt x="5274270" y="3078629"/>
                  </a:cubicBezTo>
                  <a:close/>
                  <a:moveTo>
                    <a:pt x="4762180" y="3078629"/>
                  </a:moveTo>
                  <a:cubicBezTo>
                    <a:pt x="4836585" y="3078629"/>
                    <a:pt x="4896897" y="3138925"/>
                    <a:pt x="4896897" y="3213304"/>
                  </a:cubicBezTo>
                  <a:cubicBezTo>
                    <a:pt x="4896897" y="3287683"/>
                    <a:pt x="4836585" y="3347979"/>
                    <a:pt x="4762180" y="3347979"/>
                  </a:cubicBezTo>
                  <a:cubicBezTo>
                    <a:pt x="4687815" y="3347979"/>
                    <a:pt x="4627526" y="3287683"/>
                    <a:pt x="4627526" y="3213304"/>
                  </a:cubicBezTo>
                  <a:cubicBezTo>
                    <a:pt x="4627526" y="3138925"/>
                    <a:pt x="4687815" y="3078629"/>
                    <a:pt x="4762180" y="3078629"/>
                  </a:cubicBezTo>
                  <a:close/>
                  <a:moveTo>
                    <a:pt x="4250316" y="3078629"/>
                  </a:moveTo>
                  <a:cubicBezTo>
                    <a:pt x="4324700" y="3078629"/>
                    <a:pt x="4385000" y="3138925"/>
                    <a:pt x="4385000" y="3213304"/>
                  </a:cubicBezTo>
                  <a:cubicBezTo>
                    <a:pt x="4385000" y="3287683"/>
                    <a:pt x="4324700" y="3347979"/>
                    <a:pt x="4250316" y="3347979"/>
                  </a:cubicBezTo>
                  <a:cubicBezTo>
                    <a:pt x="4175935" y="3347979"/>
                    <a:pt x="4115689" y="3287683"/>
                    <a:pt x="4115689" y="3213304"/>
                  </a:cubicBezTo>
                  <a:cubicBezTo>
                    <a:pt x="4115689" y="3138925"/>
                    <a:pt x="4175935" y="3078629"/>
                    <a:pt x="4250316" y="3078629"/>
                  </a:cubicBezTo>
                  <a:close/>
                  <a:moveTo>
                    <a:pt x="3738289" y="3078629"/>
                  </a:moveTo>
                  <a:cubicBezTo>
                    <a:pt x="3812664" y="3078629"/>
                    <a:pt x="3872963" y="3138925"/>
                    <a:pt x="3872963" y="3213304"/>
                  </a:cubicBezTo>
                  <a:cubicBezTo>
                    <a:pt x="3872963" y="3287683"/>
                    <a:pt x="3812664" y="3347979"/>
                    <a:pt x="3738289" y="3347979"/>
                  </a:cubicBezTo>
                  <a:cubicBezTo>
                    <a:pt x="3663899" y="3347979"/>
                    <a:pt x="3603609" y="3287683"/>
                    <a:pt x="3603609" y="3213304"/>
                  </a:cubicBezTo>
                  <a:cubicBezTo>
                    <a:pt x="3603609" y="3138925"/>
                    <a:pt x="3663899" y="3078629"/>
                    <a:pt x="3738289" y="3078629"/>
                  </a:cubicBezTo>
                  <a:close/>
                  <a:moveTo>
                    <a:pt x="3226242" y="3078629"/>
                  </a:moveTo>
                  <a:cubicBezTo>
                    <a:pt x="3300623" y="3078629"/>
                    <a:pt x="3360931" y="3138925"/>
                    <a:pt x="3360931" y="3213304"/>
                  </a:cubicBezTo>
                  <a:cubicBezTo>
                    <a:pt x="3360931" y="3287683"/>
                    <a:pt x="3300623" y="3347979"/>
                    <a:pt x="3226242" y="3347979"/>
                  </a:cubicBezTo>
                  <a:cubicBezTo>
                    <a:pt x="3151856" y="3347979"/>
                    <a:pt x="3091565" y="3287683"/>
                    <a:pt x="3091565" y="3213304"/>
                  </a:cubicBezTo>
                  <a:cubicBezTo>
                    <a:pt x="3091565" y="3138925"/>
                    <a:pt x="3151856" y="3078629"/>
                    <a:pt x="3226242" y="3078629"/>
                  </a:cubicBezTo>
                  <a:close/>
                  <a:moveTo>
                    <a:pt x="2714363" y="3078629"/>
                  </a:moveTo>
                  <a:cubicBezTo>
                    <a:pt x="2788741" y="3078629"/>
                    <a:pt x="2849039" y="3138925"/>
                    <a:pt x="2849039" y="3213304"/>
                  </a:cubicBezTo>
                  <a:cubicBezTo>
                    <a:pt x="2849039" y="3287683"/>
                    <a:pt x="2788741" y="3347979"/>
                    <a:pt x="2714363" y="3347979"/>
                  </a:cubicBezTo>
                  <a:cubicBezTo>
                    <a:pt x="2639985" y="3347979"/>
                    <a:pt x="2579687" y="3287683"/>
                    <a:pt x="2579687" y="3213304"/>
                  </a:cubicBezTo>
                  <a:cubicBezTo>
                    <a:pt x="2579687" y="3138925"/>
                    <a:pt x="2639985" y="3078629"/>
                    <a:pt x="2714363" y="3078629"/>
                  </a:cubicBezTo>
                  <a:close/>
                  <a:moveTo>
                    <a:pt x="2202306" y="3078629"/>
                  </a:moveTo>
                  <a:cubicBezTo>
                    <a:pt x="2276684" y="3078629"/>
                    <a:pt x="2336978" y="3138925"/>
                    <a:pt x="2336978" y="3213304"/>
                  </a:cubicBezTo>
                  <a:cubicBezTo>
                    <a:pt x="2336978" y="3287683"/>
                    <a:pt x="2276683" y="3347979"/>
                    <a:pt x="2202306" y="3347979"/>
                  </a:cubicBezTo>
                  <a:cubicBezTo>
                    <a:pt x="2127929" y="3347979"/>
                    <a:pt x="2067631" y="3287683"/>
                    <a:pt x="2067631" y="3213304"/>
                  </a:cubicBezTo>
                  <a:cubicBezTo>
                    <a:pt x="2067631" y="3138925"/>
                    <a:pt x="2127929" y="3078629"/>
                    <a:pt x="2202306" y="3078629"/>
                  </a:cubicBezTo>
                  <a:close/>
                  <a:moveTo>
                    <a:pt x="1690413" y="3078629"/>
                  </a:moveTo>
                  <a:cubicBezTo>
                    <a:pt x="1764791" y="3078629"/>
                    <a:pt x="1825086" y="3138925"/>
                    <a:pt x="1825086" y="3213304"/>
                  </a:cubicBezTo>
                  <a:cubicBezTo>
                    <a:pt x="1825086" y="3287683"/>
                    <a:pt x="1764791" y="3347979"/>
                    <a:pt x="1690413" y="3347979"/>
                  </a:cubicBezTo>
                  <a:cubicBezTo>
                    <a:pt x="1616035" y="3347979"/>
                    <a:pt x="1555739" y="3287683"/>
                    <a:pt x="1555739" y="3213304"/>
                  </a:cubicBezTo>
                  <a:cubicBezTo>
                    <a:pt x="1555739" y="3138925"/>
                    <a:pt x="1616035" y="3078629"/>
                    <a:pt x="1690413" y="3078629"/>
                  </a:cubicBezTo>
                  <a:close/>
                  <a:moveTo>
                    <a:pt x="1178354" y="3078629"/>
                  </a:moveTo>
                  <a:cubicBezTo>
                    <a:pt x="1252731" y="3078629"/>
                    <a:pt x="1313027" y="3138925"/>
                    <a:pt x="1313027" y="3213304"/>
                  </a:cubicBezTo>
                  <a:cubicBezTo>
                    <a:pt x="1313027" y="3287683"/>
                    <a:pt x="1252731" y="3347979"/>
                    <a:pt x="1178354" y="3347979"/>
                  </a:cubicBezTo>
                  <a:cubicBezTo>
                    <a:pt x="1103975" y="3347979"/>
                    <a:pt x="1043680" y="3287683"/>
                    <a:pt x="1043680" y="3213304"/>
                  </a:cubicBezTo>
                  <a:cubicBezTo>
                    <a:pt x="1043680" y="3138925"/>
                    <a:pt x="1103975" y="3078629"/>
                    <a:pt x="1178354" y="3078629"/>
                  </a:cubicBezTo>
                  <a:close/>
                  <a:moveTo>
                    <a:pt x="666484" y="3078629"/>
                  </a:moveTo>
                  <a:cubicBezTo>
                    <a:pt x="740861" y="3078629"/>
                    <a:pt x="801157" y="3138925"/>
                    <a:pt x="801157" y="3213304"/>
                  </a:cubicBezTo>
                  <a:cubicBezTo>
                    <a:pt x="801157" y="3287683"/>
                    <a:pt x="740861" y="3347979"/>
                    <a:pt x="666484" y="3347979"/>
                  </a:cubicBezTo>
                  <a:cubicBezTo>
                    <a:pt x="592105" y="3347979"/>
                    <a:pt x="531810" y="3287683"/>
                    <a:pt x="531810" y="3213304"/>
                  </a:cubicBezTo>
                  <a:cubicBezTo>
                    <a:pt x="531810" y="3138925"/>
                    <a:pt x="592105" y="3078629"/>
                    <a:pt x="666484" y="3078629"/>
                  </a:cubicBezTo>
                  <a:close/>
                  <a:moveTo>
                    <a:pt x="154426" y="3078629"/>
                  </a:moveTo>
                  <a:cubicBezTo>
                    <a:pt x="228804" y="3078629"/>
                    <a:pt x="289099" y="3138925"/>
                    <a:pt x="289099" y="3213304"/>
                  </a:cubicBezTo>
                  <a:cubicBezTo>
                    <a:pt x="289099" y="3287683"/>
                    <a:pt x="228804" y="3347979"/>
                    <a:pt x="154426" y="3347979"/>
                  </a:cubicBezTo>
                  <a:cubicBezTo>
                    <a:pt x="80048" y="3347979"/>
                    <a:pt x="19752" y="3287683"/>
                    <a:pt x="19752" y="3213304"/>
                  </a:cubicBezTo>
                  <a:cubicBezTo>
                    <a:pt x="19752" y="3138925"/>
                    <a:pt x="80048" y="3078629"/>
                    <a:pt x="154426" y="3078629"/>
                  </a:cubicBezTo>
                  <a:close/>
                  <a:moveTo>
                    <a:pt x="11929965" y="2638717"/>
                  </a:moveTo>
                  <a:cubicBezTo>
                    <a:pt x="11996520" y="2638717"/>
                    <a:pt x="12050474" y="2692670"/>
                    <a:pt x="12050474" y="2759225"/>
                  </a:cubicBezTo>
                  <a:cubicBezTo>
                    <a:pt x="12050474" y="2825780"/>
                    <a:pt x="11996520" y="2879734"/>
                    <a:pt x="11929965" y="2879734"/>
                  </a:cubicBezTo>
                  <a:cubicBezTo>
                    <a:pt x="11863411" y="2879734"/>
                    <a:pt x="11809457" y="2825780"/>
                    <a:pt x="11809457" y="2759225"/>
                  </a:cubicBezTo>
                  <a:cubicBezTo>
                    <a:pt x="11809457" y="2692670"/>
                    <a:pt x="11863411" y="2638717"/>
                    <a:pt x="11929965" y="2638717"/>
                  </a:cubicBezTo>
                  <a:close/>
                  <a:moveTo>
                    <a:pt x="11417900" y="2638717"/>
                  </a:moveTo>
                  <a:cubicBezTo>
                    <a:pt x="11484454" y="2638717"/>
                    <a:pt x="11538408" y="2692670"/>
                    <a:pt x="11538408" y="2759225"/>
                  </a:cubicBezTo>
                  <a:cubicBezTo>
                    <a:pt x="11538408" y="2825780"/>
                    <a:pt x="11484454" y="2879734"/>
                    <a:pt x="11417900" y="2879734"/>
                  </a:cubicBezTo>
                  <a:cubicBezTo>
                    <a:pt x="11351345" y="2879734"/>
                    <a:pt x="11297391" y="2825780"/>
                    <a:pt x="11297391" y="2759225"/>
                  </a:cubicBezTo>
                  <a:cubicBezTo>
                    <a:pt x="11297391" y="2692670"/>
                    <a:pt x="11351345" y="2638717"/>
                    <a:pt x="11417900" y="2638717"/>
                  </a:cubicBezTo>
                  <a:close/>
                  <a:moveTo>
                    <a:pt x="10906022" y="2638717"/>
                  </a:moveTo>
                  <a:cubicBezTo>
                    <a:pt x="10972576" y="2638717"/>
                    <a:pt x="11026530" y="2692670"/>
                    <a:pt x="11026530" y="2759225"/>
                  </a:cubicBezTo>
                  <a:cubicBezTo>
                    <a:pt x="11026530" y="2825780"/>
                    <a:pt x="10972576" y="2879734"/>
                    <a:pt x="10906022" y="2879734"/>
                  </a:cubicBezTo>
                  <a:cubicBezTo>
                    <a:pt x="10839467" y="2879734"/>
                    <a:pt x="10785513" y="2825780"/>
                    <a:pt x="10785513" y="2759225"/>
                  </a:cubicBezTo>
                  <a:cubicBezTo>
                    <a:pt x="10785513" y="2692670"/>
                    <a:pt x="10839467" y="2638717"/>
                    <a:pt x="10906022" y="2638717"/>
                  </a:cubicBezTo>
                  <a:close/>
                  <a:moveTo>
                    <a:pt x="10393956" y="2638717"/>
                  </a:moveTo>
                  <a:cubicBezTo>
                    <a:pt x="10460511" y="2638717"/>
                    <a:pt x="10514465" y="2692670"/>
                    <a:pt x="10514465" y="2759225"/>
                  </a:cubicBezTo>
                  <a:cubicBezTo>
                    <a:pt x="10514465" y="2825780"/>
                    <a:pt x="10460511" y="2879734"/>
                    <a:pt x="10393956" y="2879734"/>
                  </a:cubicBezTo>
                  <a:cubicBezTo>
                    <a:pt x="10327402" y="2879734"/>
                    <a:pt x="10273448" y="2825780"/>
                    <a:pt x="10273448" y="2759225"/>
                  </a:cubicBezTo>
                  <a:cubicBezTo>
                    <a:pt x="10273448" y="2692670"/>
                    <a:pt x="10327402" y="2638717"/>
                    <a:pt x="10393956" y="2638717"/>
                  </a:cubicBezTo>
                  <a:close/>
                  <a:moveTo>
                    <a:pt x="9882080" y="2638717"/>
                  </a:moveTo>
                  <a:cubicBezTo>
                    <a:pt x="9948634" y="2638717"/>
                    <a:pt x="10002588" y="2692670"/>
                    <a:pt x="10002588" y="2759225"/>
                  </a:cubicBezTo>
                  <a:cubicBezTo>
                    <a:pt x="10002588" y="2825780"/>
                    <a:pt x="9948634" y="2879734"/>
                    <a:pt x="9882080" y="2879734"/>
                  </a:cubicBezTo>
                  <a:cubicBezTo>
                    <a:pt x="9815525" y="2879734"/>
                    <a:pt x="9761571" y="2825780"/>
                    <a:pt x="9761571" y="2759225"/>
                  </a:cubicBezTo>
                  <a:cubicBezTo>
                    <a:pt x="9761571" y="2692670"/>
                    <a:pt x="9815525" y="2638717"/>
                    <a:pt x="9882080" y="2638717"/>
                  </a:cubicBezTo>
                  <a:close/>
                  <a:moveTo>
                    <a:pt x="9370013" y="2638717"/>
                  </a:moveTo>
                  <a:cubicBezTo>
                    <a:pt x="9436568" y="2638717"/>
                    <a:pt x="9490522" y="2692670"/>
                    <a:pt x="9490522" y="2759225"/>
                  </a:cubicBezTo>
                  <a:cubicBezTo>
                    <a:pt x="9490522" y="2825780"/>
                    <a:pt x="9436568" y="2879734"/>
                    <a:pt x="9370013" y="2879734"/>
                  </a:cubicBezTo>
                  <a:cubicBezTo>
                    <a:pt x="9303458" y="2879734"/>
                    <a:pt x="9249505" y="2825780"/>
                    <a:pt x="9249505" y="2759225"/>
                  </a:cubicBezTo>
                  <a:cubicBezTo>
                    <a:pt x="9249505" y="2692670"/>
                    <a:pt x="9303458" y="2638717"/>
                    <a:pt x="9370013" y="2638717"/>
                  </a:cubicBezTo>
                  <a:close/>
                  <a:moveTo>
                    <a:pt x="8858136" y="2638717"/>
                  </a:moveTo>
                  <a:cubicBezTo>
                    <a:pt x="8924691" y="2638717"/>
                    <a:pt x="8978645" y="2692670"/>
                    <a:pt x="8978645" y="2759225"/>
                  </a:cubicBezTo>
                  <a:cubicBezTo>
                    <a:pt x="8978645" y="2825780"/>
                    <a:pt x="8924691" y="2879734"/>
                    <a:pt x="8858136" y="2879734"/>
                  </a:cubicBezTo>
                  <a:cubicBezTo>
                    <a:pt x="8791581" y="2879734"/>
                    <a:pt x="8737628" y="2825780"/>
                    <a:pt x="8737628" y="2759225"/>
                  </a:cubicBezTo>
                  <a:cubicBezTo>
                    <a:pt x="8737628" y="2692670"/>
                    <a:pt x="8791581" y="2638717"/>
                    <a:pt x="8858136" y="2638717"/>
                  </a:cubicBezTo>
                  <a:close/>
                  <a:moveTo>
                    <a:pt x="8346070" y="2638717"/>
                  </a:moveTo>
                  <a:cubicBezTo>
                    <a:pt x="8412626" y="2638717"/>
                    <a:pt x="8466579" y="2692670"/>
                    <a:pt x="8466579" y="2759225"/>
                  </a:cubicBezTo>
                  <a:cubicBezTo>
                    <a:pt x="8466579" y="2825780"/>
                    <a:pt x="8412626" y="2879734"/>
                    <a:pt x="8346070" y="2879734"/>
                  </a:cubicBezTo>
                  <a:cubicBezTo>
                    <a:pt x="8279515" y="2879734"/>
                    <a:pt x="8225562" y="2825780"/>
                    <a:pt x="8225562" y="2759225"/>
                  </a:cubicBezTo>
                  <a:cubicBezTo>
                    <a:pt x="8225562" y="2692670"/>
                    <a:pt x="8279515" y="2638717"/>
                    <a:pt x="8346070" y="2638717"/>
                  </a:cubicBezTo>
                  <a:close/>
                  <a:moveTo>
                    <a:pt x="7834193" y="2638717"/>
                  </a:moveTo>
                  <a:cubicBezTo>
                    <a:pt x="7900748" y="2638717"/>
                    <a:pt x="7954702" y="2692670"/>
                    <a:pt x="7954702" y="2759225"/>
                  </a:cubicBezTo>
                  <a:cubicBezTo>
                    <a:pt x="7954702" y="2825780"/>
                    <a:pt x="7900748" y="2879734"/>
                    <a:pt x="7834193" y="2879734"/>
                  </a:cubicBezTo>
                  <a:cubicBezTo>
                    <a:pt x="7767638" y="2879734"/>
                    <a:pt x="7713685" y="2825780"/>
                    <a:pt x="7713685" y="2759225"/>
                  </a:cubicBezTo>
                  <a:cubicBezTo>
                    <a:pt x="7713685" y="2692670"/>
                    <a:pt x="7767638" y="2638717"/>
                    <a:pt x="7834193" y="2638717"/>
                  </a:cubicBezTo>
                  <a:close/>
                  <a:moveTo>
                    <a:pt x="7322127" y="2638717"/>
                  </a:moveTo>
                  <a:cubicBezTo>
                    <a:pt x="7388682" y="2638717"/>
                    <a:pt x="7442635" y="2692670"/>
                    <a:pt x="7442635" y="2759225"/>
                  </a:cubicBezTo>
                  <a:cubicBezTo>
                    <a:pt x="7442635" y="2825780"/>
                    <a:pt x="7388682" y="2879734"/>
                    <a:pt x="7322127" y="2879734"/>
                  </a:cubicBezTo>
                  <a:cubicBezTo>
                    <a:pt x="7255572" y="2879734"/>
                    <a:pt x="7201619" y="2825780"/>
                    <a:pt x="7201619" y="2759225"/>
                  </a:cubicBezTo>
                  <a:cubicBezTo>
                    <a:pt x="7201619" y="2692670"/>
                    <a:pt x="7255572" y="2638717"/>
                    <a:pt x="7322127" y="2638717"/>
                  </a:cubicBezTo>
                  <a:close/>
                  <a:moveTo>
                    <a:pt x="6810061" y="2638717"/>
                  </a:moveTo>
                  <a:cubicBezTo>
                    <a:pt x="6876616" y="2638717"/>
                    <a:pt x="6930570" y="2692670"/>
                    <a:pt x="6930570" y="2759225"/>
                  </a:cubicBezTo>
                  <a:cubicBezTo>
                    <a:pt x="6930570" y="2825780"/>
                    <a:pt x="6876616" y="2879734"/>
                    <a:pt x="6810061" y="2879734"/>
                  </a:cubicBezTo>
                  <a:cubicBezTo>
                    <a:pt x="6743506" y="2879734"/>
                    <a:pt x="6689553" y="2825780"/>
                    <a:pt x="6689553" y="2759225"/>
                  </a:cubicBezTo>
                  <a:cubicBezTo>
                    <a:pt x="6689553" y="2692670"/>
                    <a:pt x="6743506" y="2638717"/>
                    <a:pt x="6810061" y="2638717"/>
                  </a:cubicBezTo>
                  <a:close/>
                  <a:moveTo>
                    <a:pt x="6298184" y="2638717"/>
                  </a:moveTo>
                  <a:cubicBezTo>
                    <a:pt x="6364739" y="2638717"/>
                    <a:pt x="6418693" y="2692670"/>
                    <a:pt x="6418693" y="2759225"/>
                  </a:cubicBezTo>
                  <a:cubicBezTo>
                    <a:pt x="6418693" y="2825780"/>
                    <a:pt x="6364739" y="2879734"/>
                    <a:pt x="6298184" y="2879734"/>
                  </a:cubicBezTo>
                  <a:cubicBezTo>
                    <a:pt x="6231629" y="2879734"/>
                    <a:pt x="6177677" y="2825780"/>
                    <a:pt x="6177677" y="2759225"/>
                  </a:cubicBezTo>
                  <a:cubicBezTo>
                    <a:pt x="6177677" y="2692670"/>
                    <a:pt x="6231629" y="2638717"/>
                    <a:pt x="6298184" y="2638717"/>
                  </a:cubicBezTo>
                  <a:close/>
                  <a:moveTo>
                    <a:pt x="5786126" y="2638717"/>
                  </a:moveTo>
                  <a:cubicBezTo>
                    <a:pt x="5852678" y="2638717"/>
                    <a:pt x="5906628" y="2692670"/>
                    <a:pt x="5906628" y="2759225"/>
                  </a:cubicBezTo>
                  <a:cubicBezTo>
                    <a:pt x="5906628" y="2825780"/>
                    <a:pt x="5852678" y="2879734"/>
                    <a:pt x="5786126" y="2879734"/>
                  </a:cubicBezTo>
                  <a:cubicBezTo>
                    <a:pt x="5719573" y="2879734"/>
                    <a:pt x="5665623" y="2825780"/>
                    <a:pt x="5665623" y="2759225"/>
                  </a:cubicBezTo>
                  <a:cubicBezTo>
                    <a:pt x="5665623" y="2692670"/>
                    <a:pt x="5719573" y="2638717"/>
                    <a:pt x="5786126" y="2638717"/>
                  </a:cubicBezTo>
                  <a:close/>
                  <a:moveTo>
                    <a:pt x="5274270" y="2638717"/>
                  </a:moveTo>
                  <a:cubicBezTo>
                    <a:pt x="5340824" y="2638717"/>
                    <a:pt x="5394775" y="2692670"/>
                    <a:pt x="5394775" y="2759225"/>
                  </a:cubicBezTo>
                  <a:cubicBezTo>
                    <a:pt x="5394775" y="2825780"/>
                    <a:pt x="5340824" y="2879734"/>
                    <a:pt x="5274270" y="2879734"/>
                  </a:cubicBezTo>
                  <a:cubicBezTo>
                    <a:pt x="5207718" y="2879734"/>
                    <a:pt x="5153767" y="2825780"/>
                    <a:pt x="5153767" y="2759225"/>
                  </a:cubicBezTo>
                  <a:cubicBezTo>
                    <a:pt x="5153767" y="2692670"/>
                    <a:pt x="5207718" y="2638717"/>
                    <a:pt x="5274270" y="2638717"/>
                  </a:cubicBezTo>
                  <a:close/>
                  <a:moveTo>
                    <a:pt x="4762180" y="2638717"/>
                  </a:moveTo>
                  <a:cubicBezTo>
                    <a:pt x="4828758" y="2638717"/>
                    <a:pt x="4882728" y="2692670"/>
                    <a:pt x="4882728" y="2759225"/>
                  </a:cubicBezTo>
                  <a:cubicBezTo>
                    <a:pt x="4882728" y="2825780"/>
                    <a:pt x="4828758" y="2879734"/>
                    <a:pt x="4762180" y="2879734"/>
                  </a:cubicBezTo>
                  <a:cubicBezTo>
                    <a:pt x="4695639" y="2879734"/>
                    <a:pt x="4641689" y="2825780"/>
                    <a:pt x="4641689" y="2759225"/>
                  </a:cubicBezTo>
                  <a:cubicBezTo>
                    <a:pt x="4641689" y="2692670"/>
                    <a:pt x="4695639" y="2638717"/>
                    <a:pt x="4762180" y="2638717"/>
                  </a:cubicBezTo>
                  <a:close/>
                  <a:moveTo>
                    <a:pt x="4250316" y="2638717"/>
                  </a:moveTo>
                  <a:cubicBezTo>
                    <a:pt x="4316876" y="2638717"/>
                    <a:pt x="4370831" y="2692670"/>
                    <a:pt x="4370831" y="2759225"/>
                  </a:cubicBezTo>
                  <a:cubicBezTo>
                    <a:pt x="4370831" y="2825780"/>
                    <a:pt x="4316876" y="2879734"/>
                    <a:pt x="4250316" y="2879734"/>
                  </a:cubicBezTo>
                  <a:cubicBezTo>
                    <a:pt x="4183758" y="2879734"/>
                    <a:pt x="4129855" y="2825780"/>
                    <a:pt x="4129855" y="2759225"/>
                  </a:cubicBezTo>
                  <a:cubicBezTo>
                    <a:pt x="4129855" y="2692670"/>
                    <a:pt x="4183758" y="2638717"/>
                    <a:pt x="4250316" y="2638717"/>
                  </a:cubicBezTo>
                  <a:close/>
                  <a:moveTo>
                    <a:pt x="3738287" y="2638717"/>
                  </a:moveTo>
                  <a:cubicBezTo>
                    <a:pt x="3804840" y="2638717"/>
                    <a:pt x="3858795" y="2692670"/>
                    <a:pt x="3858795" y="2759225"/>
                  </a:cubicBezTo>
                  <a:cubicBezTo>
                    <a:pt x="3858795" y="2825780"/>
                    <a:pt x="3804840" y="2879734"/>
                    <a:pt x="3738287" y="2879734"/>
                  </a:cubicBezTo>
                  <a:cubicBezTo>
                    <a:pt x="3671724" y="2879734"/>
                    <a:pt x="3617773" y="2825780"/>
                    <a:pt x="3617773" y="2759225"/>
                  </a:cubicBezTo>
                  <a:cubicBezTo>
                    <a:pt x="3617773" y="2692670"/>
                    <a:pt x="3671724" y="2638717"/>
                    <a:pt x="3738287" y="2638717"/>
                  </a:cubicBezTo>
                  <a:close/>
                  <a:moveTo>
                    <a:pt x="3226242" y="2638717"/>
                  </a:moveTo>
                  <a:cubicBezTo>
                    <a:pt x="3292801" y="2638717"/>
                    <a:pt x="3346764" y="2692670"/>
                    <a:pt x="3346764" y="2759225"/>
                  </a:cubicBezTo>
                  <a:cubicBezTo>
                    <a:pt x="3346764" y="2825780"/>
                    <a:pt x="3292801" y="2879734"/>
                    <a:pt x="3226242" y="2879734"/>
                  </a:cubicBezTo>
                  <a:cubicBezTo>
                    <a:pt x="3159683" y="2879734"/>
                    <a:pt x="3105731" y="2825780"/>
                    <a:pt x="3105731" y="2759225"/>
                  </a:cubicBezTo>
                  <a:cubicBezTo>
                    <a:pt x="3105731" y="2692670"/>
                    <a:pt x="3159683" y="2638717"/>
                    <a:pt x="3226242" y="2638717"/>
                  </a:cubicBezTo>
                  <a:close/>
                  <a:moveTo>
                    <a:pt x="2714362" y="2638717"/>
                  </a:moveTo>
                  <a:cubicBezTo>
                    <a:pt x="2780917" y="2638717"/>
                    <a:pt x="2834873" y="2692670"/>
                    <a:pt x="2834873" y="2759225"/>
                  </a:cubicBezTo>
                  <a:cubicBezTo>
                    <a:pt x="2834873" y="2825780"/>
                    <a:pt x="2780917" y="2879734"/>
                    <a:pt x="2714362" y="2879734"/>
                  </a:cubicBezTo>
                  <a:cubicBezTo>
                    <a:pt x="2647808" y="2879734"/>
                    <a:pt x="2593854" y="2825780"/>
                    <a:pt x="2593854" y="2759225"/>
                  </a:cubicBezTo>
                  <a:cubicBezTo>
                    <a:pt x="2593854" y="2692670"/>
                    <a:pt x="2647808" y="2638717"/>
                    <a:pt x="2714362" y="2638717"/>
                  </a:cubicBezTo>
                  <a:close/>
                  <a:moveTo>
                    <a:pt x="2202306" y="2638717"/>
                  </a:moveTo>
                  <a:cubicBezTo>
                    <a:pt x="2268862" y="2638717"/>
                    <a:pt x="2322813" y="2692670"/>
                    <a:pt x="2322813" y="2759225"/>
                  </a:cubicBezTo>
                  <a:cubicBezTo>
                    <a:pt x="2322813" y="2825780"/>
                    <a:pt x="2268860" y="2879734"/>
                    <a:pt x="2202306" y="2879734"/>
                  </a:cubicBezTo>
                  <a:cubicBezTo>
                    <a:pt x="2135752" y="2879734"/>
                    <a:pt x="2081795" y="2825780"/>
                    <a:pt x="2081795" y="2759225"/>
                  </a:cubicBezTo>
                  <a:cubicBezTo>
                    <a:pt x="2081795" y="2692670"/>
                    <a:pt x="2135752" y="2638717"/>
                    <a:pt x="2202306" y="2638717"/>
                  </a:cubicBezTo>
                  <a:close/>
                  <a:moveTo>
                    <a:pt x="1690412" y="2638717"/>
                  </a:moveTo>
                  <a:cubicBezTo>
                    <a:pt x="1756967" y="2638717"/>
                    <a:pt x="1810920" y="2692670"/>
                    <a:pt x="1810920" y="2759225"/>
                  </a:cubicBezTo>
                  <a:cubicBezTo>
                    <a:pt x="1810920" y="2825780"/>
                    <a:pt x="1756967" y="2879734"/>
                    <a:pt x="1690412" y="2879734"/>
                  </a:cubicBezTo>
                  <a:cubicBezTo>
                    <a:pt x="1623857" y="2879734"/>
                    <a:pt x="1569905" y="2825780"/>
                    <a:pt x="1569905" y="2759225"/>
                  </a:cubicBezTo>
                  <a:cubicBezTo>
                    <a:pt x="1569905" y="2692670"/>
                    <a:pt x="1623857" y="2638717"/>
                    <a:pt x="1690412" y="2638717"/>
                  </a:cubicBezTo>
                  <a:close/>
                  <a:moveTo>
                    <a:pt x="1178354" y="2638717"/>
                  </a:moveTo>
                  <a:cubicBezTo>
                    <a:pt x="1244908" y="2638717"/>
                    <a:pt x="1298862" y="2692670"/>
                    <a:pt x="1298862" y="2759225"/>
                  </a:cubicBezTo>
                  <a:cubicBezTo>
                    <a:pt x="1298862" y="2825780"/>
                    <a:pt x="1244908" y="2879734"/>
                    <a:pt x="1178354" y="2879734"/>
                  </a:cubicBezTo>
                  <a:cubicBezTo>
                    <a:pt x="1111799" y="2879734"/>
                    <a:pt x="1057846" y="2825780"/>
                    <a:pt x="1057846" y="2759225"/>
                  </a:cubicBezTo>
                  <a:cubicBezTo>
                    <a:pt x="1057846" y="2692670"/>
                    <a:pt x="1111799" y="2638717"/>
                    <a:pt x="1178354" y="2638717"/>
                  </a:cubicBezTo>
                  <a:close/>
                  <a:moveTo>
                    <a:pt x="666483" y="2638717"/>
                  </a:moveTo>
                  <a:cubicBezTo>
                    <a:pt x="733037" y="2638717"/>
                    <a:pt x="786991" y="2692670"/>
                    <a:pt x="786991" y="2759225"/>
                  </a:cubicBezTo>
                  <a:cubicBezTo>
                    <a:pt x="786991" y="2825780"/>
                    <a:pt x="733037" y="2879734"/>
                    <a:pt x="666483" y="2879734"/>
                  </a:cubicBezTo>
                  <a:cubicBezTo>
                    <a:pt x="599928" y="2879734"/>
                    <a:pt x="545976" y="2825780"/>
                    <a:pt x="545976" y="2759225"/>
                  </a:cubicBezTo>
                  <a:cubicBezTo>
                    <a:pt x="545976" y="2692670"/>
                    <a:pt x="599928" y="2638717"/>
                    <a:pt x="666483" y="2638717"/>
                  </a:cubicBezTo>
                  <a:close/>
                  <a:moveTo>
                    <a:pt x="154426" y="2638717"/>
                  </a:moveTo>
                  <a:cubicBezTo>
                    <a:pt x="220980" y="2638717"/>
                    <a:pt x="274934" y="2692670"/>
                    <a:pt x="274934" y="2759225"/>
                  </a:cubicBezTo>
                  <a:cubicBezTo>
                    <a:pt x="274934" y="2825780"/>
                    <a:pt x="220980" y="2879734"/>
                    <a:pt x="154426" y="2879734"/>
                  </a:cubicBezTo>
                  <a:cubicBezTo>
                    <a:pt x="87871" y="2879734"/>
                    <a:pt x="33919" y="2825780"/>
                    <a:pt x="33919" y="2759225"/>
                  </a:cubicBezTo>
                  <a:cubicBezTo>
                    <a:pt x="33919" y="2692670"/>
                    <a:pt x="87871" y="2638717"/>
                    <a:pt x="154426" y="2638717"/>
                  </a:cubicBezTo>
                  <a:close/>
                  <a:moveTo>
                    <a:pt x="11929965" y="2198994"/>
                  </a:moveTo>
                  <a:cubicBezTo>
                    <a:pt x="11988591" y="2198994"/>
                    <a:pt x="12036118" y="2246520"/>
                    <a:pt x="12036118" y="2305147"/>
                  </a:cubicBezTo>
                  <a:cubicBezTo>
                    <a:pt x="12036118" y="2363774"/>
                    <a:pt x="11988591" y="2411300"/>
                    <a:pt x="11929965" y="2411300"/>
                  </a:cubicBezTo>
                  <a:cubicBezTo>
                    <a:pt x="11871339" y="2411300"/>
                    <a:pt x="11823812" y="2363774"/>
                    <a:pt x="11823812" y="2305147"/>
                  </a:cubicBezTo>
                  <a:cubicBezTo>
                    <a:pt x="11823812" y="2246520"/>
                    <a:pt x="11871339" y="2198994"/>
                    <a:pt x="11929965" y="2198994"/>
                  </a:cubicBezTo>
                  <a:close/>
                  <a:moveTo>
                    <a:pt x="11417900" y="2198994"/>
                  </a:moveTo>
                  <a:cubicBezTo>
                    <a:pt x="11476527" y="2198994"/>
                    <a:pt x="11524053" y="2246520"/>
                    <a:pt x="11524053" y="2305147"/>
                  </a:cubicBezTo>
                  <a:cubicBezTo>
                    <a:pt x="11524053" y="2363774"/>
                    <a:pt x="11476527" y="2411300"/>
                    <a:pt x="11417900" y="2411300"/>
                  </a:cubicBezTo>
                  <a:cubicBezTo>
                    <a:pt x="11359274" y="2411300"/>
                    <a:pt x="11311747" y="2363774"/>
                    <a:pt x="11311747" y="2305147"/>
                  </a:cubicBezTo>
                  <a:cubicBezTo>
                    <a:pt x="11311747" y="2246520"/>
                    <a:pt x="11359274" y="2198994"/>
                    <a:pt x="11417900" y="2198994"/>
                  </a:cubicBezTo>
                  <a:close/>
                  <a:moveTo>
                    <a:pt x="10906023" y="2198994"/>
                  </a:moveTo>
                  <a:cubicBezTo>
                    <a:pt x="10964649" y="2198994"/>
                    <a:pt x="11012176" y="2246520"/>
                    <a:pt x="11012176" y="2305147"/>
                  </a:cubicBezTo>
                  <a:cubicBezTo>
                    <a:pt x="11012176" y="2363774"/>
                    <a:pt x="10964649" y="2411300"/>
                    <a:pt x="10906023" y="2411300"/>
                  </a:cubicBezTo>
                  <a:cubicBezTo>
                    <a:pt x="10847396" y="2411300"/>
                    <a:pt x="10799870" y="2363774"/>
                    <a:pt x="10799870" y="2305147"/>
                  </a:cubicBezTo>
                  <a:cubicBezTo>
                    <a:pt x="10799870" y="2246520"/>
                    <a:pt x="10847396" y="2198994"/>
                    <a:pt x="10906023" y="2198994"/>
                  </a:cubicBezTo>
                  <a:close/>
                  <a:moveTo>
                    <a:pt x="10393957" y="2198994"/>
                  </a:moveTo>
                  <a:cubicBezTo>
                    <a:pt x="10452583" y="2198994"/>
                    <a:pt x="10500110" y="2246520"/>
                    <a:pt x="10500110" y="2305147"/>
                  </a:cubicBezTo>
                  <a:cubicBezTo>
                    <a:pt x="10500110" y="2363774"/>
                    <a:pt x="10452583" y="2411300"/>
                    <a:pt x="10393957" y="2411300"/>
                  </a:cubicBezTo>
                  <a:cubicBezTo>
                    <a:pt x="10335331" y="2411300"/>
                    <a:pt x="10287804" y="2363774"/>
                    <a:pt x="10287804" y="2305147"/>
                  </a:cubicBezTo>
                  <a:cubicBezTo>
                    <a:pt x="10287804" y="2246520"/>
                    <a:pt x="10335331" y="2198994"/>
                    <a:pt x="10393957" y="2198994"/>
                  </a:cubicBezTo>
                  <a:close/>
                  <a:moveTo>
                    <a:pt x="9882079" y="2198994"/>
                  </a:moveTo>
                  <a:cubicBezTo>
                    <a:pt x="9940706" y="2198994"/>
                    <a:pt x="9988232" y="2246520"/>
                    <a:pt x="9988232" y="2305147"/>
                  </a:cubicBezTo>
                  <a:cubicBezTo>
                    <a:pt x="9988232" y="2363774"/>
                    <a:pt x="9940706" y="2411300"/>
                    <a:pt x="9882079" y="2411300"/>
                  </a:cubicBezTo>
                  <a:cubicBezTo>
                    <a:pt x="9823453" y="2411300"/>
                    <a:pt x="9775926" y="2363774"/>
                    <a:pt x="9775926" y="2305147"/>
                  </a:cubicBezTo>
                  <a:cubicBezTo>
                    <a:pt x="9775926" y="2246520"/>
                    <a:pt x="9823453" y="2198994"/>
                    <a:pt x="9882079" y="2198994"/>
                  </a:cubicBezTo>
                  <a:close/>
                  <a:moveTo>
                    <a:pt x="9370014" y="2198994"/>
                  </a:moveTo>
                  <a:cubicBezTo>
                    <a:pt x="9428568" y="2198994"/>
                    <a:pt x="9476167" y="2246593"/>
                    <a:pt x="9476167" y="2305147"/>
                  </a:cubicBezTo>
                  <a:cubicBezTo>
                    <a:pt x="9476167" y="2363701"/>
                    <a:pt x="9428568" y="2411300"/>
                    <a:pt x="9370014" y="2411300"/>
                  </a:cubicBezTo>
                  <a:cubicBezTo>
                    <a:pt x="9311460" y="2411300"/>
                    <a:pt x="9263861" y="2363701"/>
                    <a:pt x="9263861" y="2305147"/>
                  </a:cubicBezTo>
                  <a:cubicBezTo>
                    <a:pt x="9263861" y="2246593"/>
                    <a:pt x="9311460" y="2198994"/>
                    <a:pt x="9370014" y="2198994"/>
                  </a:cubicBezTo>
                  <a:close/>
                  <a:moveTo>
                    <a:pt x="8858136" y="2198994"/>
                  </a:moveTo>
                  <a:cubicBezTo>
                    <a:pt x="8916763" y="2198994"/>
                    <a:pt x="8964289" y="2246520"/>
                    <a:pt x="8964289" y="2305147"/>
                  </a:cubicBezTo>
                  <a:cubicBezTo>
                    <a:pt x="8964289" y="2363774"/>
                    <a:pt x="8916762" y="2411300"/>
                    <a:pt x="8858136" y="2411300"/>
                  </a:cubicBezTo>
                  <a:cubicBezTo>
                    <a:pt x="8799509" y="2411300"/>
                    <a:pt x="8751983" y="2363774"/>
                    <a:pt x="8751983" y="2305147"/>
                  </a:cubicBezTo>
                  <a:cubicBezTo>
                    <a:pt x="8751983" y="2246520"/>
                    <a:pt x="8799510" y="2198994"/>
                    <a:pt x="8858136" y="2198994"/>
                  </a:cubicBezTo>
                  <a:close/>
                  <a:moveTo>
                    <a:pt x="8346071" y="2198994"/>
                  </a:moveTo>
                  <a:cubicBezTo>
                    <a:pt x="8404698" y="2198994"/>
                    <a:pt x="8452224" y="2246520"/>
                    <a:pt x="8452224" y="2305147"/>
                  </a:cubicBezTo>
                  <a:cubicBezTo>
                    <a:pt x="8452224" y="2363774"/>
                    <a:pt x="8404698" y="2411300"/>
                    <a:pt x="8346071" y="2411300"/>
                  </a:cubicBezTo>
                  <a:cubicBezTo>
                    <a:pt x="8287444" y="2411300"/>
                    <a:pt x="8239918" y="2363774"/>
                    <a:pt x="8239918" y="2305147"/>
                  </a:cubicBezTo>
                  <a:cubicBezTo>
                    <a:pt x="8239918" y="2246520"/>
                    <a:pt x="8287445" y="2198994"/>
                    <a:pt x="8346071" y="2198994"/>
                  </a:cubicBezTo>
                  <a:close/>
                  <a:moveTo>
                    <a:pt x="7834194" y="2198994"/>
                  </a:moveTo>
                  <a:cubicBezTo>
                    <a:pt x="7892748" y="2198994"/>
                    <a:pt x="7940347" y="2246593"/>
                    <a:pt x="7940347" y="2305147"/>
                  </a:cubicBezTo>
                  <a:cubicBezTo>
                    <a:pt x="7940347" y="2363701"/>
                    <a:pt x="7892748" y="2411300"/>
                    <a:pt x="7834194" y="2411300"/>
                  </a:cubicBezTo>
                  <a:cubicBezTo>
                    <a:pt x="7775640" y="2411300"/>
                    <a:pt x="7728041" y="2363701"/>
                    <a:pt x="7728041" y="2305147"/>
                  </a:cubicBezTo>
                  <a:cubicBezTo>
                    <a:pt x="7728041" y="2246593"/>
                    <a:pt x="7775640" y="2198994"/>
                    <a:pt x="7834194" y="2198994"/>
                  </a:cubicBezTo>
                  <a:close/>
                  <a:moveTo>
                    <a:pt x="7322128" y="2198994"/>
                  </a:moveTo>
                  <a:cubicBezTo>
                    <a:pt x="7380755" y="2198994"/>
                    <a:pt x="7428281" y="2246520"/>
                    <a:pt x="7428281" y="2305147"/>
                  </a:cubicBezTo>
                  <a:cubicBezTo>
                    <a:pt x="7428281" y="2363774"/>
                    <a:pt x="7380755" y="2411300"/>
                    <a:pt x="7322128" y="2411300"/>
                  </a:cubicBezTo>
                  <a:cubicBezTo>
                    <a:pt x="7263501" y="2411300"/>
                    <a:pt x="7215975" y="2363774"/>
                    <a:pt x="7215975" y="2305147"/>
                  </a:cubicBezTo>
                  <a:cubicBezTo>
                    <a:pt x="7215975" y="2246520"/>
                    <a:pt x="7263502" y="2198994"/>
                    <a:pt x="7322128" y="2198994"/>
                  </a:cubicBezTo>
                  <a:close/>
                  <a:moveTo>
                    <a:pt x="6810062" y="2198994"/>
                  </a:moveTo>
                  <a:cubicBezTo>
                    <a:pt x="6868689" y="2198994"/>
                    <a:pt x="6916215" y="2246520"/>
                    <a:pt x="6916215" y="2305147"/>
                  </a:cubicBezTo>
                  <a:cubicBezTo>
                    <a:pt x="6916215" y="2363774"/>
                    <a:pt x="6868688" y="2411300"/>
                    <a:pt x="6810062" y="2411300"/>
                  </a:cubicBezTo>
                  <a:cubicBezTo>
                    <a:pt x="6751435" y="2411300"/>
                    <a:pt x="6703909" y="2363774"/>
                    <a:pt x="6703909" y="2305147"/>
                  </a:cubicBezTo>
                  <a:cubicBezTo>
                    <a:pt x="6703909" y="2246520"/>
                    <a:pt x="6751436" y="2198994"/>
                    <a:pt x="6810062" y="2198994"/>
                  </a:cubicBezTo>
                  <a:close/>
                  <a:moveTo>
                    <a:pt x="6298186" y="2198994"/>
                  </a:moveTo>
                  <a:cubicBezTo>
                    <a:pt x="6356812" y="2198994"/>
                    <a:pt x="6404338" y="2246520"/>
                    <a:pt x="6404338" y="2305147"/>
                  </a:cubicBezTo>
                  <a:cubicBezTo>
                    <a:pt x="6404338" y="2363774"/>
                    <a:pt x="6356812" y="2411300"/>
                    <a:pt x="6298186" y="2411300"/>
                  </a:cubicBezTo>
                  <a:cubicBezTo>
                    <a:pt x="6239558" y="2411300"/>
                    <a:pt x="6192032" y="2363774"/>
                    <a:pt x="6192032" y="2305147"/>
                  </a:cubicBezTo>
                  <a:cubicBezTo>
                    <a:pt x="6192032" y="2246520"/>
                    <a:pt x="6239559" y="2198994"/>
                    <a:pt x="6298186" y="2198994"/>
                  </a:cubicBezTo>
                  <a:close/>
                  <a:moveTo>
                    <a:pt x="5786126" y="2198994"/>
                  </a:moveTo>
                  <a:cubicBezTo>
                    <a:pt x="5844751" y="2198994"/>
                    <a:pt x="5892275" y="2246520"/>
                    <a:pt x="5892275" y="2305147"/>
                  </a:cubicBezTo>
                  <a:cubicBezTo>
                    <a:pt x="5892275" y="2363774"/>
                    <a:pt x="5844751" y="2411300"/>
                    <a:pt x="5786126" y="2411300"/>
                  </a:cubicBezTo>
                  <a:cubicBezTo>
                    <a:pt x="5727502" y="2411300"/>
                    <a:pt x="5679979" y="2363774"/>
                    <a:pt x="5679979" y="2305147"/>
                  </a:cubicBezTo>
                  <a:cubicBezTo>
                    <a:pt x="5679979" y="2246520"/>
                    <a:pt x="5727502" y="2198994"/>
                    <a:pt x="5786126" y="2198994"/>
                  </a:cubicBezTo>
                  <a:close/>
                  <a:moveTo>
                    <a:pt x="5274270" y="2198994"/>
                  </a:moveTo>
                  <a:cubicBezTo>
                    <a:pt x="5332896" y="2198994"/>
                    <a:pt x="5380420" y="2246520"/>
                    <a:pt x="5380420" y="2305147"/>
                  </a:cubicBezTo>
                  <a:cubicBezTo>
                    <a:pt x="5380420" y="2363774"/>
                    <a:pt x="5332895" y="2411300"/>
                    <a:pt x="5274270" y="2411300"/>
                  </a:cubicBezTo>
                  <a:cubicBezTo>
                    <a:pt x="5215644" y="2411300"/>
                    <a:pt x="5168119" y="2363774"/>
                    <a:pt x="5168119" y="2305147"/>
                  </a:cubicBezTo>
                  <a:cubicBezTo>
                    <a:pt x="5168119" y="2246520"/>
                    <a:pt x="5215645" y="2198994"/>
                    <a:pt x="5274270" y="2198994"/>
                  </a:cubicBezTo>
                  <a:close/>
                  <a:moveTo>
                    <a:pt x="4762180" y="2198994"/>
                  </a:moveTo>
                  <a:cubicBezTo>
                    <a:pt x="4820832" y="2198994"/>
                    <a:pt x="4868369" y="2246520"/>
                    <a:pt x="4868369" y="2305147"/>
                  </a:cubicBezTo>
                  <a:cubicBezTo>
                    <a:pt x="4868369" y="2363774"/>
                    <a:pt x="4820832" y="2411300"/>
                    <a:pt x="4762180" y="2411300"/>
                  </a:cubicBezTo>
                  <a:cubicBezTo>
                    <a:pt x="4703568" y="2411300"/>
                    <a:pt x="4656043" y="2363774"/>
                    <a:pt x="4656043" y="2305147"/>
                  </a:cubicBezTo>
                  <a:cubicBezTo>
                    <a:pt x="4656043" y="2246520"/>
                    <a:pt x="4703568" y="2198994"/>
                    <a:pt x="4762180" y="2198994"/>
                  </a:cubicBezTo>
                  <a:close/>
                  <a:moveTo>
                    <a:pt x="4250316" y="2198994"/>
                  </a:moveTo>
                  <a:cubicBezTo>
                    <a:pt x="4308947" y="2198994"/>
                    <a:pt x="4356476" y="2246520"/>
                    <a:pt x="4356476" y="2305147"/>
                  </a:cubicBezTo>
                  <a:cubicBezTo>
                    <a:pt x="4356476" y="2363774"/>
                    <a:pt x="4308947" y="2411300"/>
                    <a:pt x="4250316" y="2411300"/>
                  </a:cubicBezTo>
                  <a:cubicBezTo>
                    <a:pt x="4191688" y="2411300"/>
                    <a:pt x="4144156" y="2363774"/>
                    <a:pt x="4144156" y="2305147"/>
                  </a:cubicBezTo>
                  <a:cubicBezTo>
                    <a:pt x="4144156" y="2246520"/>
                    <a:pt x="4191688" y="2198994"/>
                    <a:pt x="4250316" y="2198994"/>
                  </a:cubicBezTo>
                  <a:close/>
                  <a:moveTo>
                    <a:pt x="3738289" y="2198994"/>
                  </a:moveTo>
                  <a:cubicBezTo>
                    <a:pt x="3796911" y="2198994"/>
                    <a:pt x="3844442" y="2246520"/>
                    <a:pt x="3844442" y="2305147"/>
                  </a:cubicBezTo>
                  <a:cubicBezTo>
                    <a:pt x="3844442" y="2363774"/>
                    <a:pt x="3796911" y="2411300"/>
                    <a:pt x="3738289" y="2411300"/>
                  </a:cubicBezTo>
                  <a:cubicBezTo>
                    <a:pt x="3679655" y="2411300"/>
                    <a:pt x="3632128" y="2363774"/>
                    <a:pt x="3632128" y="2305147"/>
                  </a:cubicBezTo>
                  <a:cubicBezTo>
                    <a:pt x="3632128" y="2246520"/>
                    <a:pt x="3679655" y="2198994"/>
                    <a:pt x="3738289" y="2198994"/>
                  </a:cubicBezTo>
                  <a:close/>
                  <a:moveTo>
                    <a:pt x="3226242" y="2198994"/>
                  </a:moveTo>
                  <a:cubicBezTo>
                    <a:pt x="3284873" y="2198994"/>
                    <a:pt x="3332405" y="2246520"/>
                    <a:pt x="3332405" y="2305147"/>
                  </a:cubicBezTo>
                  <a:cubicBezTo>
                    <a:pt x="3332405" y="2363774"/>
                    <a:pt x="3284873" y="2411300"/>
                    <a:pt x="3226242" y="2411300"/>
                  </a:cubicBezTo>
                  <a:cubicBezTo>
                    <a:pt x="3167617" y="2411300"/>
                    <a:pt x="3120089" y="2363774"/>
                    <a:pt x="3120089" y="2305147"/>
                  </a:cubicBezTo>
                  <a:cubicBezTo>
                    <a:pt x="3120089" y="2246520"/>
                    <a:pt x="3167617" y="2198994"/>
                    <a:pt x="3226242" y="2198994"/>
                  </a:cubicBezTo>
                  <a:close/>
                  <a:moveTo>
                    <a:pt x="2714363" y="2198994"/>
                  </a:moveTo>
                  <a:cubicBezTo>
                    <a:pt x="2772989" y="2198994"/>
                    <a:pt x="2820518" y="2246520"/>
                    <a:pt x="2820518" y="2305147"/>
                  </a:cubicBezTo>
                  <a:cubicBezTo>
                    <a:pt x="2820518" y="2363774"/>
                    <a:pt x="2772989" y="2411300"/>
                    <a:pt x="2714363" y="2411300"/>
                  </a:cubicBezTo>
                  <a:cubicBezTo>
                    <a:pt x="2655735" y="2411300"/>
                    <a:pt x="2608208" y="2363774"/>
                    <a:pt x="2608208" y="2305147"/>
                  </a:cubicBezTo>
                  <a:cubicBezTo>
                    <a:pt x="2608208" y="2246520"/>
                    <a:pt x="2655735" y="2198994"/>
                    <a:pt x="2714363" y="2198994"/>
                  </a:cubicBezTo>
                  <a:close/>
                  <a:moveTo>
                    <a:pt x="2202306" y="2198994"/>
                  </a:moveTo>
                  <a:cubicBezTo>
                    <a:pt x="2260932" y="2198994"/>
                    <a:pt x="2308457" y="2246520"/>
                    <a:pt x="2308457" y="2305147"/>
                  </a:cubicBezTo>
                  <a:cubicBezTo>
                    <a:pt x="2308457" y="2363774"/>
                    <a:pt x="2260932" y="2411300"/>
                    <a:pt x="2202306" y="2411300"/>
                  </a:cubicBezTo>
                  <a:cubicBezTo>
                    <a:pt x="2143679" y="2411300"/>
                    <a:pt x="2096153" y="2363774"/>
                    <a:pt x="2096153" y="2305147"/>
                  </a:cubicBezTo>
                  <a:cubicBezTo>
                    <a:pt x="2096153" y="2246520"/>
                    <a:pt x="2143679" y="2198994"/>
                    <a:pt x="2202306" y="2198994"/>
                  </a:cubicBezTo>
                  <a:close/>
                  <a:moveTo>
                    <a:pt x="1690413" y="2198994"/>
                  </a:moveTo>
                  <a:cubicBezTo>
                    <a:pt x="1749039" y="2198994"/>
                    <a:pt x="1796565" y="2246520"/>
                    <a:pt x="1796565" y="2305147"/>
                  </a:cubicBezTo>
                  <a:cubicBezTo>
                    <a:pt x="1796565" y="2363774"/>
                    <a:pt x="1749039" y="2411300"/>
                    <a:pt x="1690413" y="2411300"/>
                  </a:cubicBezTo>
                  <a:cubicBezTo>
                    <a:pt x="1631786" y="2411300"/>
                    <a:pt x="1584260" y="2363774"/>
                    <a:pt x="1584260" y="2305147"/>
                  </a:cubicBezTo>
                  <a:cubicBezTo>
                    <a:pt x="1584260" y="2246520"/>
                    <a:pt x="1631786" y="2198994"/>
                    <a:pt x="1690413" y="2198994"/>
                  </a:cubicBezTo>
                  <a:close/>
                  <a:moveTo>
                    <a:pt x="1178353" y="2198994"/>
                  </a:moveTo>
                  <a:cubicBezTo>
                    <a:pt x="1236980" y="2198994"/>
                    <a:pt x="1284506" y="2246520"/>
                    <a:pt x="1284506" y="2305147"/>
                  </a:cubicBezTo>
                  <a:cubicBezTo>
                    <a:pt x="1284506" y="2363774"/>
                    <a:pt x="1236980" y="2411300"/>
                    <a:pt x="1178353" y="2411300"/>
                  </a:cubicBezTo>
                  <a:cubicBezTo>
                    <a:pt x="1119727" y="2411300"/>
                    <a:pt x="1072201" y="2363774"/>
                    <a:pt x="1072201" y="2305147"/>
                  </a:cubicBezTo>
                  <a:cubicBezTo>
                    <a:pt x="1072201" y="2246520"/>
                    <a:pt x="1119727" y="2198994"/>
                    <a:pt x="1178353" y="2198994"/>
                  </a:cubicBezTo>
                  <a:close/>
                  <a:moveTo>
                    <a:pt x="666483" y="2198994"/>
                  </a:moveTo>
                  <a:cubicBezTo>
                    <a:pt x="725110" y="2198994"/>
                    <a:pt x="772636" y="2246520"/>
                    <a:pt x="772636" y="2305147"/>
                  </a:cubicBezTo>
                  <a:cubicBezTo>
                    <a:pt x="772636" y="2363774"/>
                    <a:pt x="725110" y="2411300"/>
                    <a:pt x="666483" y="2411300"/>
                  </a:cubicBezTo>
                  <a:cubicBezTo>
                    <a:pt x="607857" y="2411300"/>
                    <a:pt x="560331" y="2363774"/>
                    <a:pt x="560331" y="2305147"/>
                  </a:cubicBezTo>
                  <a:cubicBezTo>
                    <a:pt x="560331" y="2246520"/>
                    <a:pt x="607857" y="2198994"/>
                    <a:pt x="666483" y="2198994"/>
                  </a:cubicBezTo>
                  <a:close/>
                  <a:moveTo>
                    <a:pt x="154426" y="2198994"/>
                  </a:moveTo>
                  <a:cubicBezTo>
                    <a:pt x="213052" y="2198994"/>
                    <a:pt x="260578" y="2246520"/>
                    <a:pt x="260578" y="2305147"/>
                  </a:cubicBezTo>
                  <a:cubicBezTo>
                    <a:pt x="260578" y="2363774"/>
                    <a:pt x="213052" y="2411300"/>
                    <a:pt x="154426" y="2411300"/>
                  </a:cubicBezTo>
                  <a:cubicBezTo>
                    <a:pt x="95799" y="2411300"/>
                    <a:pt x="48274" y="2363774"/>
                    <a:pt x="48274" y="2305147"/>
                  </a:cubicBezTo>
                  <a:cubicBezTo>
                    <a:pt x="48274" y="2246520"/>
                    <a:pt x="95799" y="2198994"/>
                    <a:pt x="154426" y="2198994"/>
                  </a:cubicBezTo>
                  <a:close/>
                  <a:moveTo>
                    <a:pt x="11929966" y="1759082"/>
                  </a:moveTo>
                  <a:cubicBezTo>
                    <a:pt x="11980769" y="1759082"/>
                    <a:pt x="12021952" y="1800266"/>
                    <a:pt x="12021952" y="1851069"/>
                  </a:cubicBezTo>
                  <a:cubicBezTo>
                    <a:pt x="12021952" y="1901872"/>
                    <a:pt x="11980769" y="1943055"/>
                    <a:pt x="11929966" y="1943055"/>
                  </a:cubicBezTo>
                  <a:cubicBezTo>
                    <a:pt x="11879163" y="1943055"/>
                    <a:pt x="11837979" y="1901872"/>
                    <a:pt x="11837979" y="1851069"/>
                  </a:cubicBezTo>
                  <a:cubicBezTo>
                    <a:pt x="11837979" y="1800266"/>
                    <a:pt x="11879163" y="1759082"/>
                    <a:pt x="11929966" y="1759082"/>
                  </a:cubicBezTo>
                  <a:close/>
                  <a:moveTo>
                    <a:pt x="11417900" y="1759082"/>
                  </a:moveTo>
                  <a:cubicBezTo>
                    <a:pt x="11468703" y="1759082"/>
                    <a:pt x="11509887" y="1800266"/>
                    <a:pt x="11509887" y="1851069"/>
                  </a:cubicBezTo>
                  <a:cubicBezTo>
                    <a:pt x="11509887" y="1901872"/>
                    <a:pt x="11468703" y="1943055"/>
                    <a:pt x="11417900" y="1943055"/>
                  </a:cubicBezTo>
                  <a:cubicBezTo>
                    <a:pt x="11367097" y="1943055"/>
                    <a:pt x="11325913" y="1901872"/>
                    <a:pt x="11325913" y="1851069"/>
                  </a:cubicBezTo>
                  <a:cubicBezTo>
                    <a:pt x="11325913" y="1800266"/>
                    <a:pt x="11367097" y="1759082"/>
                    <a:pt x="11417900" y="1759082"/>
                  </a:cubicBezTo>
                  <a:close/>
                  <a:moveTo>
                    <a:pt x="10906023" y="1759082"/>
                  </a:moveTo>
                  <a:cubicBezTo>
                    <a:pt x="10956826" y="1759082"/>
                    <a:pt x="10998010" y="1800266"/>
                    <a:pt x="10998010" y="1851069"/>
                  </a:cubicBezTo>
                  <a:cubicBezTo>
                    <a:pt x="10998010" y="1901872"/>
                    <a:pt x="10956826" y="1943055"/>
                    <a:pt x="10906023" y="1943055"/>
                  </a:cubicBezTo>
                  <a:cubicBezTo>
                    <a:pt x="10855220" y="1943055"/>
                    <a:pt x="10814037" y="1901872"/>
                    <a:pt x="10814037" y="1851069"/>
                  </a:cubicBezTo>
                  <a:cubicBezTo>
                    <a:pt x="10814037" y="1800266"/>
                    <a:pt x="10855220" y="1759082"/>
                    <a:pt x="10906023" y="1759082"/>
                  </a:cubicBezTo>
                  <a:close/>
                  <a:moveTo>
                    <a:pt x="10393957" y="1759082"/>
                  </a:moveTo>
                  <a:cubicBezTo>
                    <a:pt x="10444760" y="1759082"/>
                    <a:pt x="10485943" y="1800266"/>
                    <a:pt x="10485943" y="1851069"/>
                  </a:cubicBezTo>
                  <a:cubicBezTo>
                    <a:pt x="10485943" y="1901872"/>
                    <a:pt x="10444760" y="1943055"/>
                    <a:pt x="10393957" y="1943055"/>
                  </a:cubicBezTo>
                  <a:cubicBezTo>
                    <a:pt x="10343153" y="1943055"/>
                    <a:pt x="10301970" y="1901872"/>
                    <a:pt x="10301970" y="1851069"/>
                  </a:cubicBezTo>
                  <a:cubicBezTo>
                    <a:pt x="10301970" y="1800266"/>
                    <a:pt x="10343153" y="1759082"/>
                    <a:pt x="10393957" y="1759082"/>
                  </a:cubicBezTo>
                  <a:close/>
                  <a:moveTo>
                    <a:pt x="9882080" y="1759082"/>
                  </a:moveTo>
                  <a:cubicBezTo>
                    <a:pt x="9932883" y="1759082"/>
                    <a:pt x="9974067" y="1800266"/>
                    <a:pt x="9974067" y="1851069"/>
                  </a:cubicBezTo>
                  <a:cubicBezTo>
                    <a:pt x="9974067" y="1901872"/>
                    <a:pt x="9932883" y="1943055"/>
                    <a:pt x="9882080" y="1943055"/>
                  </a:cubicBezTo>
                  <a:cubicBezTo>
                    <a:pt x="9831277" y="1943055"/>
                    <a:pt x="9790093" y="1901872"/>
                    <a:pt x="9790093" y="1851069"/>
                  </a:cubicBezTo>
                  <a:cubicBezTo>
                    <a:pt x="9790093" y="1800266"/>
                    <a:pt x="9831277" y="1759082"/>
                    <a:pt x="9882080" y="1759082"/>
                  </a:cubicBezTo>
                  <a:close/>
                  <a:moveTo>
                    <a:pt x="9370014" y="1759082"/>
                  </a:moveTo>
                  <a:cubicBezTo>
                    <a:pt x="9420824" y="1759082"/>
                    <a:pt x="9462000" y="1800259"/>
                    <a:pt x="9462000" y="1851069"/>
                  </a:cubicBezTo>
                  <a:cubicBezTo>
                    <a:pt x="9462000" y="1901879"/>
                    <a:pt x="9420824" y="1943055"/>
                    <a:pt x="9370014" y="1943055"/>
                  </a:cubicBezTo>
                  <a:cubicBezTo>
                    <a:pt x="9319204" y="1943055"/>
                    <a:pt x="9278027" y="1901879"/>
                    <a:pt x="9278027" y="1851069"/>
                  </a:cubicBezTo>
                  <a:cubicBezTo>
                    <a:pt x="9278027" y="1800259"/>
                    <a:pt x="9319204" y="1759082"/>
                    <a:pt x="9370014" y="1759082"/>
                  </a:cubicBezTo>
                  <a:close/>
                  <a:moveTo>
                    <a:pt x="8858137" y="1759082"/>
                  </a:moveTo>
                  <a:cubicBezTo>
                    <a:pt x="8908940" y="1759082"/>
                    <a:pt x="8950123" y="1800266"/>
                    <a:pt x="8950123" y="1851069"/>
                  </a:cubicBezTo>
                  <a:cubicBezTo>
                    <a:pt x="8950123" y="1901872"/>
                    <a:pt x="8908940" y="1943055"/>
                    <a:pt x="8858137" y="1943055"/>
                  </a:cubicBezTo>
                  <a:cubicBezTo>
                    <a:pt x="8807334" y="1943055"/>
                    <a:pt x="8766150" y="1901872"/>
                    <a:pt x="8766150" y="1851069"/>
                  </a:cubicBezTo>
                  <a:cubicBezTo>
                    <a:pt x="8766150" y="1800266"/>
                    <a:pt x="8807334" y="1759082"/>
                    <a:pt x="8858137" y="1759082"/>
                  </a:cubicBezTo>
                  <a:close/>
                  <a:moveTo>
                    <a:pt x="8346071" y="1759082"/>
                  </a:moveTo>
                  <a:cubicBezTo>
                    <a:pt x="8396874" y="1759082"/>
                    <a:pt x="8438058" y="1800266"/>
                    <a:pt x="8438058" y="1851069"/>
                  </a:cubicBezTo>
                  <a:cubicBezTo>
                    <a:pt x="8438058" y="1901872"/>
                    <a:pt x="8396874" y="1943055"/>
                    <a:pt x="8346071" y="1943055"/>
                  </a:cubicBezTo>
                  <a:cubicBezTo>
                    <a:pt x="8295268" y="1943055"/>
                    <a:pt x="8254084" y="1901872"/>
                    <a:pt x="8254084" y="1851069"/>
                  </a:cubicBezTo>
                  <a:cubicBezTo>
                    <a:pt x="8254084" y="1800266"/>
                    <a:pt x="8295268" y="1759082"/>
                    <a:pt x="8346071" y="1759082"/>
                  </a:cubicBezTo>
                  <a:close/>
                  <a:moveTo>
                    <a:pt x="7834005" y="1759082"/>
                  </a:moveTo>
                  <a:cubicBezTo>
                    <a:pt x="7884815" y="1759082"/>
                    <a:pt x="7925992" y="1800259"/>
                    <a:pt x="7925992" y="1851069"/>
                  </a:cubicBezTo>
                  <a:cubicBezTo>
                    <a:pt x="7925992" y="1901879"/>
                    <a:pt x="7884815" y="1943055"/>
                    <a:pt x="7834005" y="1943055"/>
                  </a:cubicBezTo>
                  <a:cubicBezTo>
                    <a:pt x="7783195" y="1943055"/>
                    <a:pt x="7742018" y="1901879"/>
                    <a:pt x="7742018" y="1851069"/>
                  </a:cubicBezTo>
                  <a:cubicBezTo>
                    <a:pt x="7742018" y="1800259"/>
                    <a:pt x="7783195" y="1759082"/>
                    <a:pt x="7834005" y="1759082"/>
                  </a:cubicBezTo>
                  <a:close/>
                  <a:moveTo>
                    <a:pt x="7322128" y="1759082"/>
                  </a:moveTo>
                  <a:cubicBezTo>
                    <a:pt x="7372931" y="1759082"/>
                    <a:pt x="7414115" y="1800266"/>
                    <a:pt x="7414115" y="1851069"/>
                  </a:cubicBezTo>
                  <a:cubicBezTo>
                    <a:pt x="7414115" y="1901872"/>
                    <a:pt x="7372931" y="1943055"/>
                    <a:pt x="7322128" y="1943055"/>
                  </a:cubicBezTo>
                  <a:cubicBezTo>
                    <a:pt x="7271325" y="1943055"/>
                    <a:pt x="7230141" y="1901872"/>
                    <a:pt x="7230141" y="1851069"/>
                  </a:cubicBezTo>
                  <a:cubicBezTo>
                    <a:pt x="7230141" y="1800266"/>
                    <a:pt x="7271325" y="1759082"/>
                    <a:pt x="7322128" y="1759082"/>
                  </a:cubicBezTo>
                  <a:close/>
                  <a:moveTo>
                    <a:pt x="6810062" y="1759082"/>
                  </a:moveTo>
                  <a:cubicBezTo>
                    <a:pt x="6860865" y="1759082"/>
                    <a:pt x="6902048" y="1800266"/>
                    <a:pt x="6902048" y="1851069"/>
                  </a:cubicBezTo>
                  <a:cubicBezTo>
                    <a:pt x="6902048" y="1901872"/>
                    <a:pt x="6860865" y="1943055"/>
                    <a:pt x="6810062" y="1943055"/>
                  </a:cubicBezTo>
                  <a:cubicBezTo>
                    <a:pt x="6759259" y="1943055"/>
                    <a:pt x="6718075" y="1901872"/>
                    <a:pt x="6718075" y="1851069"/>
                  </a:cubicBezTo>
                  <a:cubicBezTo>
                    <a:pt x="6718075" y="1800266"/>
                    <a:pt x="6759259" y="1759082"/>
                    <a:pt x="6810062" y="1759082"/>
                  </a:cubicBezTo>
                  <a:close/>
                  <a:moveTo>
                    <a:pt x="6298186" y="1759082"/>
                  </a:moveTo>
                  <a:cubicBezTo>
                    <a:pt x="6348988" y="1759082"/>
                    <a:pt x="6390172" y="1800266"/>
                    <a:pt x="6390172" y="1851069"/>
                  </a:cubicBezTo>
                  <a:cubicBezTo>
                    <a:pt x="6390172" y="1901872"/>
                    <a:pt x="6348988" y="1943055"/>
                    <a:pt x="6298186" y="1943055"/>
                  </a:cubicBezTo>
                  <a:cubicBezTo>
                    <a:pt x="6247383" y="1943055"/>
                    <a:pt x="6206198" y="1901872"/>
                    <a:pt x="6206198" y="1851069"/>
                  </a:cubicBezTo>
                  <a:cubicBezTo>
                    <a:pt x="6206198" y="1800266"/>
                    <a:pt x="6247383" y="1759082"/>
                    <a:pt x="6298186" y="1759082"/>
                  </a:cubicBezTo>
                  <a:close/>
                  <a:moveTo>
                    <a:pt x="5786126" y="1759082"/>
                  </a:moveTo>
                  <a:cubicBezTo>
                    <a:pt x="5836927" y="1759082"/>
                    <a:pt x="5878110" y="1800266"/>
                    <a:pt x="5878110" y="1851069"/>
                  </a:cubicBezTo>
                  <a:cubicBezTo>
                    <a:pt x="5878110" y="1901872"/>
                    <a:pt x="5836927" y="1943055"/>
                    <a:pt x="5786126" y="1943055"/>
                  </a:cubicBezTo>
                  <a:cubicBezTo>
                    <a:pt x="5735326" y="1943055"/>
                    <a:pt x="5694144" y="1901872"/>
                    <a:pt x="5694144" y="1851069"/>
                  </a:cubicBezTo>
                  <a:cubicBezTo>
                    <a:pt x="5694144" y="1800266"/>
                    <a:pt x="5735326" y="1759082"/>
                    <a:pt x="5786126" y="1759082"/>
                  </a:cubicBezTo>
                  <a:close/>
                  <a:moveTo>
                    <a:pt x="5274270" y="1759082"/>
                  </a:moveTo>
                  <a:cubicBezTo>
                    <a:pt x="5325073" y="1759082"/>
                    <a:pt x="5366255" y="1800266"/>
                    <a:pt x="5366255" y="1851069"/>
                  </a:cubicBezTo>
                  <a:cubicBezTo>
                    <a:pt x="5366255" y="1901872"/>
                    <a:pt x="5325073" y="1943055"/>
                    <a:pt x="5274270" y="1943055"/>
                  </a:cubicBezTo>
                  <a:cubicBezTo>
                    <a:pt x="5223463" y="1943055"/>
                    <a:pt x="5182283" y="1901872"/>
                    <a:pt x="5182283" y="1851069"/>
                  </a:cubicBezTo>
                  <a:cubicBezTo>
                    <a:pt x="5182283" y="1800266"/>
                    <a:pt x="5223463" y="1759082"/>
                    <a:pt x="5274270" y="1759082"/>
                  </a:cubicBezTo>
                  <a:close/>
                  <a:moveTo>
                    <a:pt x="4762180" y="1759082"/>
                  </a:moveTo>
                  <a:cubicBezTo>
                    <a:pt x="4813000" y="1759082"/>
                    <a:pt x="4854198" y="1800266"/>
                    <a:pt x="4854198" y="1851069"/>
                  </a:cubicBezTo>
                  <a:cubicBezTo>
                    <a:pt x="4854198" y="1901872"/>
                    <a:pt x="4813000" y="1943055"/>
                    <a:pt x="4762180" y="1943055"/>
                  </a:cubicBezTo>
                  <a:cubicBezTo>
                    <a:pt x="4711390" y="1943055"/>
                    <a:pt x="4670207" y="1901872"/>
                    <a:pt x="4670207" y="1851069"/>
                  </a:cubicBezTo>
                  <a:cubicBezTo>
                    <a:pt x="4670207" y="1800266"/>
                    <a:pt x="4711390" y="1759082"/>
                    <a:pt x="4762180" y="1759082"/>
                  </a:cubicBezTo>
                  <a:close/>
                  <a:moveTo>
                    <a:pt x="4250316" y="1759082"/>
                  </a:moveTo>
                  <a:cubicBezTo>
                    <a:pt x="4301123" y="1759082"/>
                    <a:pt x="4342309" y="1800266"/>
                    <a:pt x="4342309" y="1851069"/>
                  </a:cubicBezTo>
                  <a:cubicBezTo>
                    <a:pt x="4342309" y="1901872"/>
                    <a:pt x="4301123" y="1943055"/>
                    <a:pt x="4250316" y="1943055"/>
                  </a:cubicBezTo>
                  <a:cubicBezTo>
                    <a:pt x="4199512" y="1943055"/>
                    <a:pt x="4158324" y="1901872"/>
                    <a:pt x="4158324" y="1851069"/>
                  </a:cubicBezTo>
                  <a:cubicBezTo>
                    <a:pt x="4158324" y="1800266"/>
                    <a:pt x="4199512" y="1759082"/>
                    <a:pt x="4250316" y="1759082"/>
                  </a:cubicBezTo>
                  <a:close/>
                  <a:moveTo>
                    <a:pt x="3738289" y="1759082"/>
                  </a:moveTo>
                  <a:cubicBezTo>
                    <a:pt x="3789088" y="1759082"/>
                    <a:pt x="3830274" y="1800266"/>
                    <a:pt x="3830274" y="1851069"/>
                  </a:cubicBezTo>
                  <a:cubicBezTo>
                    <a:pt x="3830274" y="1901872"/>
                    <a:pt x="3789088" y="1943055"/>
                    <a:pt x="3738289" y="1943055"/>
                  </a:cubicBezTo>
                  <a:cubicBezTo>
                    <a:pt x="3687479" y="1943055"/>
                    <a:pt x="3646291" y="1901872"/>
                    <a:pt x="3646291" y="1851069"/>
                  </a:cubicBezTo>
                  <a:cubicBezTo>
                    <a:pt x="3646291" y="1800266"/>
                    <a:pt x="3687479" y="1759082"/>
                    <a:pt x="3738289" y="1759082"/>
                  </a:cubicBezTo>
                  <a:close/>
                  <a:moveTo>
                    <a:pt x="3226242" y="1759082"/>
                  </a:moveTo>
                  <a:cubicBezTo>
                    <a:pt x="3277050" y="1759082"/>
                    <a:pt x="3318235" y="1800266"/>
                    <a:pt x="3318235" y="1851069"/>
                  </a:cubicBezTo>
                  <a:cubicBezTo>
                    <a:pt x="3318235" y="1901872"/>
                    <a:pt x="3277050" y="1943055"/>
                    <a:pt x="3226242" y="1943055"/>
                  </a:cubicBezTo>
                  <a:cubicBezTo>
                    <a:pt x="3175434" y="1943055"/>
                    <a:pt x="3134252" y="1901872"/>
                    <a:pt x="3134252" y="1851069"/>
                  </a:cubicBezTo>
                  <a:cubicBezTo>
                    <a:pt x="3134252" y="1800266"/>
                    <a:pt x="3175434" y="1759082"/>
                    <a:pt x="3226242" y="1759082"/>
                  </a:cubicBezTo>
                  <a:close/>
                  <a:moveTo>
                    <a:pt x="2714363" y="1759082"/>
                  </a:moveTo>
                  <a:cubicBezTo>
                    <a:pt x="2765166" y="1759082"/>
                    <a:pt x="2806350" y="1800266"/>
                    <a:pt x="2806350" y="1851069"/>
                  </a:cubicBezTo>
                  <a:cubicBezTo>
                    <a:pt x="2806350" y="1901872"/>
                    <a:pt x="2765166" y="1943055"/>
                    <a:pt x="2714363" y="1943055"/>
                  </a:cubicBezTo>
                  <a:cubicBezTo>
                    <a:pt x="2663558" y="1943055"/>
                    <a:pt x="2622376" y="1901872"/>
                    <a:pt x="2622376" y="1851069"/>
                  </a:cubicBezTo>
                  <a:cubicBezTo>
                    <a:pt x="2622376" y="1800266"/>
                    <a:pt x="2663558" y="1759082"/>
                    <a:pt x="2714363" y="1759082"/>
                  </a:cubicBezTo>
                  <a:close/>
                  <a:moveTo>
                    <a:pt x="2202305" y="1759082"/>
                  </a:moveTo>
                  <a:cubicBezTo>
                    <a:pt x="2253108" y="1759082"/>
                    <a:pt x="2294291" y="1800266"/>
                    <a:pt x="2294291" y="1851069"/>
                  </a:cubicBezTo>
                  <a:cubicBezTo>
                    <a:pt x="2294291" y="1901872"/>
                    <a:pt x="2253108" y="1943055"/>
                    <a:pt x="2202305" y="1943055"/>
                  </a:cubicBezTo>
                  <a:cubicBezTo>
                    <a:pt x="2151502" y="1943055"/>
                    <a:pt x="2110320" y="1901872"/>
                    <a:pt x="2110320" y="1851069"/>
                  </a:cubicBezTo>
                  <a:cubicBezTo>
                    <a:pt x="2110320" y="1800266"/>
                    <a:pt x="2151502" y="1759082"/>
                    <a:pt x="2202305" y="1759082"/>
                  </a:cubicBezTo>
                  <a:close/>
                  <a:moveTo>
                    <a:pt x="1690412" y="1759082"/>
                  </a:moveTo>
                  <a:cubicBezTo>
                    <a:pt x="1741215" y="1759082"/>
                    <a:pt x="1782398" y="1800266"/>
                    <a:pt x="1782398" y="1851069"/>
                  </a:cubicBezTo>
                  <a:cubicBezTo>
                    <a:pt x="1782398" y="1901872"/>
                    <a:pt x="1741215" y="1943055"/>
                    <a:pt x="1690412" y="1943055"/>
                  </a:cubicBezTo>
                  <a:cubicBezTo>
                    <a:pt x="1639610" y="1943055"/>
                    <a:pt x="1598426" y="1901872"/>
                    <a:pt x="1598426" y="1851069"/>
                  </a:cubicBezTo>
                  <a:cubicBezTo>
                    <a:pt x="1598426" y="1800266"/>
                    <a:pt x="1639610" y="1759082"/>
                    <a:pt x="1690412" y="1759082"/>
                  </a:cubicBezTo>
                  <a:close/>
                  <a:moveTo>
                    <a:pt x="1178353" y="1759082"/>
                  </a:moveTo>
                  <a:cubicBezTo>
                    <a:pt x="1229156" y="1759082"/>
                    <a:pt x="1270339" y="1800266"/>
                    <a:pt x="1270339" y="1851069"/>
                  </a:cubicBezTo>
                  <a:cubicBezTo>
                    <a:pt x="1270339" y="1901872"/>
                    <a:pt x="1229156" y="1943055"/>
                    <a:pt x="1178353" y="1943055"/>
                  </a:cubicBezTo>
                  <a:cubicBezTo>
                    <a:pt x="1127551" y="1943055"/>
                    <a:pt x="1086367" y="1901872"/>
                    <a:pt x="1086367" y="1851069"/>
                  </a:cubicBezTo>
                  <a:cubicBezTo>
                    <a:pt x="1086367" y="1800266"/>
                    <a:pt x="1127551" y="1759082"/>
                    <a:pt x="1178353" y="1759082"/>
                  </a:cubicBezTo>
                  <a:close/>
                  <a:moveTo>
                    <a:pt x="666483" y="1759082"/>
                  </a:moveTo>
                  <a:cubicBezTo>
                    <a:pt x="717286" y="1759082"/>
                    <a:pt x="758469" y="1800266"/>
                    <a:pt x="758469" y="1851069"/>
                  </a:cubicBezTo>
                  <a:cubicBezTo>
                    <a:pt x="758469" y="1901872"/>
                    <a:pt x="717286" y="1943055"/>
                    <a:pt x="666483" y="1943055"/>
                  </a:cubicBezTo>
                  <a:cubicBezTo>
                    <a:pt x="615681" y="1943055"/>
                    <a:pt x="574497" y="1901872"/>
                    <a:pt x="574497" y="1851069"/>
                  </a:cubicBezTo>
                  <a:cubicBezTo>
                    <a:pt x="574497" y="1800266"/>
                    <a:pt x="615681" y="1759082"/>
                    <a:pt x="666483" y="1759082"/>
                  </a:cubicBezTo>
                  <a:close/>
                  <a:moveTo>
                    <a:pt x="154424" y="1759082"/>
                  </a:moveTo>
                  <a:cubicBezTo>
                    <a:pt x="205227" y="1759082"/>
                    <a:pt x="246411" y="1800266"/>
                    <a:pt x="246411" y="1851069"/>
                  </a:cubicBezTo>
                  <a:cubicBezTo>
                    <a:pt x="246411" y="1901872"/>
                    <a:pt x="205227" y="1943055"/>
                    <a:pt x="154424" y="1943055"/>
                  </a:cubicBezTo>
                  <a:cubicBezTo>
                    <a:pt x="103622" y="1943055"/>
                    <a:pt x="62438" y="1901872"/>
                    <a:pt x="62438" y="1851069"/>
                  </a:cubicBezTo>
                  <a:cubicBezTo>
                    <a:pt x="62438" y="1800266"/>
                    <a:pt x="103622" y="1759082"/>
                    <a:pt x="154424" y="1759082"/>
                  </a:cubicBezTo>
                  <a:close/>
                  <a:moveTo>
                    <a:pt x="11929965" y="1319549"/>
                  </a:moveTo>
                  <a:cubicBezTo>
                    <a:pt x="11972840" y="1319549"/>
                    <a:pt x="12007597" y="1354306"/>
                    <a:pt x="12007597" y="1397181"/>
                  </a:cubicBezTo>
                  <a:cubicBezTo>
                    <a:pt x="12007597" y="1440054"/>
                    <a:pt x="11972840" y="1474811"/>
                    <a:pt x="11929965" y="1474811"/>
                  </a:cubicBezTo>
                  <a:cubicBezTo>
                    <a:pt x="11887091" y="1474811"/>
                    <a:pt x="11852334" y="1440054"/>
                    <a:pt x="11852334" y="1397181"/>
                  </a:cubicBezTo>
                  <a:cubicBezTo>
                    <a:pt x="11852334" y="1354306"/>
                    <a:pt x="11887091" y="1319549"/>
                    <a:pt x="11929965" y="1319549"/>
                  </a:cubicBezTo>
                  <a:close/>
                  <a:moveTo>
                    <a:pt x="11417900" y="1319549"/>
                  </a:moveTo>
                  <a:cubicBezTo>
                    <a:pt x="11460775" y="1319549"/>
                    <a:pt x="11495531" y="1354306"/>
                    <a:pt x="11495531" y="1397181"/>
                  </a:cubicBezTo>
                  <a:cubicBezTo>
                    <a:pt x="11495531" y="1440054"/>
                    <a:pt x="11460775" y="1474811"/>
                    <a:pt x="11417900" y="1474811"/>
                  </a:cubicBezTo>
                  <a:cubicBezTo>
                    <a:pt x="11375025" y="1474811"/>
                    <a:pt x="11340268" y="1440054"/>
                    <a:pt x="11340268" y="1397181"/>
                  </a:cubicBezTo>
                  <a:cubicBezTo>
                    <a:pt x="11340268" y="1354306"/>
                    <a:pt x="11375025" y="1319549"/>
                    <a:pt x="11417900" y="1319549"/>
                  </a:cubicBezTo>
                  <a:close/>
                  <a:moveTo>
                    <a:pt x="10906023" y="1319549"/>
                  </a:moveTo>
                  <a:cubicBezTo>
                    <a:pt x="10948898" y="1319549"/>
                    <a:pt x="10983654" y="1354306"/>
                    <a:pt x="10983654" y="1397181"/>
                  </a:cubicBezTo>
                  <a:cubicBezTo>
                    <a:pt x="10983654" y="1440054"/>
                    <a:pt x="10948898" y="1474811"/>
                    <a:pt x="10906023" y="1474811"/>
                  </a:cubicBezTo>
                  <a:cubicBezTo>
                    <a:pt x="10863148" y="1474811"/>
                    <a:pt x="10828392" y="1440054"/>
                    <a:pt x="10828392" y="1397181"/>
                  </a:cubicBezTo>
                  <a:cubicBezTo>
                    <a:pt x="10828392" y="1354306"/>
                    <a:pt x="10863148" y="1319549"/>
                    <a:pt x="10906023" y="1319549"/>
                  </a:cubicBezTo>
                  <a:close/>
                  <a:moveTo>
                    <a:pt x="10393956" y="1319549"/>
                  </a:moveTo>
                  <a:cubicBezTo>
                    <a:pt x="10436831" y="1319549"/>
                    <a:pt x="10471588" y="1354306"/>
                    <a:pt x="10471588" y="1397181"/>
                  </a:cubicBezTo>
                  <a:cubicBezTo>
                    <a:pt x="10471588" y="1440054"/>
                    <a:pt x="10436831" y="1474811"/>
                    <a:pt x="10393956" y="1474811"/>
                  </a:cubicBezTo>
                  <a:cubicBezTo>
                    <a:pt x="10351081" y="1474811"/>
                    <a:pt x="10316325" y="1440054"/>
                    <a:pt x="10316325" y="1397181"/>
                  </a:cubicBezTo>
                  <a:cubicBezTo>
                    <a:pt x="10316325" y="1354306"/>
                    <a:pt x="10351081" y="1319549"/>
                    <a:pt x="10393956" y="1319549"/>
                  </a:cubicBezTo>
                  <a:close/>
                  <a:moveTo>
                    <a:pt x="9882080" y="1319549"/>
                  </a:moveTo>
                  <a:cubicBezTo>
                    <a:pt x="9924955" y="1319549"/>
                    <a:pt x="9959711" y="1354306"/>
                    <a:pt x="9959711" y="1397181"/>
                  </a:cubicBezTo>
                  <a:cubicBezTo>
                    <a:pt x="9959711" y="1440054"/>
                    <a:pt x="9924955" y="1474811"/>
                    <a:pt x="9882080" y="1474811"/>
                  </a:cubicBezTo>
                  <a:cubicBezTo>
                    <a:pt x="9839205" y="1474811"/>
                    <a:pt x="9804449" y="1440054"/>
                    <a:pt x="9804449" y="1397181"/>
                  </a:cubicBezTo>
                  <a:cubicBezTo>
                    <a:pt x="9804449" y="1354306"/>
                    <a:pt x="9839205" y="1319549"/>
                    <a:pt x="9882080" y="1319549"/>
                  </a:cubicBezTo>
                  <a:close/>
                  <a:moveTo>
                    <a:pt x="9370013" y="1319549"/>
                  </a:moveTo>
                  <a:cubicBezTo>
                    <a:pt x="9412890" y="1319549"/>
                    <a:pt x="9447645" y="1354303"/>
                    <a:pt x="9447645" y="1397181"/>
                  </a:cubicBezTo>
                  <a:cubicBezTo>
                    <a:pt x="9447645" y="1440056"/>
                    <a:pt x="9412890" y="1474811"/>
                    <a:pt x="9370013" y="1474811"/>
                  </a:cubicBezTo>
                  <a:cubicBezTo>
                    <a:pt x="9327137" y="1474811"/>
                    <a:pt x="9292382" y="1440056"/>
                    <a:pt x="9292382" y="1397181"/>
                  </a:cubicBezTo>
                  <a:cubicBezTo>
                    <a:pt x="9292382" y="1354303"/>
                    <a:pt x="9327137" y="1319549"/>
                    <a:pt x="9370013" y="1319549"/>
                  </a:cubicBezTo>
                  <a:close/>
                  <a:moveTo>
                    <a:pt x="8858136" y="1319549"/>
                  </a:moveTo>
                  <a:cubicBezTo>
                    <a:pt x="8901013" y="1319549"/>
                    <a:pt x="8935768" y="1354303"/>
                    <a:pt x="8935768" y="1397181"/>
                  </a:cubicBezTo>
                  <a:cubicBezTo>
                    <a:pt x="8935768" y="1440056"/>
                    <a:pt x="8901013" y="1474811"/>
                    <a:pt x="8858136" y="1474811"/>
                  </a:cubicBezTo>
                  <a:cubicBezTo>
                    <a:pt x="8815260" y="1474811"/>
                    <a:pt x="8780505" y="1440056"/>
                    <a:pt x="8780505" y="1397181"/>
                  </a:cubicBezTo>
                  <a:cubicBezTo>
                    <a:pt x="8780505" y="1354303"/>
                    <a:pt x="8815260" y="1319549"/>
                    <a:pt x="8858136" y="1319549"/>
                  </a:cubicBezTo>
                  <a:close/>
                  <a:moveTo>
                    <a:pt x="8346071" y="1319549"/>
                  </a:moveTo>
                  <a:cubicBezTo>
                    <a:pt x="8388947" y="1319549"/>
                    <a:pt x="8423702" y="1354303"/>
                    <a:pt x="8423702" y="1397181"/>
                  </a:cubicBezTo>
                  <a:cubicBezTo>
                    <a:pt x="8423702" y="1440056"/>
                    <a:pt x="8388947" y="1474811"/>
                    <a:pt x="8346071" y="1474811"/>
                  </a:cubicBezTo>
                  <a:cubicBezTo>
                    <a:pt x="8303194" y="1474811"/>
                    <a:pt x="8268439" y="1440056"/>
                    <a:pt x="8268439" y="1397181"/>
                  </a:cubicBezTo>
                  <a:cubicBezTo>
                    <a:pt x="8268439" y="1354303"/>
                    <a:pt x="8303194" y="1319549"/>
                    <a:pt x="8346071" y="1319549"/>
                  </a:cubicBezTo>
                  <a:close/>
                  <a:moveTo>
                    <a:pt x="7834193" y="1319549"/>
                  </a:moveTo>
                  <a:cubicBezTo>
                    <a:pt x="7877070" y="1319549"/>
                    <a:pt x="7911825" y="1354303"/>
                    <a:pt x="7911825" y="1397181"/>
                  </a:cubicBezTo>
                  <a:cubicBezTo>
                    <a:pt x="7911825" y="1440056"/>
                    <a:pt x="7877070" y="1474811"/>
                    <a:pt x="7834193" y="1474811"/>
                  </a:cubicBezTo>
                  <a:cubicBezTo>
                    <a:pt x="7791317" y="1474811"/>
                    <a:pt x="7756562" y="1440056"/>
                    <a:pt x="7756562" y="1397181"/>
                  </a:cubicBezTo>
                  <a:cubicBezTo>
                    <a:pt x="7756562" y="1354303"/>
                    <a:pt x="7791317" y="1319549"/>
                    <a:pt x="7834193" y="1319549"/>
                  </a:cubicBezTo>
                  <a:close/>
                  <a:moveTo>
                    <a:pt x="7322128" y="1319549"/>
                  </a:moveTo>
                  <a:cubicBezTo>
                    <a:pt x="7365004" y="1319549"/>
                    <a:pt x="7399759" y="1354303"/>
                    <a:pt x="7399759" y="1397181"/>
                  </a:cubicBezTo>
                  <a:cubicBezTo>
                    <a:pt x="7399759" y="1440056"/>
                    <a:pt x="7365004" y="1474811"/>
                    <a:pt x="7322128" y="1474811"/>
                  </a:cubicBezTo>
                  <a:cubicBezTo>
                    <a:pt x="7279251" y="1474811"/>
                    <a:pt x="7244496" y="1440056"/>
                    <a:pt x="7244496" y="1397181"/>
                  </a:cubicBezTo>
                  <a:cubicBezTo>
                    <a:pt x="7244496" y="1354303"/>
                    <a:pt x="7279251" y="1319549"/>
                    <a:pt x="7322128" y="1319549"/>
                  </a:cubicBezTo>
                  <a:close/>
                  <a:moveTo>
                    <a:pt x="6810251" y="1319549"/>
                  </a:moveTo>
                  <a:cubicBezTo>
                    <a:pt x="6853127" y="1319549"/>
                    <a:pt x="6887882" y="1354303"/>
                    <a:pt x="6887882" y="1397181"/>
                  </a:cubicBezTo>
                  <a:cubicBezTo>
                    <a:pt x="6887882" y="1440056"/>
                    <a:pt x="6853127" y="1474811"/>
                    <a:pt x="6810251" y="1474811"/>
                  </a:cubicBezTo>
                  <a:cubicBezTo>
                    <a:pt x="6767374" y="1474811"/>
                    <a:pt x="6732619" y="1440056"/>
                    <a:pt x="6732619" y="1397181"/>
                  </a:cubicBezTo>
                  <a:cubicBezTo>
                    <a:pt x="6732619" y="1354303"/>
                    <a:pt x="6767374" y="1319549"/>
                    <a:pt x="6810251" y="1319549"/>
                  </a:cubicBezTo>
                  <a:close/>
                  <a:moveTo>
                    <a:pt x="6298184" y="1319549"/>
                  </a:moveTo>
                  <a:cubicBezTo>
                    <a:pt x="6341061" y="1319549"/>
                    <a:pt x="6375816" y="1354303"/>
                    <a:pt x="6375816" y="1397181"/>
                  </a:cubicBezTo>
                  <a:cubicBezTo>
                    <a:pt x="6375816" y="1440056"/>
                    <a:pt x="6341061" y="1474811"/>
                    <a:pt x="6298184" y="1474811"/>
                  </a:cubicBezTo>
                  <a:cubicBezTo>
                    <a:pt x="6255309" y="1474811"/>
                    <a:pt x="6220554" y="1440056"/>
                    <a:pt x="6220554" y="1397181"/>
                  </a:cubicBezTo>
                  <a:cubicBezTo>
                    <a:pt x="6220554" y="1354303"/>
                    <a:pt x="6255309" y="1319549"/>
                    <a:pt x="6298184" y="1319549"/>
                  </a:cubicBezTo>
                  <a:close/>
                  <a:moveTo>
                    <a:pt x="5786126" y="1319549"/>
                  </a:moveTo>
                  <a:cubicBezTo>
                    <a:pt x="5829001" y="1319549"/>
                    <a:pt x="5863754" y="1354303"/>
                    <a:pt x="5863754" y="1397181"/>
                  </a:cubicBezTo>
                  <a:cubicBezTo>
                    <a:pt x="5863754" y="1440056"/>
                    <a:pt x="5829001" y="1474811"/>
                    <a:pt x="5786126" y="1474811"/>
                  </a:cubicBezTo>
                  <a:cubicBezTo>
                    <a:pt x="5743252" y="1474811"/>
                    <a:pt x="5708497" y="1440056"/>
                    <a:pt x="5708497" y="1397181"/>
                  </a:cubicBezTo>
                  <a:cubicBezTo>
                    <a:pt x="5708497" y="1354303"/>
                    <a:pt x="5743252" y="1319549"/>
                    <a:pt x="5786126" y="1319549"/>
                  </a:cubicBezTo>
                  <a:close/>
                  <a:moveTo>
                    <a:pt x="5274270" y="1319549"/>
                  </a:moveTo>
                  <a:cubicBezTo>
                    <a:pt x="5317143" y="1319549"/>
                    <a:pt x="5351901" y="1354306"/>
                    <a:pt x="5351901" y="1397181"/>
                  </a:cubicBezTo>
                  <a:cubicBezTo>
                    <a:pt x="5351901" y="1440054"/>
                    <a:pt x="5317143" y="1474811"/>
                    <a:pt x="5274270" y="1474811"/>
                  </a:cubicBezTo>
                  <a:cubicBezTo>
                    <a:pt x="5231396" y="1474811"/>
                    <a:pt x="5196640" y="1440054"/>
                    <a:pt x="5196640" y="1397181"/>
                  </a:cubicBezTo>
                  <a:cubicBezTo>
                    <a:pt x="5196640" y="1354306"/>
                    <a:pt x="5231396" y="1319549"/>
                    <a:pt x="5274270" y="1319549"/>
                  </a:cubicBezTo>
                  <a:close/>
                  <a:moveTo>
                    <a:pt x="4762180" y="1319549"/>
                  </a:moveTo>
                  <a:cubicBezTo>
                    <a:pt x="4805070" y="1319549"/>
                    <a:pt x="4839836" y="1354306"/>
                    <a:pt x="4839836" y="1397181"/>
                  </a:cubicBezTo>
                  <a:cubicBezTo>
                    <a:pt x="4839836" y="1440054"/>
                    <a:pt x="4805070" y="1474811"/>
                    <a:pt x="4762180" y="1474811"/>
                  </a:cubicBezTo>
                  <a:cubicBezTo>
                    <a:pt x="4719317" y="1474811"/>
                    <a:pt x="4684568" y="1440054"/>
                    <a:pt x="4684568" y="1397181"/>
                  </a:cubicBezTo>
                  <a:cubicBezTo>
                    <a:pt x="4684568" y="1354306"/>
                    <a:pt x="4719317" y="1319549"/>
                    <a:pt x="4762180" y="1319549"/>
                  </a:cubicBezTo>
                  <a:close/>
                  <a:moveTo>
                    <a:pt x="4250316" y="1319549"/>
                  </a:moveTo>
                  <a:cubicBezTo>
                    <a:pt x="4293194" y="1319549"/>
                    <a:pt x="4327952" y="1354306"/>
                    <a:pt x="4327952" y="1397181"/>
                  </a:cubicBezTo>
                  <a:cubicBezTo>
                    <a:pt x="4327952" y="1440054"/>
                    <a:pt x="4293194" y="1474811"/>
                    <a:pt x="4250316" y="1474811"/>
                  </a:cubicBezTo>
                  <a:cubicBezTo>
                    <a:pt x="4207439" y="1474811"/>
                    <a:pt x="4172680" y="1440054"/>
                    <a:pt x="4172680" y="1397181"/>
                  </a:cubicBezTo>
                  <a:cubicBezTo>
                    <a:pt x="4172680" y="1354306"/>
                    <a:pt x="4207439" y="1319549"/>
                    <a:pt x="4250316" y="1319549"/>
                  </a:cubicBezTo>
                  <a:close/>
                  <a:moveTo>
                    <a:pt x="3738287" y="1319549"/>
                  </a:moveTo>
                  <a:cubicBezTo>
                    <a:pt x="3781162" y="1319549"/>
                    <a:pt x="3815917" y="1354306"/>
                    <a:pt x="3815917" y="1397181"/>
                  </a:cubicBezTo>
                  <a:cubicBezTo>
                    <a:pt x="3815917" y="1440054"/>
                    <a:pt x="3781162" y="1474811"/>
                    <a:pt x="3738287" y="1474811"/>
                  </a:cubicBezTo>
                  <a:cubicBezTo>
                    <a:pt x="3695408" y="1474811"/>
                    <a:pt x="3660647" y="1440054"/>
                    <a:pt x="3660647" y="1397181"/>
                  </a:cubicBezTo>
                  <a:cubicBezTo>
                    <a:pt x="3660647" y="1354306"/>
                    <a:pt x="3695408" y="1319549"/>
                    <a:pt x="3738287" y="1319549"/>
                  </a:cubicBezTo>
                  <a:close/>
                  <a:moveTo>
                    <a:pt x="3226239" y="1319549"/>
                  </a:moveTo>
                  <a:cubicBezTo>
                    <a:pt x="3269119" y="1319549"/>
                    <a:pt x="3303877" y="1354306"/>
                    <a:pt x="3303877" y="1397181"/>
                  </a:cubicBezTo>
                  <a:cubicBezTo>
                    <a:pt x="3303877" y="1440054"/>
                    <a:pt x="3269119" y="1474811"/>
                    <a:pt x="3226239" y="1474811"/>
                  </a:cubicBezTo>
                  <a:cubicBezTo>
                    <a:pt x="3183364" y="1474811"/>
                    <a:pt x="3148605" y="1440054"/>
                    <a:pt x="3148605" y="1397181"/>
                  </a:cubicBezTo>
                  <a:cubicBezTo>
                    <a:pt x="3148605" y="1354306"/>
                    <a:pt x="3183364" y="1319549"/>
                    <a:pt x="3226239" y="1319549"/>
                  </a:cubicBezTo>
                  <a:close/>
                  <a:moveTo>
                    <a:pt x="2714362" y="1319549"/>
                  </a:moveTo>
                  <a:cubicBezTo>
                    <a:pt x="2757237" y="1319549"/>
                    <a:pt x="2791993" y="1354306"/>
                    <a:pt x="2791993" y="1397181"/>
                  </a:cubicBezTo>
                  <a:cubicBezTo>
                    <a:pt x="2791993" y="1440054"/>
                    <a:pt x="2757237" y="1474811"/>
                    <a:pt x="2714362" y="1474811"/>
                  </a:cubicBezTo>
                  <a:cubicBezTo>
                    <a:pt x="2671488" y="1474811"/>
                    <a:pt x="2636733" y="1440054"/>
                    <a:pt x="2636733" y="1397181"/>
                  </a:cubicBezTo>
                  <a:cubicBezTo>
                    <a:pt x="2636733" y="1354306"/>
                    <a:pt x="2671488" y="1319549"/>
                    <a:pt x="2714362" y="1319549"/>
                  </a:cubicBezTo>
                  <a:close/>
                  <a:moveTo>
                    <a:pt x="2202305" y="1319549"/>
                  </a:moveTo>
                  <a:cubicBezTo>
                    <a:pt x="2245179" y="1319549"/>
                    <a:pt x="2279935" y="1354306"/>
                    <a:pt x="2279935" y="1397181"/>
                  </a:cubicBezTo>
                  <a:cubicBezTo>
                    <a:pt x="2279935" y="1440054"/>
                    <a:pt x="2245179" y="1474811"/>
                    <a:pt x="2202305" y="1474811"/>
                  </a:cubicBezTo>
                  <a:cubicBezTo>
                    <a:pt x="2159431" y="1474811"/>
                    <a:pt x="2124675" y="1440054"/>
                    <a:pt x="2124675" y="1397181"/>
                  </a:cubicBezTo>
                  <a:cubicBezTo>
                    <a:pt x="2124675" y="1354306"/>
                    <a:pt x="2159431" y="1319549"/>
                    <a:pt x="2202305" y="1319549"/>
                  </a:cubicBezTo>
                  <a:close/>
                  <a:moveTo>
                    <a:pt x="1690412" y="1319549"/>
                  </a:moveTo>
                  <a:cubicBezTo>
                    <a:pt x="1733286" y="1319549"/>
                    <a:pt x="1768043" y="1354306"/>
                    <a:pt x="1768043" y="1397181"/>
                  </a:cubicBezTo>
                  <a:cubicBezTo>
                    <a:pt x="1768043" y="1440054"/>
                    <a:pt x="1733286" y="1474811"/>
                    <a:pt x="1690412" y="1474811"/>
                  </a:cubicBezTo>
                  <a:cubicBezTo>
                    <a:pt x="1647538" y="1474811"/>
                    <a:pt x="1612781" y="1440054"/>
                    <a:pt x="1612781" y="1397181"/>
                  </a:cubicBezTo>
                  <a:cubicBezTo>
                    <a:pt x="1612781" y="1354306"/>
                    <a:pt x="1647538" y="1319549"/>
                    <a:pt x="1690412" y="1319549"/>
                  </a:cubicBezTo>
                  <a:close/>
                  <a:moveTo>
                    <a:pt x="1178353" y="1319549"/>
                  </a:moveTo>
                  <a:cubicBezTo>
                    <a:pt x="1221227" y="1319549"/>
                    <a:pt x="1255984" y="1354306"/>
                    <a:pt x="1255984" y="1397181"/>
                  </a:cubicBezTo>
                  <a:cubicBezTo>
                    <a:pt x="1255984" y="1440054"/>
                    <a:pt x="1221227" y="1474811"/>
                    <a:pt x="1178353" y="1474811"/>
                  </a:cubicBezTo>
                  <a:cubicBezTo>
                    <a:pt x="1135478" y="1474811"/>
                    <a:pt x="1100722" y="1440054"/>
                    <a:pt x="1100722" y="1397181"/>
                  </a:cubicBezTo>
                  <a:cubicBezTo>
                    <a:pt x="1100722" y="1354306"/>
                    <a:pt x="1135478" y="1319549"/>
                    <a:pt x="1178353" y="1319549"/>
                  </a:cubicBezTo>
                  <a:close/>
                  <a:moveTo>
                    <a:pt x="666483" y="1319549"/>
                  </a:moveTo>
                  <a:cubicBezTo>
                    <a:pt x="709357" y="1319549"/>
                    <a:pt x="744113" y="1354306"/>
                    <a:pt x="744113" y="1397181"/>
                  </a:cubicBezTo>
                  <a:cubicBezTo>
                    <a:pt x="744113" y="1440054"/>
                    <a:pt x="709357" y="1474811"/>
                    <a:pt x="666483" y="1474811"/>
                  </a:cubicBezTo>
                  <a:cubicBezTo>
                    <a:pt x="623608" y="1474811"/>
                    <a:pt x="588852" y="1440054"/>
                    <a:pt x="588852" y="1397181"/>
                  </a:cubicBezTo>
                  <a:cubicBezTo>
                    <a:pt x="588852" y="1354306"/>
                    <a:pt x="623608" y="1319549"/>
                    <a:pt x="666483" y="1319549"/>
                  </a:cubicBezTo>
                  <a:close/>
                  <a:moveTo>
                    <a:pt x="154424" y="1319549"/>
                  </a:moveTo>
                  <a:cubicBezTo>
                    <a:pt x="197298" y="1319549"/>
                    <a:pt x="232055" y="1354306"/>
                    <a:pt x="232055" y="1397181"/>
                  </a:cubicBezTo>
                  <a:cubicBezTo>
                    <a:pt x="232055" y="1440054"/>
                    <a:pt x="197298" y="1474811"/>
                    <a:pt x="154424" y="1474811"/>
                  </a:cubicBezTo>
                  <a:cubicBezTo>
                    <a:pt x="111550" y="1474811"/>
                    <a:pt x="76793" y="1440054"/>
                    <a:pt x="76793" y="1397181"/>
                  </a:cubicBezTo>
                  <a:cubicBezTo>
                    <a:pt x="76793" y="1354306"/>
                    <a:pt x="111550" y="1319549"/>
                    <a:pt x="154424" y="1319549"/>
                  </a:cubicBezTo>
                  <a:close/>
                  <a:moveTo>
                    <a:pt x="11929965" y="879636"/>
                  </a:moveTo>
                  <a:cubicBezTo>
                    <a:pt x="11965016" y="879636"/>
                    <a:pt x="11993430" y="908050"/>
                    <a:pt x="11993430" y="943101"/>
                  </a:cubicBezTo>
                  <a:cubicBezTo>
                    <a:pt x="11993430" y="978153"/>
                    <a:pt x="11965016" y="1006567"/>
                    <a:pt x="11929965" y="1006567"/>
                  </a:cubicBezTo>
                  <a:cubicBezTo>
                    <a:pt x="11894915" y="1006567"/>
                    <a:pt x="11866500" y="978153"/>
                    <a:pt x="11866500" y="943101"/>
                  </a:cubicBezTo>
                  <a:cubicBezTo>
                    <a:pt x="11866500" y="908050"/>
                    <a:pt x="11894915" y="879636"/>
                    <a:pt x="11929965" y="879636"/>
                  </a:cubicBezTo>
                  <a:close/>
                  <a:moveTo>
                    <a:pt x="11417899" y="879636"/>
                  </a:moveTo>
                  <a:cubicBezTo>
                    <a:pt x="11452950" y="879636"/>
                    <a:pt x="11481364" y="908050"/>
                    <a:pt x="11481364" y="943101"/>
                  </a:cubicBezTo>
                  <a:cubicBezTo>
                    <a:pt x="11481364" y="978153"/>
                    <a:pt x="11452950" y="1006567"/>
                    <a:pt x="11417899" y="1006567"/>
                  </a:cubicBezTo>
                  <a:cubicBezTo>
                    <a:pt x="11382849" y="1006567"/>
                    <a:pt x="11354434" y="978153"/>
                    <a:pt x="11354434" y="943101"/>
                  </a:cubicBezTo>
                  <a:cubicBezTo>
                    <a:pt x="11354434" y="908050"/>
                    <a:pt x="11382849" y="879636"/>
                    <a:pt x="11417899" y="879636"/>
                  </a:cubicBezTo>
                  <a:close/>
                  <a:moveTo>
                    <a:pt x="10906023" y="879636"/>
                  </a:moveTo>
                  <a:cubicBezTo>
                    <a:pt x="10941073" y="879636"/>
                    <a:pt x="10969488" y="908050"/>
                    <a:pt x="10969488" y="943101"/>
                  </a:cubicBezTo>
                  <a:cubicBezTo>
                    <a:pt x="10969488" y="978153"/>
                    <a:pt x="10941073" y="1006567"/>
                    <a:pt x="10906023" y="1006567"/>
                  </a:cubicBezTo>
                  <a:cubicBezTo>
                    <a:pt x="10870972" y="1006567"/>
                    <a:pt x="10842558" y="978153"/>
                    <a:pt x="10842558" y="943101"/>
                  </a:cubicBezTo>
                  <a:cubicBezTo>
                    <a:pt x="10842558" y="908050"/>
                    <a:pt x="10870972" y="879636"/>
                    <a:pt x="10906023" y="879636"/>
                  </a:cubicBezTo>
                  <a:close/>
                  <a:moveTo>
                    <a:pt x="10393956" y="879636"/>
                  </a:moveTo>
                  <a:cubicBezTo>
                    <a:pt x="10429006" y="879636"/>
                    <a:pt x="10457421" y="908050"/>
                    <a:pt x="10457421" y="943101"/>
                  </a:cubicBezTo>
                  <a:cubicBezTo>
                    <a:pt x="10457421" y="978153"/>
                    <a:pt x="10429006" y="1006567"/>
                    <a:pt x="10393956" y="1006567"/>
                  </a:cubicBezTo>
                  <a:cubicBezTo>
                    <a:pt x="10358906" y="1006567"/>
                    <a:pt x="10330491" y="978153"/>
                    <a:pt x="10330491" y="943101"/>
                  </a:cubicBezTo>
                  <a:cubicBezTo>
                    <a:pt x="10330491" y="908050"/>
                    <a:pt x="10358906" y="879636"/>
                    <a:pt x="10393956" y="879636"/>
                  </a:cubicBezTo>
                  <a:close/>
                  <a:moveTo>
                    <a:pt x="9882079" y="879636"/>
                  </a:moveTo>
                  <a:cubicBezTo>
                    <a:pt x="9917130" y="879636"/>
                    <a:pt x="9945544" y="908050"/>
                    <a:pt x="9945544" y="943101"/>
                  </a:cubicBezTo>
                  <a:cubicBezTo>
                    <a:pt x="9945544" y="978153"/>
                    <a:pt x="9917130" y="1006567"/>
                    <a:pt x="9882079" y="1006567"/>
                  </a:cubicBezTo>
                  <a:cubicBezTo>
                    <a:pt x="9847029" y="1006567"/>
                    <a:pt x="9818615" y="978153"/>
                    <a:pt x="9818615" y="943101"/>
                  </a:cubicBezTo>
                  <a:cubicBezTo>
                    <a:pt x="9818615" y="908050"/>
                    <a:pt x="9847029" y="879636"/>
                    <a:pt x="9882079" y="879636"/>
                  </a:cubicBezTo>
                  <a:close/>
                  <a:moveTo>
                    <a:pt x="5274270" y="879636"/>
                  </a:moveTo>
                  <a:cubicBezTo>
                    <a:pt x="5309318" y="879636"/>
                    <a:pt x="5337733" y="908050"/>
                    <a:pt x="5337733" y="943101"/>
                  </a:cubicBezTo>
                  <a:cubicBezTo>
                    <a:pt x="5337733" y="978153"/>
                    <a:pt x="5309318" y="1006567"/>
                    <a:pt x="5274270" y="1006567"/>
                  </a:cubicBezTo>
                  <a:cubicBezTo>
                    <a:pt x="5239220" y="1006567"/>
                    <a:pt x="5210807" y="978153"/>
                    <a:pt x="5210807" y="943101"/>
                  </a:cubicBezTo>
                  <a:cubicBezTo>
                    <a:pt x="5210807" y="908050"/>
                    <a:pt x="5239220" y="879636"/>
                    <a:pt x="5274270" y="879636"/>
                  </a:cubicBezTo>
                  <a:close/>
                  <a:moveTo>
                    <a:pt x="4762180" y="879636"/>
                  </a:moveTo>
                  <a:cubicBezTo>
                    <a:pt x="4797244" y="879636"/>
                    <a:pt x="4825668" y="908050"/>
                    <a:pt x="4825668" y="943101"/>
                  </a:cubicBezTo>
                  <a:cubicBezTo>
                    <a:pt x="4825668" y="978153"/>
                    <a:pt x="4797244" y="1006567"/>
                    <a:pt x="4762180" y="1006567"/>
                  </a:cubicBezTo>
                  <a:cubicBezTo>
                    <a:pt x="4727138" y="1006567"/>
                    <a:pt x="4698732" y="978153"/>
                    <a:pt x="4698732" y="943101"/>
                  </a:cubicBezTo>
                  <a:cubicBezTo>
                    <a:pt x="4698732" y="908050"/>
                    <a:pt x="4727138" y="879636"/>
                    <a:pt x="4762180" y="879636"/>
                  </a:cubicBezTo>
                  <a:close/>
                  <a:moveTo>
                    <a:pt x="4250316" y="879636"/>
                  </a:moveTo>
                  <a:cubicBezTo>
                    <a:pt x="4285370" y="879636"/>
                    <a:pt x="4313785" y="908050"/>
                    <a:pt x="4313785" y="943101"/>
                  </a:cubicBezTo>
                  <a:cubicBezTo>
                    <a:pt x="4313785" y="978153"/>
                    <a:pt x="4285370" y="1006567"/>
                    <a:pt x="4250316" y="1006567"/>
                  </a:cubicBezTo>
                  <a:cubicBezTo>
                    <a:pt x="4215264" y="1006567"/>
                    <a:pt x="4186848" y="978153"/>
                    <a:pt x="4186848" y="943101"/>
                  </a:cubicBezTo>
                  <a:cubicBezTo>
                    <a:pt x="4186848" y="908050"/>
                    <a:pt x="4215264" y="879636"/>
                    <a:pt x="4250316" y="879636"/>
                  </a:cubicBezTo>
                  <a:close/>
                  <a:moveTo>
                    <a:pt x="3738289" y="879636"/>
                  </a:moveTo>
                  <a:cubicBezTo>
                    <a:pt x="3773338" y="879636"/>
                    <a:pt x="3801749" y="908050"/>
                    <a:pt x="3801749" y="943101"/>
                  </a:cubicBezTo>
                  <a:cubicBezTo>
                    <a:pt x="3801749" y="978153"/>
                    <a:pt x="3773338" y="1006567"/>
                    <a:pt x="3738289" y="1006567"/>
                  </a:cubicBezTo>
                  <a:cubicBezTo>
                    <a:pt x="3703233" y="1006567"/>
                    <a:pt x="3674814" y="978153"/>
                    <a:pt x="3674814" y="943101"/>
                  </a:cubicBezTo>
                  <a:cubicBezTo>
                    <a:pt x="3674814" y="908050"/>
                    <a:pt x="3703233" y="879636"/>
                    <a:pt x="3738289" y="879636"/>
                  </a:cubicBezTo>
                  <a:close/>
                  <a:moveTo>
                    <a:pt x="3226242" y="879636"/>
                  </a:moveTo>
                  <a:cubicBezTo>
                    <a:pt x="3261296" y="879636"/>
                    <a:pt x="3289709" y="908050"/>
                    <a:pt x="3289709" y="943101"/>
                  </a:cubicBezTo>
                  <a:cubicBezTo>
                    <a:pt x="3289709" y="978153"/>
                    <a:pt x="3261296" y="1006567"/>
                    <a:pt x="3226242" y="1006567"/>
                  </a:cubicBezTo>
                  <a:cubicBezTo>
                    <a:pt x="3191188" y="1006567"/>
                    <a:pt x="3162775" y="978153"/>
                    <a:pt x="3162775" y="943101"/>
                  </a:cubicBezTo>
                  <a:cubicBezTo>
                    <a:pt x="3162775" y="908050"/>
                    <a:pt x="3191188" y="879636"/>
                    <a:pt x="3226242" y="879636"/>
                  </a:cubicBezTo>
                  <a:close/>
                  <a:moveTo>
                    <a:pt x="2714362" y="879636"/>
                  </a:moveTo>
                  <a:cubicBezTo>
                    <a:pt x="2749413" y="879636"/>
                    <a:pt x="2777827" y="908050"/>
                    <a:pt x="2777827" y="943101"/>
                  </a:cubicBezTo>
                  <a:cubicBezTo>
                    <a:pt x="2777827" y="978153"/>
                    <a:pt x="2749413" y="1006567"/>
                    <a:pt x="2714362" y="1006567"/>
                  </a:cubicBezTo>
                  <a:cubicBezTo>
                    <a:pt x="2679313" y="1006567"/>
                    <a:pt x="2650897" y="978153"/>
                    <a:pt x="2650897" y="943101"/>
                  </a:cubicBezTo>
                  <a:cubicBezTo>
                    <a:pt x="2650897" y="908050"/>
                    <a:pt x="2679313" y="879636"/>
                    <a:pt x="2714362" y="879636"/>
                  </a:cubicBezTo>
                  <a:close/>
                  <a:moveTo>
                    <a:pt x="2202305" y="879636"/>
                  </a:moveTo>
                  <a:cubicBezTo>
                    <a:pt x="2237356" y="879636"/>
                    <a:pt x="2265769" y="908050"/>
                    <a:pt x="2265769" y="943101"/>
                  </a:cubicBezTo>
                  <a:cubicBezTo>
                    <a:pt x="2265769" y="978153"/>
                    <a:pt x="2237356" y="1006567"/>
                    <a:pt x="2202305" y="1006567"/>
                  </a:cubicBezTo>
                  <a:cubicBezTo>
                    <a:pt x="2167254" y="1006567"/>
                    <a:pt x="2138841" y="978153"/>
                    <a:pt x="2138841" y="943101"/>
                  </a:cubicBezTo>
                  <a:cubicBezTo>
                    <a:pt x="2138841" y="908050"/>
                    <a:pt x="2167254" y="879636"/>
                    <a:pt x="2202305" y="879636"/>
                  </a:cubicBezTo>
                  <a:close/>
                  <a:moveTo>
                    <a:pt x="1690412" y="879636"/>
                  </a:moveTo>
                  <a:cubicBezTo>
                    <a:pt x="1725463" y="879636"/>
                    <a:pt x="1753877" y="908050"/>
                    <a:pt x="1753877" y="943101"/>
                  </a:cubicBezTo>
                  <a:cubicBezTo>
                    <a:pt x="1753877" y="978153"/>
                    <a:pt x="1725463" y="1006567"/>
                    <a:pt x="1690412" y="1006567"/>
                  </a:cubicBezTo>
                  <a:cubicBezTo>
                    <a:pt x="1655361" y="1006567"/>
                    <a:pt x="1626948" y="978153"/>
                    <a:pt x="1626948" y="943101"/>
                  </a:cubicBezTo>
                  <a:cubicBezTo>
                    <a:pt x="1626948" y="908050"/>
                    <a:pt x="1655361" y="879636"/>
                    <a:pt x="1690412" y="879636"/>
                  </a:cubicBezTo>
                  <a:close/>
                  <a:moveTo>
                    <a:pt x="1178353" y="879636"/>
                  </a:moveTo>
                  <a:cubicBezTo>
                    <a:pt x="1213404" y="879636"/>
                    <a:pt x="1241817" y="908050"/>
                    <a:pt x="1241817" y="943101"/>
                  </a:cubicBezTo>
                  <a:cubicBezTo>
                    <a:pt x="1241817" y="978153"/>
                    <a:pt x="1213404" y="1006567"/>
                    <a:pt x="1178353" y="1006567"/>
                  </a:cubicBezTo>
                  <a:cubicBezTo>
                    <a:pt x="1143302" y="1006567"/>
                    <a:pt x="1114888" y="978153"/>
                    <a:pt x="1114888" y="943101"/>
                  </a:cubicBezTo>
                  <a:cubicBezTo>
                    <a:pt x="1114888" y="908050"/>
                    <a:pt x="1143302" y="879636"/>
                    <a:pt x="1178353" y="879636"/>
                  </a:cubicBezTo>
                  <a:close/>
                  <a:moveTo>
                    <a:pt x="666483" y="879636"/>
                  </a:moveTo>
                  <a:cubicBezTo>
                    <a:pt x="701534" y="879636"/>
                    <a:pt x="729947" y="908050"/>
                    <a:pt x="729947" y="943101"/>
                  </a:cubicBezTo>
                  <a:cubicBezTo>
                    <a:pt x="729947" y="978153"/>
                    <a:pt x="701534" y="1006567"/>
                    <a:pt x="666483" y="1006567"/>
                  </a:cubicBezTo>
                  <a:cubicBezTo>
                    <a:pt x="631432" y="1006567"/>
                    <a:pt x="603018" y="978153"/>
                    <a:pt x="603018" y="943101"/>
                  </a:cubicBezTo>
                  <a:cubicBezTo>
                    <a:pt x="603018" y="908050"/>
                    <a:pt x="631432" y="879636"/>
                    <a:pt x="666483" y="879636"/>
                  </a:cubicBezTo>
                  <a:close/>
                  <a:moveTo>
                    <a:pt x="154424" y="879636"/>
                  </a:moveTo>
                  <a:cubicBezTo>
                    <a:pt x="189475" y="879636"/>
                    <a:pt x="217889" y="908050"/>
                    <a:pt x="217889" y="943101"/>
                  </a:cubicBezTo>
                  <a:cubicBezTo>
                    <a:pt x="217889" y="978153"/>
                    <a:pt x="189475" y="1006567"/>
                    <a:pt x="154424" y="1006567"/>
                  </a:cubicBezTo>
                  <a:cubicBezTo>
                    <a:pt x="119373" y="1006567"/>
                    <a:pt x="90960" y="978153"/>
                    <a:pt x="90960" y="943101"/>
                  </a:cubicBezTo>
                  <a:cubicBezTo>
                    <a:pt x="90960" y="908050"/>
                    <a:pt x="119373" y="879636"/>
                    <a:pt x="154424" y="879636"/>
                  </a:cubicBezTo>
                  <a:close/>
                  <a:moveTo>
                    <a:pt x="9370014" y="879635"/>
                  </a:moveTo>
                  <a:cubicBezTo>
                    <a:pt x="9405147" y="879635"/>
                    <a:pt x="9433479" y="907968"/>
                    <a:pt x="9433479" y="943100"/>
                  </a:cubicBezTo>
                  <a:cubicBezTo>
                    <a:pt x="9433479" y="978044"/>
                    <a:pt x="9405147" y="1006566"/>
                    <a:pt x="9370014" y="1006566"/>
                  </a:cubicBezTo>
                  <a:cubicBezTo>
                    <a:pt x="9334882" y="1006566"/>
                    <a:pt x="9306549" y="978234"/>
                    <a:pt x="9306549" y="943100"/>
                  </a:cubicBezTo>
                  <a:cubicBezTo>
                    <a:pt x="9306549" y="907968"/>
                    <a:pt x="9334882" y="879635"/>
                    <a:pt x="9370014" y="879635"/>
                  </a:cubicBezTo>
                  <a:close/>
                  <a:moveTo>
                    <a:pt x="8857948" y="879635"/>
                  </a:moveTo>
                  <a:cubicBezTo>
                    <a:pt x="8893080" y="879635"/>
                    <a:pt x="8921412" y="907968"/>
                    <a:pt x="8921412" y="943100"/>
                  </a:cubicBezTo>
                  <a:cubicBezTo>
                    <a:pt x="8921412" y="978044"/>
                    <a:pt x="8893080" y="1006566"/>
                    <a:pt x="8857948" y="1006566"/>
                  </a:cubicBezTo>
                  <a:cubicBezTo>
                    <a:pt x="8822815" y="1006566"/>
                    <a:pt x="8794482" y="978234"/>
                    <a:pt x="8794482" y="943100"/>
                  </a:cubicBezTo>
                  <a:cubicBezTo>
                    <a:pt x="8794482" y="907968"/>
                    <a:pt x="8822815" y="879635"/>
                    <a:pt x="8857948" y="879635"/>
                  </a:cubicBezTo>
                  <a:close/>
                  <a:moveTo>
                    <a:pt x="8346071" y="879635"/>
                  </a:moveTo>
                  <a:cubicBezTo>
                    <a:pt x="8381203" y="879635"/>
                    <a:pt x="8409535" y="907968"/>
                    <a:pt x="8409535" y="943100"/>
                  </a:cubicBezTo>
                  <a:cubicBezTo>
                    <a:pt x="8409535" y="978044"/>
                    <a:pt x="8381203" y="1006566"/>
                    <a:pt x="8346071" y="1006566"/>
                  </a:cubicBezTo>
                  <a:cubicBezTo>
                    <a:pt x="8310938" y="1006566"/>
                    <a:pt x="8282605" y="978234"/>
                    <a:pt x="8282605" y="943100"/>
                  </a:cubicBezTo>
                  <a:cubicBezTo>
                    <a:pt x="8282605" y="907968"/>
                    <a:pt x="8310938" y="879635"/>
                    <a:pt x="8346071" y="879635"/>
                  </a:cubicBezTo>
                  <a:close/>
                  <a:moveTo>
                    <a:pt x="7834005" y="879635"/>
                  </a:moveTo>
                  <a:cubicBezTo>
                    <a:pt x="7869138" y="879635"/>
                    <a:pt x="7897470" y="907968"/>
                    <a:pt x="7897470" y="943100"/>
                  </a:cubicBezTo>
                  <a:cubicBezTo>
                    <a:pt x="7897470" y="978044"/>
                    <a:pt x="7869138" y="1006566"/>
                    <a:pt x="7834005" y="1006566"/>
                  </a:cubicBezTo>
                  <a:cubicBezTo>
                    <a:pt x="7798873" y="1006566"/>
                    <a:pt x="7770540" y="978234"/>
                    <a:pt x="7770540" y="943100"/>
                  </a:cubicBezTo>
                  <a:cubicBezTo>
                    <a:pt x="7770540" y="907968"/>
                    <a:pt x="7798873" y="879635"/>
                    <a:pt x="7834005" y="879635"/>
                  </a:cubicBezTo>
                  <a:close/>
                  <a:moveTo>
                    <a:pt x="7322128" y="879635"/>
                  </a:moveTo>
                  <a:cubicBezTo>
                    <a:pt x="7357260" y="879635"/>
                    <a:pt x="7385592" y="907968"/>
                    <a:pt x="7385592" y="943100"/>
                  </a:cubicBezTo>
                  <a:cubicBezTo>
                    <a:pt x="7385592" y="978044"/>
                    <a:pt x="7357260" y="1006566"/>
                    <a:pt x="7322128" y="1006566"/>
                  </a:cubicBezTo>
                  <a:cubicBezTo>
                    <a:pt x="7286995" y="1006566"/>
                    <a:pt x="7258662" y="978234"/>
                    <a:pt x="7258662" y="943100"/>
                  </a:cubicBezTo>
                  <a:cubicBezTo>
                    <a:pt x="7258662" y="907968"/>
                    <a:pt x="7286995" y="879635"/>
                    <a:pt x="7322128" y="879635"/>
                  </a:cubicBezTo>
                  <a:close/>
                  <a:moveTo>
                    <a:pt x="6810062" y="879635"/>
                  </a:moveTo>
                  <a:cubicBezTo>
                    <a:pt x="6845195" y="879635"/>
                    <a:pt x="6873527" y="907968"/>
                    <a:pt x="6873527" y="943100"/>
                  </a:cubicBezTo>
                  <a:cubicBezTo>
                    <a:pt x="6873527" y="978044"/>
                    <a:pt x="6845195" y="1006566"/>
                    <a:pt x="6810062" y="1006566"/>
                  </a:cubicBezTo>
                  <a:cubicBezTo>
                    <a:pt x="6774930" y="1006566"/>
                    <a:pt x="6746597" y="978234"/>
                    <a:pt x="6746597" y="943100"/>
                  </a:cubicBezTo>
                  <a:cubicBezTo>
                    <a:pt x="6746597" y="907968"/>
                    <a:pt x="6774930" y="879635"/>
                    <a:pt x="6810062" y="879635"/>
                  </a:cubicBezTo>
                  <a:close/>
                  <a:moveTo>
                    <a:pt x="6298186" y="879635"/>
                  </a:moveTo>
                  <a:cubicBezTo>
                    <a:pt x="6333318" y="879635"/>
                    <a:pt x="6361650" y="907968"/>
                    <a:pt x="6361650" y="943100"/>
                  </a:cubicBezTo>
                  <a:cubicBezTo>
                    <a:pt x="6361650" y="978044"/>
                    <a:pt x="6333318" y="1006566"/>
                    <a:pt x="6298186" y="1006566"/>
                  </a:cubicBezTo>
                  <a:cubicBezTo>
                    <a:pt x="6263054" y="1006566"/>
                    <a:pt x="6234720" y="978234"/>
                    <a:pt x="6234720" y="943100"/>
                  </a:cubicBezTo>
                  <a:cubicBezTo>
                    <a:pt x="6234720" y="907968"/>
                    <a:pt x="6263054" y="879635"/>
                    <a:pt x="6298186" y="879635"/>
                  </a:cubicBezTo>
                  <a:close/>
                  <a:moveTo>
                    <a:pt x="5786126" y="879635"/>
                  </a:moveTo>
                  <a:cubicBezTo>
                    <a:pt x="5821257" y="879635"/>
                    <a:pt x="5849588" y="907968"/>
                    <a:pt x="5849588" y="943100"/>
                  </a:cubicBezTo>
                  <a:cubicBezTo>
                    <a:pt x="5849588" y="978044"/>
                    <a:pt x="5821257" y="1006566"/>
                    <a:pt x="5786126" y="1006566"/>
                  </a:cubicBezTo>
                  <a:cubicBezTo>
                    <a:pt x="5750994" y="1006566"/>
                    <a:pt x="5722663" y="978234"/>
                    <a:pt x="5722663" y="943100"/>
                  </a:cubicBezTo>
                  <a:cubicBezTo>
                    <a:pt x="5722663" y="907968"/>
                    <a:pt x="5750994" y="879635"/>
                    <a:pt x="5786126" y="879635"/>
                  </a:cubicBezTo>
                  <a:close/>
                  <a:moveTo>
                    <a:pt x="11417900" y="439913"/>
                  </a:moveTo>
                  <a:cubicBezTo>
                    <a:pt x="11445022" y="439913"/>
                    <a:pt x="11467010" y="461900"/>
                    <a:pt x="11467010" y="489022"/>
                  </a:cubicBezTo>
                  <a:cubicBezTo>
                    <a:pt x="11467010" y="516146"/>
                    <a:pt x="11445022" y="538132"/>
                    <a:pt x="11417900" y="538132"/>
                  </a:cubicBezTo>
                  <a:cubicBezTo>
                    <a:pt x="11390778" y="538132"/>
                    <a:pt x="11368791" y="516146"/>
                    <a:pt x="11368791" y="489022"/>
                  </a:cubicBezTo>
                  <a:cubicBezTo>
                    <a:pt x="11368791" y="461900"/>
                    <a:pt x="11390778" y="439913"/>
                    <a:pt x="11417900" y="439913"/>
                  </a:cubicBezTo>
                  <a:close/>
                  <a:moveTo>
                    <a:pt x="10906024" y="439913"/>
                  </a:moveTo>
                  <a:cubicBezTo>
                    <a:pt x="10933146" y="439913"/>
                    <a:pt x="10955133" y="461900"/>
                    <a:pt x="10955133" y="489022"/>
                  </a:cubicBezTo>
                  <a:cubicBezTo>
                    <a:pt x="10955133" y="516146"/>
                    <a:pt x="10933146" y="538132"/>
                    <a:pt x="10906024" y="538132"/>
                  </a:cubicBezTo>
                  <a:cubicBezTo>
                    <a:pt x="10878901" y="538132"/>
                    <a:pt x="10856914" y="516146"/>
                    <a:pt x="10856914" y="489022"/>
                  </a:cubicBezTo>
                  <a:cubicBezTo>
                    <a:pt x="10856914" y="461900"/>
                    <a:pt x="10878901" y="439913"/>
                    <a:pt x="10906024" y="439913"/>
                  </a:cubicBezTo>
                  <a:close/>
                  <a:moveTo>
                    <a:pt x="10393958" y="439913"/>
                  </a:moveTo>
                  <a:cubicBezTo>
                    <a:pt x="10421080" y="439913"/>
                    <a:pt x="10443067" y="461900"/>
                    <a:pt x="10443067" y="489022"/>
                  </a:cubicBezTo>
                  <a:cubicBezTo>
                    <a:pt x="10443067" y="516146"/>
                    <a:pt x="10421080" y="538132"/>
                    <a:pt x="10393958" y="538132"/>
                  </a:cubicBezTo>
                  <a:cubicBezTo>
                    <a:pt x="10366836" y="538132"/>
                    <a:pt x="10344848" y="516146"/>
                    <a:pt x="10344848" y="489022"/>
                  </a:cubicBezTo>
                  <a:cubicBezTo>
                    <a:pt x="10344848" y="461900"/>
                    <a:pt x="10366836" y="439913"/>
                    <a:pt x="10393958" y="439913"/>
                  </a:cubicBezTo>
                  <a:close/>
                  <a:moveTo>
                    <a:pt x="9882080" y="439913"/>
                  </a:moveTo>
                  <a:cubicBezTo>
                    <a:pt x="9909202" y="439913"/>
                    <a:pt x="9931190" y="461900"/>
                    <a:pt x="9931190" y="489022"/>
                  </a:cubicBezTo>
                  <a:cubicBezTo>
                    <a:pt x="9931190" y="516146"/>
                    <a:pt x="9909202" y="538132"/>
                    <a:pt x="9882080" y="538132"/>
                  </a:cubicBezTo>
                  <a:cubicBezTo>
                    <a:pt x="9854958" y="538132"/>
                    <a:pt x="9832971" y="516146"/>
                    <a:pt x="9832971" y="489022"/>
                  </a:cubicBezTo>
                  <a:cubicBezTo>
                    <a:pt x="9832971" y="461900"/>
                    <a:pt x="9854958" y="439913"/>
                    <a:pt x="9882080" y="439913"/>
                  </a:cubicBezTo>
                  <a:close/>
                  <a:moveTo>
                    <a:pt x="9370013" y="439913"/>
                  </a:moveTo>
                  <a:cubicBezTo>
                    <a:pt x="9397023" y="439913"/>
                    <a:pt x="9419123" y="462011"/>
                    <a:pt x="9419123" y="489022"/>
                  </a:cubicBezTo>
                  <a:cubicBezTo>
                    <a:pt x="9419123" y="516221"/>
                    <a:pt x="9397023" y="538132"/>
                    <a:pt x="9370013" y="538132"/>
                  </a:cubicBezTo>
                  <a:cubicBezTo>
                    <a:pt x="9343003" y="538132"/>
                    <a:pt x="9320903" y="516032"/>
                    <a:pt x="9320903" y="489022"/>
                  </a:cubicBezTo>
                  <a:cubicBezTo>
                    <a:pt x="9320903" y="462011"/>
                    <a:pt x="9343003" y="439913"/>
                    <a:pt x="9370013" y="439913"/>
                  </a:cubicBezTo>
                  <a:close/>
                  <a:moveTo>
                    <a:pt x="8858137" y="439913"/>
                  </a:moveTo>
                  <a:cubicBezTo>
                    <a:pt x="8885147" y="439913"/>
                    <a:pt x="8907247" y="462011"/>
                    <a:pt x="8907247" y="489022"/>
                  </a:cubicBezTo>
                  <a:cubicBezTo>
                    <a:pt x="8907247" y="516221"/>
                    <a:pt x="8885147" y="538132"/>
                    <a:pt x="8858137" y="538132"/>
                  </a:cubicBezTo>
                  <a:cubicBezTo>
                    <a:pt x="8831126" y="538132"/>
                    <a:pt x="8809027" y="516032"/>
                    <a:pt x="8809027" y="489022"/>
                  </a:cubicBezTo>
                  <a:cubicBezTo>
                    <a:pt x="8809027" y="462011"/>
                    <a:pt x="8831126" y="439913"/>
                    <a:pt x="8858137" y="439913"/>
                  </a:cubicBezTo>
                  <a:close/>
                  <a:moveTo>
                    <a:pt x="8346071" y="439913"/>
                  </a:moveTo>
                  <a:cubicBezTo>
                    <a:pt x="8373081" y="439913"/>
                    <a:pt x="8395181" y="462011"/>
                    <a:pt x="8395181" y="489022"/>
                  </a:cubicBezTo>
                  <a:cubicBezTo>
                    <a:pt x="8395181" y="516221"/>
                    <a:pt x="8373081" y="538132"/>
                    <a:pt x="8346071" y="538132"/>
                  </a:cubicBezTo>
                  <a:cubicBezTo>
                    <a:pt x="8319061" y="538132"/>
                    <a:pt x="8296961" y="516032"/>
                    <a:pt x="8296961" y="489022"/>
                  </a:cubicBezTo>
                  <a:cubicBezTo>
                    <a:pt x="8296961" y="462011"/>
                    <a:pt x="8319061" y="439913"/>
                    <a:pt x="8346071" y="439913"/>
                  </a:cubicBezTo>
                  <a:close/>
                  <a:moveTo>
                    <a:pt x="7834193" y="439913"/>
                  </a:moveTo>
                  <a:cubicBezTo>
                    <a:pt x="7861203" y="439913"/>
                    <a:pt x="7883303" y="462011"/>
                    <a:pt x="7883303" y="489022"/>
                  </a:cubicBezTo>
                  <a:cubicBezTo>
                    <a:pt x="7883303" y="516221"/>
                    <a:pt x="7861203" y="538132"/>
                    <a:pt x="7834193" y="538132"/>
                  </a:cubicBezTo>
                  <a:cubicBezTo>
                    <a:pt x="7807183" y="538132"/>
                    <a:pt x="7785083" y="516032"/>
                    <a:pt x="7785083" y="489022"/>
                  </a:cubicBezTo>
                  <a:cubicBezTo>
                    <a:pt x="7785083" y="462011"/>
                    <a:pt x="7807183" y="439913"/>
                    <a:pt x="7834193" y="439913"/>
                  </a:cubicBezTo>
                  <a:close/>
                  <a:moveTo>
                    <a:pt x="7322128" y="439913"/>
                  </a:moveTo>
                  <a:cubicBezTo>
                    <a:pt x="7349138" y="439913"/>
                    <a:pt x="7371238" y="462011"/>
                    <a:pt x="7371238" y="489022"/>
                  </a:cubicBezTo>
                  <a:cubicBezTo>
                    <a:pt x="7371238" y="516221"/>
                    <a:pt x="7349138" y="538132"/>
                    <a:pt x="7322128" y="538132"/>
                  </a:cubicBezTo>
                  <a:cubicBezTo>
                    <a:pt x="7295117" y="538132"/>
                    <a:pt x="7273018" y="516032"/>
                    <a:pt x="7273018" y="489022"/>
                  </a:cubicBezTo>
                  <a:cubicBezTo>
                    <a:pt x="7273018" y="462011"/>
                    <a:pt x="7295117" y="439913"/>
                    <a:pt x="7322128" y="439913"/>
                  </a:cubicBezTo>
                  <a:close/>
                  <a:moveTo>
                    <a:pt x="6810251" y="439913"/>
                  </a:moveTo>
                  <a:cubicBezTo>
                    <a:pt x="6837261" y="439913"/>
                    <a:pt x="6859361" y="462011"/>
                    <a:pt x="6859361" y="489022"/>
                  </a:cubicBezTo>
                  <a:cubicBezTo>
                    <a:pt x="6859361" y="516221"/>
                    <a:pt x="6837261" y="538132"/>
                    <a:pt x="6810251" y="538132"/>
                  </a:cubicBezTo>
                  <a:cubicBezTo>
                    <a:pt x="6783241" y="538132"/>
                    <a:pt x="6761141" y="516032"/>
                    <a:pt x="6761141" y="489022"/>
                  </a:cubicBezTo>
                  <a:cubicBezTo>
                    <a:pt x="6761141" y="462011"/>
                    <a:pt x="6783241" y="439913"/>
                    <a:pt x="6810251" y="439913"/>
                  </a:cubicBezTo>
                  <a:close/>
                  <a:moveTo>
                    <a:pt x="6298184" y="439913"/>
                  </a:moveTo>
                  <a:cubicBezTo>
                    <a:pt x="6325195" y="439913"/>
                    <a:pt x="6347295" y="462011"/>
                    <a:pt x="6347295" y="489022"/>
                  </a:cubicBezTo>
                  <a:cubicBezTo>
                    <a:pt x="6347295" y="516221"/>
                    <a:pt x="6325195" y="538132"/>
                    <a:pt x="6298184" y="538132"/>
                  </a:cubicBezTo>
                  <a:cubicBezTo>
                    <a:pt x="6271175" y="538132"/>
                    <a:pt x="6249074" y="516032"/>
                    <a:pt x="6249074" y="489022"/>
                  </a:cubicBezTo>
                  <a:cubicBezTo>
                    <a:pt x="6249074" y="462011"/>
                    <a:pt x="6271175" y="439913"/>
                    <a:pt x="6298184" y="439913"/>
                  </a:cubicBezTo>
                  <a:close/>
                  <a:moveTo>
                    <a:pt x="5786315" y="439913"/>
                  </a:moveTo>
                  <a:cubicBezTo>
                    <a:pt x="5813325" y="439913"/>
                    <a:pt x="5835423" y="462011"/>
                    <a:pt x="5835423" y="489022"/>
                  </a:cubicBezTo>
                  <a:cubicBezTo>
                    <a:pt x="5835423" y="516221"/>
                    <a:pt x="5813325" y="538132"/>
                    <a:pt x="5786315" y="538132"/>
                  </a:cubicBezTo>
                  <a:cubicBezTo>
                    <a:pt x="5759305" y="538132"/>
                    <a:pt x="5737207" y="516032"/>
                    <a:pt x="5737207" y="489022"/>
                  </a:cubicBezTo>
                  <a:cubicBezTo>
                    <a:pt x="5737207" y="462011"/>
                    <a:pt x="5759305" y="439913"/>
                    <a:pt x="5786315" y="439913"/>
                  </a:cubicBezTo>
                  <a:close/>
                  <a:moveTo>
                    <a:pt x="5274270" y="439913"/>
                  </a:moveTo>
                  <a:cubicBezTo>
                    <a:pt x="5301393" y="439913"/>
                    <a:pt x="5323380" y="461900"/>
                    <a:pt x="5323380" y="489022"/>
                  </a:cubicBezTo>
                  <a:cubicBezTo>
                    <a:pt x="5323380" y="516146"/>
                    <a:pt x="5301393" y="538132"/>
                    <a:pt x="5274270" y="538132"/>
                  </a:cubicBezTo>
                  <a:cubicBezTo>
                    <a:pt x="5247148" y="538132"/>
                    <a:pt x="5225158" y="516146"/>
                    <a:pt x="5225158" y="489022"/>
                  </a:cubicBezTo>
                  <a:cubicBezTo>
                    <a:pt x="5225158" y="461900"/>
                    <a:pt x="5247148" y="439913"/>
                    <a:pt x="5274270" y="439913"/>
                  </a:cubicBezTo>
                  <a:close/>
                  <a:moveTo>
                    <a:pt x="4762180" y="439913"/>
                  </a:moveTo>
                  <a:cubicBezTo>
                    <a:pt x="4789311" y="439913"/>
                    <a:pt x="4811308" y="461900"/>
                    <a:pt x="4811308" y="489022"/>
                  </a:cubicBezTo>
                  <a:cubicBezTo>
                    <a:pt x="4811308" y="516146"/>
                    <a:pt x="4789311" y="538132"/>
                    <a:pt x="4762180" y="538132"/>
                  </a:cubicBezTo>
                  <a:cubicBezTo>
                    <a:pt x="4735061" y="538132"/>
                    <a:pt x="4713081" y="516146"/>
                    <a:pt x="4713081" y="489022"/>
                  </a:cubicBezTo>
                  <a:cubicBezTo>
                    <a:pt x="4713081" y="461900"/>
                    <a:pt x="4735061" y="439913"/>
                    <a:pt x="4762180" y="439913"/>
                  </a:cubicBezTo>
                  <a:close/>
                  <a:moveTo>
                    <a:pt x="4250316" y="439913"/>
                  </a:moveTo>
                  <a:cubicBezTo>
                    <a:pt x="4277442" y="439913"/>
                    <a:pt x="4299428" y="461900"/>
                    <a:pt x="4299428" y="489022"/>
                  </a:cubicBezTo>
                  <a:cubicBezTo>
                    <a:pt x="4299428" y="516146"/>
                    <a:pt x="4277442" y="538132"/>
                    <a:pt x="4250316" y="538132"/>
                  </a:cubicBezTo>
                  <a:cubicBezTo>
                    <a:pt x="4223194" y="538132"/>
                    <a:pt x="4201204" y="516146"/>
                    <a:pt x="4201204" y="489022"/>
                  </a:cubicBezTo>
                  <a:cubicBezTo>
                    <a:pt x="4201204" y="461900"/>
                    <a:pt x="4223194" y="439913"/>
                    <a:pt x="4250316" y="439913"/>
                  </a:cubicBezTo>
                  <a:close/>
                  <a:moveTo>
                    <a:pt x="3738287" y="439913"/>
                  </a:moveTo>
                  <a:cubicBezTo>
                    <a:pt x="3765415" y="439913"/>
                    <a:pt x="3787395" y="461900"/>
                    <a:pt x="3787395" y="489022"/>
                  </a:cubicBezTo>
                  <a:cubicBezTo>
                    <a:pt x="3787395" y="516146"/>
                    <a:pt x="3765415" y="538132"/>
                    <a:pt x="3738287" y="538132"/>
                  </a:cubicBezTo>
                  <a:cubicBezTo>
                    <a:pt x="3711162" y="538132"/>
                    <a:pt x="3689172" y="516146"/>
                    <a:pt x="3689172" y="489022"/>
                  </a:cubicBezTo>
                  <a:cubicBezTo>
                    <a:pt x="3689172" y="461900"/>
                    <a:pt x="3711162" y="439913"/>
                    <a:pt x="3738287" y="439913"/>
                  </a:cubicBezTo>
                  <a:close/>
                  <a:moveTo>
                    <a:pt x="3226241" y="439913"/>
                  </a:moveTo>
                  <a:cubicBezTo>
                    <a:pt x="3253367" y="439913"/>
                    <a:pt x="3275356" y="461900"/>
                    <a:pt x="3275356" y="489022"/>
                  </a:cubicBezTo>
                  <a:cubicBezTo>
                    <a:pt x="3275356" y="516146"/>
                    <a:pt x="3253367" y="538132"/>
                    <a:pt x="3226241" y="538132"/>
                  </a:cubicBezTo>
                  <a:cubicBezTo>
                    <a:pt x="3199115" y="538132"/>
                    <a:pt x="3177127" y="516146"/>
                    <a:pt x="3177127" y="489022"/>
                  </a:cubicBezTo>
                  <a:cubicBezTo>
                    <a:pt x="3177127" y="461900"/>
                    <a:pt x="3199115" y="439913"/>
                    <a:pt x="3226241" y="439913"/>
                  </a:cubicBezTo>
                  <a:close/>
                  <a:moveTo>
                    <a:pt x="2714361" y="439913"/>
                  </a:moveTo>
                  <a:cubicBezTo>
                    <a:pt x="2741485" y="439913"/>
                    <a:pt x="2763472" y="461900"/>
                    <a:pt x="2763472" y="489022"/>
                  </a:cubicBezTo>
                  <a:cubicBezTo>
                    <a:pt x="2763472" y="516146"/>
                    <a:pt x="2741485" y="538132"/>
                    <a:pt x="2714361" y="538132"/>
                  </a:cubicBezTo>
                  <a:cubicBezTo>
                    <a:pt x="2687239" y="538132"/>
                    <a:pt x="2665250" y="516146"/>
                    <a:pt x="2665250" y="489022"/>
                  </a:cubicBezTo>
                  <a:cubicBezTo>
                    <a:pt x="2665250" y="461900"/>
                    <a:pt x="2687239" y="439913"/>
                    <a:pt x="2714361" y="439913"/>
                  </a:cubicBezTo>
                  <a:close/>
                  <a:moveTo>
                    <a:pt x="2202305" y="439913"/>
                  </a:moveTo>
                  <a:cubicBezTo>
                    <a:pt x="2229428" y="439913"/>
                    <a:pt x="2251415" y="461900"/>
                    <a:pt x="2251415" y="489022"/>
                  </a:cubicBezTo>
                  <a:cubicBezTo>
                    <a:pt x="2251415" y="516146"/>
                    <a:pt x="2229428" y="538132"/>
                    <a:pt x="2202305" y="538132"/>
                  </a:cubicBezTo>
                  <a:cubicBezTo>
                    <a:pt x="2175182" y="538132"/>
                    <a:pt x="2153195" y="516146"/>
                    <a:pt x="2153195" y="489022"/>
                  </a:cubicBezTo>
                  <a:cubicBezTo>
                    <a:pt x="2153195" y="461900"/>
                    <a:pt x="2175182" y="439913"/>
                    <a:pt x="2202305" y="439913"/>
                  </a:cubicBezTo>
                  <a:close/>
                  <a:moveTo>
                    <a:pt x="1690412" y="439913"/>
                  </a:moveTo>
                  <a:cubicBezTo>
                    <a:pt x="1717535" y="439913"/>
                    <a:pt x="1739522" y="461900"/>
                    <a:pt x="1739522" y="489022"/>
                  </a:cubicBezTo>
                  <a:cubicBezTo>
                    <a:pt x="1739522" y="516146"/>
                    <a:pt x="1717535" y="538132"/>
                    <a:pt x="1690412" y="538132"/>
                  </a:cubicBezTo>
                  <a:cubicBezTo>
                    <a:pt x="1663289" y="538132"/>
                    <a:pt x="1641302" y="516146"/>
                    <a:pt x="1641302" y="489022"/>
                  </a:cubicBezTo>
                  <a:cubicBezTo>
                    <a:pt x="1641302" y="461900"/>
                    <a:pt x="1663289" y="439913"/>
                    <a:pt x="1690412" y="439913"/>
                  </a:cubicBezTo>
                  <a:close/>
                  <a:moveTo>
                    <a:pt x="1178353" y="439913"/>
                  </a:moveTo>
                  <a:cubicBezTo>
                    <a:pt x="1205476" y="439913"/>
                    <a:pt x="1227462" y="461900"/>
                    <a:pt x="1227462" y="489022"/>
                  </a:cubicBezTo>
                  <a:cubicBezTo>
                    <a:pt x="1227462" y="516146"/>
                    <a:pt x="1205476" y="538132"/>
                    <a:pt x="1178353" y="538132"/>
                  </a:cubicBezTo>
                  <a:cubicBezTo>
                    <a:pt x="1151230" y="538132"/>
                    <a:pt x="1129243" y="516146"/>
                    <a:pt x="1129243" y="489022"/>
                  </a:cubicBezTo>
                  <a:cubicBezTo>
                    <a:pt x="1129243" y="461900"/>
                    <a:pt x="1151230" y="439913"/>
                    <a:pt x="1178353" y="439913"/>
                  </a:cubicBezTo>
                  <a:close/>
                  <a:moveTo>
                    <a:pt x="666483" y="439913"/>
                  </a:moveTo>
                  <a:cubicBezTo>
                    <a:pt x="693606" y="439913"/>
                    <a:pt x="715592" y="461900"/>
                    <a:pt x="715592" y="489022"/>
                  </a:cubicBezTo>
                  <a:cubicBezTo>
                    <a:pt x="715592" y="516146"/>
                    <a:pt x="693606" y="538132"/>
                    <a:pt x="666483" y="538132"/>
                  </a:cubicBezTo>
                  <a:cubicBezTo>
                    <a:pt x="639360" y="538132"/>
                    <a:pt x="617373" y="516146"/>
                    <a:pt x="617373" y="489022"/>
                  </a:cubicBezTo>
                  <a:cubicBezTo>
                    <a:pt x="617373" y="461900"/>
                    <a:pt x="639360" y="439913"/>
                    <a:pt x="666483" y="439913"/>
                  </a:cubicBezTo>
                  <a:close/>
                  <a:moveTo>
                    <a:pt x="154424" y="439913"/>
                  </a:moveTo>
                  <a:cubicBezTo>
                    <a:pt x="181547" y="439913"/>
                    <a:pt x="203534" y="461900"/>
                    <a:pt x="203534" y="489022"/>
                  </a:cubicBezTo>
                  <a:cubicBezTo>
                    <a:pt x="203534" y="516146"/>
                    <a:pt x="181547" y="538132"/>
                    <a:pt x="154424" y="538132"/>
                  </a:cubicBezTo>
                  <a:cubicBezTo>
                    <a:pt x="127301" y="538132"/>
                    <a:pt x="105315" y="516146"/>
                    <a:pt x="105315" y="489022"/>
                  </a:cubicBezTo>
                  <a:cubicBezTo>
                    <a:pt x="105315" y="461900"/>
                    <a:pt x="127301" y="439913"/>
                    <a:pt x="154424" y="439913"/>
                  </a:cubicBezTo>
                  <a:close/>
                  <a:moveTo>
                    <a:pt x="11929966" y="439912"/>
                  </a:moveTo>
                  <a:cubicBezTo>
                    <a:pt x="11957088" y="439912"/>
                    <a:pt x="11979075" y="461899"/>
                    <a:pt x="11979075" y="489022"/>
                  </a:cubicBezTo>
                  <a:cubicBezTo>
                    <a:pt x="11979075" y="516145"/>
                    <a:pt x="11957088" y="538132"/>
                    <a:pt x="11929966" y="538132"/>
                  </a:cubicBezTo>
                  <a:cubicBezTo>
                    <a:pt x="11902844" y="538132"/>
                    <a:pt x="11880856" y="516145"/>
                    <a:pt x="11880856" y="489022"/>
                  </a:cubicBezTo>
                  <a:cubicBezTo>
                    <a:pt x="11880856" y="461899"/>
                    <a:pt x="11902844" y="439912"/>
                    <a:pt x="11929966" y="439912"/>
                  </a:cubicBezTo>
                  <a:close/>
                  <a:moveTo>
                    <a:pt x="11929965" y="0"/>
                  </a:moveTo>
                  <a:cubicBezTo>
                    <a:pt x="11949232" y="0"/>
                    <a:pt x="11964908" y="15677"/>
                    <a:pt x="11964908" y="34944"/>
                  </a:cubicBezTo>
                  <a:cubicBezTo>
                    <a:pt x="11964908" y="54210"/>
                    <a:pt x="11949232" y="69887"/>
                    <a:pt x="11929965" y="69887"/>
                  </a:cubicBezTo>
                  <a:cubicBezTo>
                    <a:pt x="11910699" y="69887"/>
                    <a:pt x="11895022" y="54210"/>
                    <a:pt x="11895022" y="34944"/>
                  </a:cubicBezTo>
                  <a:cubicBezTo>
                    <a:pt x="11895022" y="15677"/>
                    <a:pt x="11910699" y="0"/>
                    <a:pt x="11929965" y="0"/>
                  </a:cubicBezTo>
                  <a:close/>
                  <a:moveTo>
                    <a:pt x="11417900" y="0"/>
                  </a:moveTo>
                  <a:cubicBezTo>
                    <a:pt x="11437199" y="0"/>
                    <a:pt x="11452843" y="15646"/>
                    <a:pt x="11452843" y="34944"/>
                  </a:cubicBezTo>
                  <a:cubicBezTo>
                    <a:pt x="11452843" y="54243"/>
                    <a:pt x="11437199" y="69887"/>
                    <a:pt x="11417900" y="69887"/>
                  </a:cubicBezTo>
                  <a:cubicBezTo>
                    <a:pt x="11398601" y="69887"/>
                    <a:pt x="11382957" y="54243"/>
                    <a:pt x="11382957" y="34944"/>
                  </a:cubicBezTo>
                  <a:cubicBezTo>
                    <a:pt x="11382957" y="15646"/>
                    <a:pt x="11398601" y="0"/>
                    <a:pt x="11417900" y="0"/>
                  </a:cubicBezTo>
                  <a:close/>
                  <a:moveTo>
                    <a:pt x="10906023" y="0"/>
                  </a:moveTo>
                  <a:cubicBezTo>
                    <a:pt x="10925322" y="0"/>
                    <a:pt x="10940966" y="15646"/>
                    <a:pt x="10940966" y="34944"/>
                  </a:cubicBezTo>
                  <a:cubicBezTo>
                    <a:pt x="10940966" y="54243"/>
                    <a:pt x="10925322" y="69887"/>
                    <a:pt x="10906023" y="69887"/>
                  </a:cubicBezTo>
                  <a:cubicBezTo>
                    <a:pt x="10886724" y="69887"/>
                    <a:pt x="10871080" y="54243"/>
                    <a:pt x="10871080" y="34944"/>
                  </a:cubicBezTo>
                  <a:cubicBezTo>
                    <a:pt x="10871080" y="15646"/>
                    <a:pt x="10886724" y="0"/>
                    <a:pt x="10906023" y="0"/>
                  </a:cubicBezTo>
                  <a:close/>
                  <a:moveTo>
                    <a:pt x="10393958" y="0"/>
                  </a:moveTo>
                  <a:cubicBezTo>
                    <a:pt x="10413256" y="0"/>
                    <a:pt x="10428901" y="15646"/>
                    <a:pt x="10428901" y="34944"/>
                  </a:cubicBezTo>
                  <a:cubicBezTo>
                    <a:pt x="10428901" y="54243"/>
                    <a:pt x="10413256" y="69887"/>
                    <a:pt x="10393958" y="69887"/>
                  </a:cubicBezTo>
                  <a:cubicBezTo>
                    <a:pt x="10374659" y="69887"/>
                    <a:pt x="10359014" y="54243"/>
                    <a:pt x="10359014" y="34944"/>
                  </a:cubicBezTo>
                  <a:cubicBezTo>
                    <a:pt x="10359014" y="15646"/>
                    <a:pt x="10374659" y="0"/>
                    <a:pt x="10393958" y="0"/>
                  </a:cubicBezTo>
                  <a:close/>
                  <a:moveTo>
                    <a:pt x="9882080" y="0"/>
                  </a:moveTo>
                  <a:cubicBezTo>
                    <a:pt x="9901379" y="0"/>
                    <a:pt x="9917023" y="15646"/>
                    <a:pt x="9917023" y="34944"/>
                  </a:cubicBezTo>
                  <a:cubicBezTo>
                    <a:pt x="9917023" y="54243"/>
                    <a:pt x="9901379" y="69887"/>
                    <a:pt x="9882080" y="69887"/>
                  </a:cubicBezTo>
                  <a:cubicBezTo>
                    <a:pt x="9862781" y="69887"/>
                    <a:pt x="9847137" y="54243"/>
                    <a:pt x="9847137" y="34944"/>
                  </a:cubicBezTo>
                  <a:cubicBezTo>
                    <a:pt x="9847137" y="15646"/>
                    <a:pt x="9862781" y="0"/>
                    <a:pt x="9882080" y="0"/>
                  </a:cubicBezTo>
                  <a:close/>
                  <a:moveTo>
                    <a:pt x="9370014" y="0"/>
                  </a:moveTo>
                  <a:cubicBezTo>
                    <a:pt x="9389280" y="0"/>
                    <a:pt x="9404958" y="15677"/>
                    <a:pt x="9404958" y="34944"/>
                  </a:cubicBezTo>
                  <a:cubicBezTo>
                    <a:pt x="9404958" y="54210"/>
                    <a:pt x="9389280" y="69887"/>
                    <a:pt x="9370014" y="69887"/>
                  </a:cubicBezTo>
                  <a:cubicBezTo>
                    <a:pt x="9350748" y="69887"/>
                    <a:pt x="9335070" y="54210"/>
                    <a:pt x="9335070" y="34944"/>
                  </a:cubicBezTo>
                  <a:cubicBezTo>
                    <a:pt x="9335070" y="15677"/>
                    <a:pt x="9350748" y="0"/>
                    <a:pt x="9370014" y="0"/>
                  </a:cubicBezTo>
                  <a:close/>
                  <a:moveTo>
                    <a:pt x="8857948" y="0"/>
                  </a:moveTo>
                  <a:cubicBezTo>
                    <a:pt x="8877214" y="0"/>
                    <a:pt x="8892891" y="15677"/>
                    <a:pt x="8892891" y="34944"/>
                  </a:cubicBezTo>
                  <a:cubicBezTo>
                    <a:pt x="8892891" y="54210"/>
                    <a:pt x="8877214" y="69887"/>
                    <a:pt x="8857948" y="69887"/>
                  </a:cubicBezTo>
                  <a:cubicBezTo>
                    <a:pt x="8838681" y="69887"/>
                    <a:pt x="8823004" y="54210"/>
                    <a:pt x="8823004" y="34944"/>
                  </a:cubicBezTo>
                  <a:cubicBezTo>
                    <a:pt x="8823004" y="15677"/>
                    <a:pt x="8838681" y="0"/>
                    <a:pt x="8857948" y="0"/>
                  </a:cubicBezTo>
                  <a:close/>
                  <a:moveTo>
                    <a:pt x="8346071" y="0"/>
                  </a:moveTo>
                  <a:cubicBezTo>
                    <a:pt x="8365337" y="0"/>
                    <a:pt x="8381015" y="15677"/>
                    <a:pt x="8381015" y="34944"/>
                  </a:cubicBezTo>
                  <a:cubicBezTo>
                    <a:pt x="8381015" y="54210"/>
                    <a:pt x="8365337" y="69887"/>
                    <a:pt x="8346071" y="69887"/>
                  </a:cubicBezTo>
                  <a:cubicBezTo>
                    <a:pt x="8326804" y="69887"/>
                    <a:pt x="8311127" y="54210"/>
                    <a:pt x="8311127" y="34944"/>
                  </a:cubicBezTo>
                  <a:cubicBezTo>
                    <a:pt x="8311127" y="15677"/>
                    <a:pt x="8326804" y="0"/>
                    <a:pt x="8346071" y="0"/>
                  </a:cubicBezTo>
                  <a:close/>
                  <a:moveTo>
                    <a:pt x="7834004" y="0"/>
                  </a:moveTo>
                  <a:cubicBezTo>
                    <a:pt x="7853271" y="0"/>
                    <a:pt x="7868948" y="15677"/>
                    <a:pt x="7868948" y="34944"/>
                  </a:cubicBezTo>
                  <a:cubicBezTo>
                    <a:pt x="7868948" y="54210"/>
                    <a:pt x="7853271" y="69887"/>
                    <a:pt x="7834004" y="69887"/>
                  </a:cubicBezTo>
                  <a:cubicBezTo>
                    <a:pt x="7814738" y="69887"/>
                    <a:pt x="7799061" y="54210"/>
                    <a:pt x="7799061" y="34944"/>
                  </a:cubicBezTo>
                  <a:cubicBezTo>
                    <a:pt x="7799061" y="15677"/>
                    <a:pt x="7814738" y="0"/>
                    <a:pt x="7834004" y="0"/>
                  </a:cubicBezTo>
                  <a:close/>
                  <a:moveTo>
                    <a:pt x="7322128" y="0"/>
                  </a:moveTo>
                  <a:cubicBezTo>
                    <a:pt x="7341394" y="0"/>
                    <a:pt x="7357071" y="15677"/>
                    <a:pt x="7357071" y="34944"/>
                  </a:cubicBezTo>
                  <a:cubicBezTo>
                    <a:pt x="7357071" y="54210"/>
                    <a:pt x="7341394" y="69887"/>
                    <a:pt x="7322128" y="69887"/>
                  </a:cubicBezTo>
                  <a:cubicBezTo>
                    <a:pt x="7302861" y="69887"/>
                    <a:pt x="7287184" y="54210"/>
                    <a:pt x="7287184" y="34944"/>
                  </a:cubicBezTo>
                  <a:cubicBezTo>
                    <a:pt x="7287184" y="15677"/>
                    <a:pt x="7302861" y="0"/>
                    <a:pt x="7322128" y="0"/>
                  </a:cubicBezTo>
                  <a:close/>
                  <a:moveTo>
                    <a:pt x="6810062" y="0"/>
                  </a:moveTo>
                  <a:cubicBezTo>
                    <a:pt x="6829328" y="0"/>
                    <a:pt x="6845006" y="15677"/>
                    <a:pt x="6845006" y="34944"/>
                  </a:cubicBezTo>
                  <a:cubicBezTo>
                    <a:pt x="6845006" y="54210"/>
                    <a:pt x="6829328" y="69887"/>
                    <a:pt x="6810062" y="69887"/>
                  </a:cubicBezTo>
                  <a:cubicBezTo>
                    <a:pt x="6790796" y="69887"/>
                    <a:pt x="6775118" y="54210"/>
                    <a:pt x="6775118" y="34944"/>
                  </a:cubicBezTo>
                  <a:cubicBezTo>
                    <a:pt x="6775118" y="15677"/>
                    <a:pt x="6790796" y="0"/>
                    <a:pt x="6810062" y="0"/>
                  </a:cubicBezTo>
                  <a:close/>
                  <a:moveTo>
                    <a:pt x="6298186" y="0"/>
                  </a:moveTo>
                  <a:cubicBezTo>
                    <a:pt x="6317451" y="0"/>
                    <a:pt x="6333129" y="15677"/>
                    <a:pt x="6333129" y="34944"/>
                  </a:cubicBezTo>
                  <a:cubicBezTo>
                    <a:pt x="6333129" y="54210"/>
                    <a:pt x="6317451" y="69887"/>
                    <a:pt x="6298186" y="69887"/>
                  </a:cubicBezTo>
                  <a:cubicBezTo>
                    <a:pt x="6278919" y="69887"/>
                    <a:pt x="6263242" y="54210"/>
                    <a:pt x="6263242" y="34944"/>
                  </a:cubicBezTo>
                  <a:cubicBezTo>
                    <a:pt x="6263242" y="15677"/>
                    <a:pt x="6278919" y="0"/>
                    <a:pt x="6298186" y="0"/>
                  </a:cubicBezTo>
                  <a:close/>
                  <a:moveTo>
                    <a:pt x="5786126" y="0"/>
                  </a:moveTo>
                  <a:cubicBezTo>
                    <a:pt x="5805392" y="0"/>
                    <a:pt x="5821068" y="15677"/>
                    <a:pt x="5821068" y="34944"/>
                  </a:cubicBezTo>
                  <a:cubicBezTo>
                    <a:pt x="5821068" y="54210"/>
                    <a:pt x="5805392" y="69887"/>
                    <a:pt x="5786126" y="69887"/>
                  </a:cubicBezTo>
                  <a:cubicBezTo>
                    <a:pt x="5766859" y="69887"/>
                    <a:pt x="5751183" y="54210"/>
                    <a:pt x="5751183" y="34944"/>
                  </a:cubicBezTo>
                  <a:cubicBezTo>
                    <a:pt x="5751183" y="15677"/>
                    <a:pt x="5766859" y="0"/>
                    <a:pt x="5786126" y="0"/>
                  </a:cubicBezTo>
                  <a:close/>
                  <a:moveTo>
                    <a:pt x="5274270" y="0"/>
                  </a:moveTo>
                  <a:cubicBezTo>
                    <a:pt x="5293570" y="0"/>
                    <a:pt x="5309213" y="15646"/>
                    <a:pt x="5309213" y="34944"/>
                  </a:cubicBezTo>
                  <a:cubicBezTo>
                    <a:pt x="5309213" y="54243"/>
                    <a:pt x="5293570" y="69887"/>
                    <a:pt x="5274270" y="69887"/>
                  </a:cubicBezTo>
                  <a:cubicBezTo>
                    <a:pt x="5254974" y="69887"/>
                    <a:pt x="5239326" y="54243"/>
                    <a:pt x="5239326" y="34944"/>
                  </a:cubicBezTo>
                  <a:cubicBezTo>
                    <a:pt x="5239326" y="15646"/>
                    <a:pt x="5254974" y="0"/>
                    <a:pt x="5274270" y="0"/>
                  </a:cubicBezTo>
                  <a:close/>
                  <a:moveTo>
                    <a:pt x="4762180" y="0"/>
                  </a:moveTo>
                  <a:cubicBezTo>
                    <a:pt x="4781484" y="0"/>
                    <a:pt x="4797138" y="15646"/>
                    <a:pt x="4797138" y="34944"/>
                  </a:cubicBezTo>
                  <a:cubicBezTo>
                    <a:pt x="4797138" y="54243"/>
                    <a:pt x="4781484" y="69887"/>
                    <a:pt x="4762180" y="69887"/>
                  </a:cubicBezTo>
                  <a:cubicBezTo>
                    <a:pt x="4742882" y="69887"/>
                    <a:pt x="4727244" y="54243"/>
                    <a:pt x="4727244" y="34944"/>
                  </a:cubicBezTo>
                  <a:cubicBezTo>
                    <a:pt x="4727244" y="15646"/>
                    <a:pt x="4742882" y="0"/>
                    <a:pt x="4762180" y="0"/>
                  </a:cubicBezTo>
                  <a:close/>
                  <a:moveTo>
                    <a:pt x="4250316" y="0"/>
                  </a:moveTo>
                  <a:cubicBezTo>
                    <a:pt x="4269615" y="0"/>
                    <a:pt x="4285260" y="15646"/>
                    <a:pt x="4285260" y="34944"/>
                  </a:cubicBezTo>
                  <a:cubicBezTo>
                    <a:pt x="4285260" y="54243"/>
                    <a:pt x="4269615" y="69887"/>
                    <a:pt x="4250316" y="69887"/>
                  </a:cubicBezTo>
                  <a:cubicBezTo>
                    <a:pt x="4231016" y="69887"/>
                    <a:pt x="4215371" y="54243"/>
                    <a:pt x="4215371" y="34944"/>
                  </a:cubicBezTo>
                  <a:cubicBezTo>
                    <a:pt x="4215371" y="15646"/>
                    <a:pt x="4231016" y="0"/>
                    <a:pt x="4250316" y="0"/>
                  </a:cubicBezTo>
                  <a:close/>
                  <a:moveTo>
                    <a:pt x="3738287" y="0"/>
                  </a:moveTo>
                  <a:cubicBezTo>
                    <a:pt x="3757581" y="0"/>
                    <a:pt x="3773228" y="15646"/>
                    <a:pt x="3773228" y="34944"/>
                  </a:cubicBezTo>
                  <a:cubicBezTo>
                    <a:pt x="3773228" y="54243"/>
                    <a:pt x="3757581" y="69887"/>
                    <a:pt x="3738287" y="69887"/>
                  </a:cubicBezTo>
                  <a:cubicBezTo>
                    <a:pt x="3718987" y="69887"/>
                    <a:pt x="3703339" y="54243"/>
                    <a:pt x="3703339" y="34944"/>
                  </a:cubicBezTo>
                  <a:cubicBezTo>
                    <a:pt x="3703339" y="15646"/>
                    <a:pt x="3718987" y="0"/>
                    <a:pt x="3738287" y="0"/>
                  </a:cubicBezTo>
                  <a:close/>
                  <a:moveTo>
                    <a:pt x="3226239" y="0"/>
                  </a:moveTo>
                  <a:cubicBezTo>
                    <a:pt x="3245540" y="0"/>
                    <a:pt x="3261187" y="15646"/>
                    <a:pt x="3261187" y="34944"/>
                  </a:cubicBezTo>
                  <a:cubicBezTo>
                    <a:pt x="3261187" y="54243"/>
                    <a:pt x="3245540" y="69887"/>
                    <a:pt x="3226239" y="69887"/>
                  </a:cubicBezTo>
                  <a:cubicBezTo>
                    <a:pt x="3206939" y="69887"/>
                    <a:pt x="3191293" y="54243"/>
                    <a:pt x="3191293" y="34944"/>
                  </a:cubicBezTo>
                  <a:cubicBezTo>
                    <a:pt x="3191293" y="15646"/>
                    <a:pt x="3206939" y="0"/>
                    <a:pt x="3226239" y="0"/>
                  </a:cubicBezTo>
                  <a:close/>
                  <a:moveTo>
                    <a:pt x="2714361" y="0"/>
                  </a:moveTo>
                  <a:cubicBezTo>
                    <a:pt x="2733657" y="0"/>
                    <a:pt x="2749305" y="15646"/>
                    <a:pt x="2749305" y="34944"/>
                  </a:cubicBezTo>
                  <a:cubicBezTo>
                    <a:pt x="2749305" y="54243"/>
                    <a:pt x="2733657" y="69887"/>
                    <a:pt x="2714361" y="69887"/>
                  </a:cubicBezTo>
                  <a:cubicBezTo>
                    <a:pt x="2695063" y="69887"/>
                    <a:pt x="2679418" y="54243"/>
                    <a:pt x="2679418" y="34944"/>
                  </a:cubicBezTo>
                  <a:cubicBezTo>
                    <a:pt x="2679418" y="15646"/>
                    <a:pt x="2695063" y="0"/>
                    <a:pt x="2714361" y="0"/>
                  </a:cubicBezTo>
                  <a:close/>
                  <a:moveTo>
                    <a:pt x="2202305" y="0"/>
                  </a:moveTo>
                  <a:cubicBezTo>
                    <a:pt x="2221604" y="0"/>
                    <a:pt x="2237248" y="15646"/>
                    <a:pt x="2237248" y="34944"/>
                  </a:cubicBezTo>
                  <a:cubicBezTo>
                    <a:pt x="2237248" y="54243"/>
                    <a:pt x="2221604" y="69887"/>
                    <a:pt x="2202305" y="69887"/>
                  </a:cubicBezTo>
                  <a:cubicBezTo>
                    <a:pt x="2183006" y="69887"/>
                    <a:pt x="2167360" y="54243"/>
                    <a:pt x="2167360" y="34944"/>
                  </a:cubicBezTo>
                  <a:cubicBezTo>
                    <a:pt x="2167360" y="15646"/>
                    <a:pt x="2183006" y="0"/>
                    <a:pt x="2202305" y="0"/>
                  </a:cubicBezTo>
                  <a:close/>
                  <a:moveTo>
                    <a:pt x="1690412" y="0"/>
                  </a:moveTo>
                  <a:cubicBezTo>
                    <a:pt x="1709711" y="0"/>
                    <a:pt x="1725355" y="15646"/>
                    <a:pt x="1725355" y="34944"/>
                  </a:cubicBezTo>
                  <a:cubicBezTo>
                    <a:pt x="1725355" y="54243"/>
                    <a:pt x="1709711" y="69887"/>
                    <a:pt x="1690412" y="69887"/>
                  </a:cubicBezTo>
                  <a:cubicBezTo>
                    <a:pt x="1671113" y="69887"/>
                    <a:pt x="1655468" y="54243"/>
                    <a:pt x="1655468" y="34944"/>
                  </a:cubicBezTo>
                  <a:cubicBezTo>
                    <a:pt x="1655468" y="15646"/>
                    <a:pt x="1671113" y="0"/>
                    <a:pt x="1690412" y="0"/>
                  </a:cubicBezTo>
                  <a:close/>
                  <a:moveTo>
                    <a:pt x="1178353" y="0"/>
                  </a:moveTo>
                  <a:cubicBezTo>
                    <a:pt x="1197652" y="0"/>
                    <a:pt x="1213295" y="15646"/>
                    <a:pt x="1213295" y="34944"/>
                  </a:cubicBezTo>
                  <a:cubicBezTo>
                    <a:pt x="1213295" y="54243"/>
                    <a:pt x="1197652" y="69887"/>
                    <a:pt x="1178353" y="69887"/>
                  </a:cubicBezTo>
                  <a:cubicBezTo>
                    <a:pt x="1159054" y="69887"/>
                    <a:pt x="1143409" y="54243"/>
                    <a:pt x="1143409" y="34944"/>
                  </a:cubicBezTo>
                  <a:cubicBezTo>
                    <a:pt x="1143409" y="15646"/>
                    <a:pt x="1159054" y="0"/>
                    <a:pt x="1178353" y="0"/>
                  </a:cubicBezTo>
                  <a:close/>
                  <a:moveTo>
                    <a:pt x="666483" y="0"/>
                  </a:moveTo>
                  <a:cubicBezTo>
                    <a:pt x="685781" y="0"/>
                    <a:pt x="701425" y="15646"/>
                    <a:pt x="701425" y="34944"/>
                  </a:cubicBezTo>
                  <a:cubicBezTo>
                    <a:pt x="701425" y="54243"/>
                    <a:pt x="685780" y="69887"/>
                    <a:pt x="666483" y="69887"/>
                  </a:cubicBezTo>
                  <a:cubicBezTo>
                    <a:pt x="647184" y="69887"/>
                    <a:pt x="631539" y="54243"/>
                    <a:pt x="631539" y="34944"/>
                  </a:cubicBezTo>
                  <a:cubicBezTo>
                    <a:pt x="631539" y="15646"/>
                    <a:pt x="647184" y="0"/>
                    <a:pt x="666483" y="0"/>
                  </a:cubicBezTo>
                  <a:close/>
                  <a:moveTo>
                    <a:pt x="154424" y="0"/>
                  </a:moveTo>
                  <a:cubicBezTo>
                    <a:pt x="173722" y="0"/>
                    <a:pt x="189367" y="15646"/>
                    <a:pt x="189367" y="34944"/>
                  </a:cubicBezTo>
                  <a:cubicBezTo>
                    <a:pt x="189367" y="54243"/>
                    <a:pt x="173722" y="69887"/>
                    <a:pt x="154424" y="69887"/>
                  </a:cubicBezTo>
                  <a:cubicBezTo>
                    <a:pt x="135125" y="69887"/>
                    <a:pt x="119480" y="54243"/>
                    <a:pt x="119480" y="34944"/>
                  </a:cubicBezTo>
                  <a:cubicBezTo>
                    <a:pt x="119480" y="15646"/>
                    <a:pt x="135125" y="0"/>
                    <a:pt x="154424" y="0"/>
                  </a:cubicBezTo>
                  <a:close/>
                </a:path>
              </a:pathLst>
            </a:custGeom>
            <a:gradFill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49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</a:gradFill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6BCCCEEC-0A8C-451D-A810-F74AFB3EEF57}"/>
                </a:ext>
              </a:extLst>
            </p:cNvPr>
            <p:cNvSpPr/>
            <p:nvPr/>
          </p:nvSpPr>
          <p:spPr>
            <a:xfrm>
              <a:off x="11962998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0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0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57AEA2FD-7BCE-4A9D-B51D-37AA703A4CD6}"/>
                </a:ext>
              </a:extLst>
            </p:cNvPr>
            <p:cNvSpPr/>
            <p:nvPr/>
          </p:nvSpPr>
          <p:spPr>
            <a:xfrm>
              <a:off x="1197739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17297441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0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2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12426890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0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4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857492"/>
            <a:ext cx="2225933" cy="5143016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style</a:t>
            </a:r>
          </a:p>
        </p:txBody>
      </p:sp>
    </p:spTree>
    <p:extLst>
      <p:ext uri="{BB962C8B-B14F-4D97-AF65-F5344CB8AC3E}">
        <p14:creationId xmlns:p14="http://schemas.microsoft.com/office/powerpoint/2010/main" val="2820863125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1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9658256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689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367183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053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2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855260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76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362229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938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6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977927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65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19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5230130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375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223600559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6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4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4336792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7561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to edit Master subtitle style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buClr>
                <a:schemeClr val="tx2"/>
              </a:buClr>
              <a:defRPr lang="ru-RU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CEF2F41-AD03-4A8C-8F9B-FD098F7601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to edit Master title sty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91330DE-BE83-4002-8463-44AE5F182900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3752867-A264-4144-AF95-E85B17F861E3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2A7103A-B6F8-4F3B-8B3A-D0026053B127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3D9E350-DDFF-42D8-AA4F-AFC5365F0267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0FC2FEF-088D-4E39-AE2B-43B58DD8D2E5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09B9D07-D4F1-40A9-AA90-B7D898A6EE64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18DD0DC-7ABD-4A7F-9DAC-9F1A34F0A473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626C4BF-FD21-4B04-A3BC-0A39011216F0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F41E613-DD5C-4079-B597-A455120681E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51954480-BCE5-42BA-97CC-A6825A69759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159240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290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265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39245691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03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28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59187859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0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1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67369162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9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37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46470693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05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6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71484304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E4504-5A12-400E-B712-903CD8710C51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65C0E-FFAF-43E2-A83E-82C48D4556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34925294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00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385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356102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0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800" b="0" dirty="0"/>
            </a:lvl1pPr>
          </a:lstStyle>
          <a:p>
            <a:pPr lvl="0">
              <a:buNone/>
            </a:pP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s-ES" dirty="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racker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334935907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78115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250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33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15586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2437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61074AB-5F9C-4D24-BEE2-B7DA8DB1BF17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5E14F52-889E-4C7D-9EE8-66D55D2C5468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6ECE90-645F-40D9-A313-1044F5667C80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D7E8B82-B8BC-4A4F-ABB6-FDE5B2DD97CF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58C049F-B44C-4536-B8EB-27B711F09910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C5C7FD-61AF-4FDD-AA83-050C41D440BF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496EED1-D40F-4FC2-88B2-420BB79D725C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7888DB4-4755-409F-8E1A-CDB95816719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3FE4C25-425B-485B-B82D-493A0CF3DEC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57FBEF46-9332-46C4-8D4C-FDEE03F25A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2410340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158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481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/>
              <a:t>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ru-RU" dirty="0"/>
            </a:br>
            <a:r>
              <a:rPr lang="ru-RU" dirty="0" err="1"/>
              <a:t>style</a:t>
            </a:r>
            <a:endParaRPr lang="ru-RU" dirty="0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83021463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380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0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840810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786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947105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829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5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525141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8933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57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3859291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3007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01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177451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7086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2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41123204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6468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4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 rtl="0">
              <a:defRPr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8168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8567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7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74798593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25386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697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 rtl="0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1528922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4539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0F83827-F75E-4B78-8D22-6E82649F0B7C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F8D5442-F7F8-44BE-951C-0453A313AD4E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3794C33-05E2-4576-9DBA-254C21C83164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4C50926-90BC-445D-B1F3-7DF93E9553AF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EC9EE84-B745-4FEE-8DFB-09640F615548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0811731-50D7-43CE-8A00-A81790F521A9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BC66D11-11E0-4C95-9915-4B1995A78D8D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D44288D-7CA5-487E-9E3E-DB8F3A7A415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F13E55B-7308-45F4-A670-EBBF1C5F7C2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0DA777D7-6BF8-419E-BEE1-0C4DE72C7E3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02638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193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2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rtl="0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78984782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12298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74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005290991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264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69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153511286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118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793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1602910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4BFCC2E-975F-F560-1792-79AD57F4B7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5980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7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4BFCC2E-975F-F560-1792-79AD57F4B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586633"/>
            <a:ext cx="10363200" cy="923330"/>
          </a:xfrm>
        </p:spPr>
        <p:txBody>
          <a:bodyPr vert="horz" anchor="b"/>
          <a:lstStyle>
            <a:lvl1pPr algn="ctr" rtl="0">
              <a:defRPr sz="60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1" y="3602039"/>
            <a:ext cx="9144000" cy="369332"/>
          </a:xfrm>
        </p:spPr>
        <p:txBody>
          <a:bodyPr/>
          <a:lstStyle>
            <a:lvl1pPr marL="0" indent="0" algn="ctr" rtl="0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BAE4504-5A12-400E-B712-903CD8710C51}" type="datetimeFigureOut">
              <a:rPr lang="ru-RU" smtClean="0"/>
              <a:pPr/>
              <a:t>01.10.2023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C0065C0E-FFAF-43E2-A83E-82C48D45567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3915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046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1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519011"/>
            <a:ext cx="7918704" cy="384721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ru-RU" dirty="0" err="1"/>
              <a:t>Chapter</a:t>
            </a:r>
            <a:r>
              <a:rPr lang="ru-RU" dirty="0"/>
              <a:t> › </a:t>
            </a:r>
            <a:r>
              <a:rPr lang="ru-RU" dirty="0" err="1"/>
              <a:t>Topic</a:t>
            </a:r>
            <a:endParaRPr lang="ru-RU" dirty="0"/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621702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4918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5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s-ES" dirty="0"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rtl="0">
              <a:defRPr lang="es-ES" sz="1800" b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 err="1"/>
              <a:t>Fuente</a:t>
            </a:r>
            <a:r>
              <a:rPr lang="ru-RU" dirty="0"/>
              <a:t>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 err="1"/>
              <a:t>Add</a:t>
            </a:r>
            <a:r>
              <a:rPr lang="ru-RU" dirty="0"/>
              <a:t> </a:t>
            </a:r>
            <a:r>
              <a:rPr lang="ru-RU" dirty="0" err="1"/>
              <a:t>tracker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4557269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72DA59-8E9E-454B-E332-5E1B4B5B23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4660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9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72DA59-8E9E-454B-E332-5E1B4B5B23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48F63A3B-78C7-47BE-AE5E-E10140E0464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57147326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540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13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9864656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99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7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rtl="0"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sub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 rtl="0"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sz="1967" dirty="0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rtl="0">
              <a:defRPr/>
            </a:lvl1pPr>
          </a:lstStyle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42226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951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54C430D-A365-44FC-892A-52EBC84FE806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DD6FBF4-1B14-4960-84FE-1CDDFA970B2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60A5C26-02AA-4BEE-8F97-6220FCAEBF5B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FE6B084-EEF6-4D8A-A629-924F1D4B1C8E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4517A1D-E106-4A98-A3CE-0E8BA56992F4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F06AAB7-BE95-4D6D-8914-9EA4EC1782AB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069A893-163C-49EA-9C6D-DC652AA2EA87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EE9305D-BF8E-4C97-910C-7C070D9764A5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1C6C1F6-48B6-4D90-9BCD-5B9482314EE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E712B665-2791-4925-8BD8-DB10A7717D2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0516393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9651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6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61074AB-5F9C-4D24-BEE2-B7DA8DB1BF17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5E14F52-889E-4C7D-9EE8-66D55D2C5468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6ECE90-645F-40D9-A313-1044F5667C80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D7E8B82-B8BC-4A4F-ABB6-FDE5B2DD97CF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58C049F-B44C-4536-B8EB-27B711F09910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C5C7FD-61AF-4FDD-AA83-050C41D440BF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496EED1-D40F-4FC2-88B2-420BB79D725C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7888DB4-4755-409F-8E1A-CDB95816719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3FE4C25-425B-485B-B82D-493A0CF3DEC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57FBEF46-9332-46C4-8D4C-FDEE03F25A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71206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0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0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62909466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1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03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012449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689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5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906718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053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08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709358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76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0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821677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938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2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976888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65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167982005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375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28895223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6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50321569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675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F223E3C-37BA-44DB-93B4-49711649E1A6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166BF43-9005-4734-A1D6-957D3E673AA6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0752F3E-5320-4D3B-87A9-5493564EEEA9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DC092B4-5374-4C90-BDD3-D3417851A2D7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71548C7-04CC-4EA3-9628-4C5FC67A9198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66902BC-A78B-436A-9202-D4FF0AE92AD9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D5E67F3-D36E-441B-B262-D7659CD082DB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C033CDD-7DD6-4B11-9B2A-674823217A15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4BFFBDD-6929-45F7-AAC8-2C9EDDE0BAB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6E400C44-495F-4B8C-B4B4-A560720B879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8208189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290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25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90541192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03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4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16811162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0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7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50885948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9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7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7394617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05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2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06173868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1" y="3602039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3" indent="0" algn="ctr">
              <a:buNone/>
              <a:defRPr sz="2000"/>
            </a:lvl2pPr>
            <a:lvl3pPr marL="914406" indent="0" algn="ctr">
              <a:buNone/>
              <a:defRPr sz="1800"/>
            </a:lvl3pPr>
            <a:lvl4pPr marL="1371609" indent="0" algn="ctr">
              <a:buNone/>
              <a:defRPr sz="1600"/>
            </a:lvl4pPr>
            <a:lvl5pPr marL="1828812" indent="0" algn="ctr">
              <a:buNone/>
              <a:defRPr sz="1600"/>
            </a:lvl5pPr>
            <a:lvl6pPr marL="2286015" indent="0" algn="ctr">
              <a:buNone/>
              <a:defRPr sz="1600"/>
            </a:lvl6pPr>
            <a:lvl7pPr marL="2743218" indent="0" algn="ctr">
              <a:buNone/>
              <a:defRPr sz="1600"/>
            </a:lvl7pPr>
            <a:lvl8pPr marL="3200421" indent="0" algn="ctr">
              <a:buNone/>
              <a:defRPr sz="1600"/>
            </a:lvl8pPr>
            <a:lvl9pPr marL="3657624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AE4504-5A12-400E-B712-903CD8710C51}" type="datetimeFigureOut">
              <a:rPr lang="ru-RU" smtClean="0"/>
              <a:t>01.10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065C0E-FFAF-43E2-A83E-82C48D45567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183540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8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9004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45" name="think-cell Slide" r:id="rId13" imgW="413" imgH="416" progId="TCLayout.ActiveDocument.1">
                  <p:embed/>
                </p:oleObj>
              </mc:Choice>
              <mc:Fallback>
                <p:oleObj name="think-cell Slide" r:id="rId13" imgW="413" imgH="416" progId="TCLayout.ActiveDocument.1">
                  <p:embed/>
                  <p:pic>
                    <p:nvPicPr>
                      <p:cNvPr id="3" name="Object 8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7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7918704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884725"/>
            <a:ext cx="7918704" cy="297181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E771D75-4092-4C08-B152-0A8A51C4AB5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0"/>
            </p:custDataLst>
          </p:nvPr>
        </p:nvSpPr>
        <p:spPr>
          <a:xfrm>
            <a:off x="9116568" y="89319"/>
            <a:ext cx="2523744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cxnSp>
        <p:nvCxnSpPr>
          <p:cNvPr id="16" name="BottomLine">
            <a:extLst>
              <a:ext uri="{FF2B5EF4-FFF2-40B4-BE49-F238E27FC236}">
                <a16:creationId xmlns:a16="http://schemas.microsoft.com/office/drawing/2014/main" id="{BE8B0528-35BB-4628-9AC6-85FFCE779FF1}"/>
              </a:ext>
            </a:extLst>
          </p:cNvPr>
          <p:cNvCxnSpPr/>
          <p:nvPr userDrawn="1">
            <p:custDataLst>
              <p:tags r:id="rId11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3059620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6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s-E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2212"/>
            <a:ext cx="11082528" cy="731520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s-ES" dirty="0"/>
            </a:lvl1pPr>
          </a:lstStyle>
          <a:p>
            <a:pPr lvl="0"/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884725"/>
            <a:ext cx="1108252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>
              <a:defRPr lang="es-ES" sz="1800" b="0" dirty="0"/>
            </a:lvl1pPr>
          </a:lstStyle>
          <a:p>
            <a:pPr lvl="0">
              <a:buNone/>
            </a:pPr>
            <a:r>
              <a:rPr lang="es-ES" dirty="0" err="1"/>
              <a:t>Click</a:t>
            </a:r>
            <a:r>
              <a:rPr lang="es-ES" dirty="0"/>
              <a:t> to </a:t>
            </a:r>
            <a:r>
              <a:rPr lang="es-ES" dirty="0" err="1"/>
              <a:t>edit</a:t>
            </a:r>
            <a:r>
              <a:rPr lang="es-ES" dirty="0"/>
              <a:t> Master </a:t>
            </a:r>
            <a:r>
              <a:rPr lang="es-ES" dirty="0" err="1"/>
              <a:t>subtitle</a:t>
            </a:r>
            <a:r>
              <a:rPr lang="es-ES" dirty="0"/>
              <a:t> </a:t>
            </a:r>
            <a:r>
              <a:rPr lang="es-ES" dirty="0" err="1"/>
              <a:t>style</a:t>
            </a:r>
            <a:endParaRPr lang="es-E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s-ES" sz="9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s-ES" sz="9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270154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s-ES" dirty="0"/>
              <a:t>Fuent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s-E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es-ES" dirty="0" err="1"/>
              <a:t>Add</a:t>
            </a:r>
            <a:r>
              <a:rPr lang="es-ES" dirty="0"/>
              <a:t> </a:t>
            </a:r>
            <a:r>
              <a:rPr lang="es-ES" dirty="0" err="1"/>
              <a:t>tracker</a:t>
            </a:r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2973725316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11268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7250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93"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244"/>
              </a:spcBef>
              <a:spcAft>
                <a:spcPts val="244"/>
              </a:spcAft>
            </a:pPr>
            <a:endParaRPr lang="ru-RU" sz="2036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7" y="100237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6" y="6501670"/>
            <a:ext cx="7277861" cy="10034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sz="652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8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652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1017350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967"/>
            </a:p>
          </p:txBody>
        </p:sp>
      </p:grp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8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5810638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24412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BC8F410-D7B8-4BC3-85A9-FA39A54C09EC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 flipH="1" flipV="1"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F880217-FD86-4A63-8DDC-10BB0D2E6A57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CA496F6-29E1-4D04-A806-457A4D94F3AC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EFEF0E5-0FA6-423E-8AE8-26739D7AA681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1691D6A-DBA3-478F-B071-4DB214D26613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EF9277F-E1A0-4773-AFAA-24015998D7FB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F5D388F-6E35-48D1-934E-6724B1EE1B9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1038648-026B-48C3-9DC5-364017E7E589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A0761BC-FB79-4306-BD77-E0516A24E841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6B30EDE-D148-477C-8C4F-F15D440462E2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B84266F-A009-4D19-B611-BEA24097B6C2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7FED875-932E-4263-8B86-00DBE6601127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7DBB7B1-7FE6-4884-91EC-F310A8CC8EF1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A5EC0FFD-8F07-47CF-998C-21433229A1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84B58D66-AFAE-4FED-A344-BAB09C0B7D0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8574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894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B4F96742-35DC-416F-9A9C-5D9D53B079EF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A22AC7-3649-42EB-9FA9-60F4DAC8E67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3254F74-AAC2-418B-A97E-62015472016D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AD640EC-6340-4811-A625-E2F87B05F70D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61E0EF3-5078-474C-B328-845773DE9A95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1E1A94A-64D9-47B5-84A7-C04A0B403E61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56BCE63-69EC-44FB-B1AD-6FAE4D76B4AA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9167D72-4334-49DB-B176-017DF991B7FE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97AA860-C3C8-4227-9CAD-9313F1FBCF38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5798883C-15C8-4ED2-B659-0CFBB0EA2D07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92DF8608-9C2A-4563-863B-E57E51672604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8BE8867-7C5B-4093-BA2E-1B1B8963884F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28B2CF9-F174-428F-A59A-94DC669E7FDD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CEEDFFC-6166-4D56-92D1-59AE87ECEB8A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68538E44-69DD-40C0-BCCF-2B132694238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90BACC6B-4A90-41C6-8183-DC491198E69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30153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879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5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593ABADB-9B94-4A63-86C5-0632187830B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4B6D22D-431A-469A-8CCE-FBA05E5C3E11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4B8129F-035A-4C47-970A-4184935E0E0D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66D22C4-D684-4FDC-BFE6-920812EA2765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1BE6742-D009-45D0-8D18-616EED744045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60AEC78-848E-4411-8743-6BC16BB706A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80C57B0-4163-4B12-ADDC-31889F7DAAA9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D23991C3-4848-476E-954E-D4A88C8ED18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484E020-584B-4994-841C-61752E8DEBE7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2F3DA4B-E951-4D2C-A12C-862AAFD75EC4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9DE7A75-83BA-44BF-940A-51CBF3172E21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D543AF4-BF63-42EA-8846-72E462B39F40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64B4D71-D988-4EDC-915A-FF0EB360AEAE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854484A-1D8F-4441-A28A-F9F96C461EE8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3CD3E4D-8091-40C7-AD91-54CE0D644D2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3" name="Slide Number">
            <a:extLst>
              <a:ext uri="{FF2B5EF4-FFF2-40B4-BE49-F238E27FC236}">
                <a16:creationId xmlns:a16="http://schemas.microsoft.com/office/drawing/2014/main" id="{D89264F4-7BD5-4284-AA84-C6927282E63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00850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894894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DE8BEE8F-B804-4318-B369-BF50EA2797B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8624BC-0F97-4771-B482-7412327D19DF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D71EA7-2198-4C8F-BEF8-3321898B5AF0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29E9D-DDCD-4FBF-B886-EF7803D98D9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0B57A6C-F947-4D55-BF57-95CCD43BFB98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4A8927-23FD-475D-ABC6-A1F90A175019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75A3FF4-D72B-469E-898B-A80DD035A93D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F665471-CFE0-4D35-ADD8-D8FD0099A220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C43EC23-0339-4590-BC83-2EF9BB804650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3791D6B-D23C-4983-9094-3553FD8CEE9E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C465DA-3FCB-4CCB-8981-9ADDA8C1CC96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34112D-B3FC-4E5F-A221-BF86E9899252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D9D1214-3DEE-4E9C-81BE-D8769734ECD5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DB21E08-7510-479D-9407-955E7CDB572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6F2C78C-0EAC-4DB0-99EC-2931BEC57C6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C90D316B-15AC-4D1D-9A99-D563FB9E95A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8326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689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702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5129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3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5BB9BB17-0853-4F72-9593-D23931D51AA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8781416" y="0"/>
            <a:ext cx="3410584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26CEABC-1E59-4D41-B98C-D5C501BB3FF5}"/>
              </a:ext>
            </a:extLst>
          </p:cNvPr>
          <p:cNvSpPr/>
          <p:nvPr userDrawn="1"/>
        </p:nvSpPr>
        <p:spPr>
          <a:xfrm rot="10800000" flipH="1" flipV="1">
            <a:off x="846947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7918704" cy="384721"/>
          </a:xfrm>
          <a:prstGeom prst="rect">
            <a:avLst/>
          </a:prstGeo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953FE85-D2DB-4FD4-8580-D5CFA02B339E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5E1A5C0-3887-4A03-9782-3785333E3A59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401AE3-A13C-436D-85AD-6F9B6090229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D41B32-0E7D-42CA-955A-4A23E2791872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C6BF6B2-089C-4AB8-A965-1347C13084CC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CA96246-CF1A-47DF-B624-BB825CF48E8C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96820E48-D666-499E-94B9-A6846A39656A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9DD72BD-F99B-4E1C-A8FC-A5CAD71F24EC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EDDBEDB-AA41-4920-A08C-B229B214788A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43CA7B9-D503-4366-8633-06C480B67216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16D7F20-2B3C-41E4-BB33-42D1FB057E6A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DD30E61-7B28-4CAD-8F7D-8F9CE6218CC4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EB3AACB-F57C-4F4A-9977-FAED110B4F6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4C782486-E82E-48A1-901B-DB0D162532A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684607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93197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ED2D5E01-B664-4C91-95B4-8DA17E82B7B5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0" y="0"/>
            <a:ext cx="609904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>
                <a:solidFill>
                  <a:schemeClr val="tx1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F167B1-CAD2-4703-BA78-E925BB5FAAB2}"/>
              </a:ext>
            </a:extLst>
          </p:cNvPr>
          <p:cNvSpPr/>
          <p:nvPr userDrawn="1"/>
        </p:nvSpPr>
        <p:spPr>
          <a:xfrm rot="10800000" flipV="1">
            <a:off x="6099048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799BF65-473D-48F3-A1B4-CF1CB546824C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89826A0-F3E6-44A4-951D-578C163325FC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6B8BE0-341D-457C-93E5-A0C686672B9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9E9558-8BE2-489F-A2A8-6AF59E839E02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7E5046D-9596-4B4B-854B-76FE01B936B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AA3B1B1-78BA-43FC-B822-657AC8077CA2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057E2ED-AC1C-4582-B35A-E7EC7EA9651D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DC3E200-CB26-420C-B6D6-FDEC1761D72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B9C7586-DEA1-4884-BBE4-F87E76692B98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469DFFE-3448-4DDA-81A7-AA503C5E7D28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392B9D4-F301-4CE5-A3AA-722EECF3234D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69A9BEF-2EEC-49A0-BA88-BCD24A1C0C8B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11D66B4-1124-4792-A67A-DB05265300C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8ED20FA-7525-46A4-A00E-095D67FC020D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C46E4188-ECCE-40B6-A4B3-2A19B781BCAE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2395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460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Dark">
            <a:extLst>
              <a:ext uri="{FF2B5EF4-FFF2-40B4-BE49-F238E27FC236}">
                <a16:creationId xmlns:a16="http://schemas.microsoft.com/office/drawing/2014/main" id="{898DCBDA-EE21-427A-BAE3-E6AB1CBE6EC4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0" y="0"/>
            <a:ext cx="436168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>
                <a:solidFill>
                  <a:schemeClr val="tx1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6A51ADDB-E00C-4E76-9B72-50098284068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A9FF66F-4B50-42B1-A492-5045FFD591A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94CEDE-942B-4CB2-B340-914174898011}"/>
              </a:ext>
            </a:extLst>
          </p:cNvPr>
          <p:cNvSpPr/>
          <p:nvPr userDrawn="1"/>
        </p:nvSpPr>
        <p:spPr>
          <a:xfrm rot="10800000" flipV="1">
            <a:off x="4361688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2C6522-0A87-4330-BB68-1BF352D18298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F6B2711-0EA6-45C9-8CDE-1E21303B0659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980F20F-CE0B-455A-9190-7B27FA1ABE1E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B6D1CB1-1292-4259-9650-9CE07F468557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EE632B-85E0-4F25-8EC6-7A86B13D7B8D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DCE8666-8D5E-4A88-A260-6D649FECF44F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7C904A5-E0E0-4548-B2FB-8E5BEAB0B99B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23AF744-F882-4D4C-BEA8-BCCB823EA4E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9DB9391-C138-4DD9-9B96-024AD3FF5F43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41BA463-11AF-412F-9C2A-D09D6373B6C9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CC4DEC5-70D4-4A68-B028-0536EFA6A2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ED4F3D3-324A-43AA-845C-9A042C852C4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7D76C6E-F139-4803-B1AA-B1661D895AB6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F61E415-3FC6-4814-876B-DA6397DF8C94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C08A6EF9-3ED0-41B7-A2DC-77DB6095FC4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23291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57707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5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Dark">
            <a:extLst>
              <a:ext uri="{FF2B5EF4-FFF2-40B4-BE49-F238E27FC236}">
                <a16:creationId xmlns:a16="http://schemas.microsoft.com/office/drawing/2014/main" id="{A60D7BE0-581D-4A43-912F-DEEF2F9CD809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0" y="0"/>
            <a:ext cx="3410584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E70CB0D6-4980-49F4-A035-323A6D19F5D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C96A6FCC-A659-4027-9EE1-6230C47FAAC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D406CD-D7D8-46EC-BA52-8A19A53DE0D3}"/>
              </a:ext>
            </a:extLst>
          </p:cNvPr>
          <p:cNvSpPr/>
          <p:nvPr userDrawn="1"/>
        </p:nvSpPr>
        <p:spPr>
          <a:xfrm rot="10800000" flipV="1">
            <a:off x="3410584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rtl="0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D5ABB3E-0BEE-4246-9CB9-AF6812A61291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2C68459-0E9C-4D98-945B-2480344EEC01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F9DC5A7-CD2D-47E3-B1E0-37140FC0E3F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F949396-2E68-44BF-9826-A4ECE7C48481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32845D0-9B23-48C2-AA01-F9D46C68D48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7F39BC8-4D6F-4571-8909-BFE2C434C8B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ACF3F65-FD3D-4B20-96A1-039A4CC31558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61D24D9-9B52-4702-BC66-FC0F80DB78B1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4275D2-0F0F-43D4-8FE2-4FD06C5994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1098BC-5B9F-4BA8-98D6-95AD113C014C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0604FF1-5D61-4A8B-A038-9008FEB6B01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8CC40F0-2225-4FB3-B89A-C48D728B3E9B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225087-8C79-4059-AFF5-94D78E4D6D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17724A9-121D-4A8D-9369-031F64F74EAB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33" name="Slide Number">
            <a:extLst>
              <a:ext uri="{FF2B5EF4-FFF2-40B4-BE49-F238E27FC236}">
                <a16:creationId xmlns:a16="http://schemas.microsoft.com/office/drawing/2014/main" id="{78750BA0-0D2C-4E78-A048-94187541F5B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5711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1070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ackground">
            <a:extLst>
              <a:ext uri="{FF2B5EF4-FFF2-40B4-BE49-F238E27FC236}">
                <a16:creationId xmlns:a16="http://schemas.microsoft.com/office/drawing/2014/main" id="{D3282601-6D7B-4146-B1B9-4B9B276588A3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607B75-EB25-4D6B-A7C4-3ADFF029D7A4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46E4BDF-F5B8-4BF3-A5E4-7E0AC2357822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2E2ED48-CF0C-47F6-82AC-39A06F8B2A79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87D30FC-03C4-4D44-A6B9-7A27DCB8AAAE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18" name="2. Slide Title">
            <a:extLst>
              <a:ext uri="{FF2B5EF4-FFF2-40B4-BE49-F238E27FC236}">
                <a16:creationId xmlns:a16="http://schemas.microsoft.com/office/drawing/2014/main" id="{1C4A0271-AED1-42B8-9F9E-B27ACF1A7DD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0615818-D49C-49D0-A848-900C84D85A6D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3AB0E80-C620-4448-BD66-2F73661EF9B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616F9BD-5CCE-4D1C-8A25-17E9CB427F1F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28DB405-C49D-4E4A-A361-27E169634732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7F260D2-E9ED-415C-A6F5-4F2CE3392BB0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E592A1D-7BBF-4495-B1FB-9656AF9A4ED5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429D57EB-DA0C-4396-BED6-CA8EBAB2C47B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883751A-D4F8-4910-905D-F994794DB729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12A6BED-1550-407C-A173-29DD4674248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AC40BB4A-B234-4B59-ABC4-DADB2359AA9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8A22D7F-E38E-47B2-99F9-34D0712C513A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F95EFEB-AA28-45E0-917E-79ED6D13B674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084FEBD-0957-4A04-9C8E-087EA7592C97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053A2F4C-7E2D-43A8-A295-691EC8546CC4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A5245362-2936-4DF0-94E9-714639ACE095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38E6314D-9051-4250-B160-8832361EC487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2B6CF85-F181-4C52-99EE-D2D980BF7517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FC358BC2-BB4D-4699-BDB3-CECDA3C08CA1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FD9D6FF-A381-4578-A8D6-65CEC699C71D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AFD1D98E-033E-4A91-8BA9-AD02426215F9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95162B54-5304-440A-B1F0-E28A25299C12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98E7D519-98CD-46BE-ABBE-C2D1B142AC23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778046D-9B62-47D2-B6B7-69DD5D9DEA67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D46C7D10-CF9B-45FC-AAD3-2E37972B00E0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76866D3C-CF7F-469A-B0B5-0E2CC2D7AA0D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6175BAD-5EC6-4604-A10A-292360591286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BC0AEE38-5AAE-4E2A-ADCD-08B493F9B9BF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9604332-C64F-4DED-8A9C-FB9CCE997C16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129D37B6-E450-4C8C-8F7F-9842EFC10F27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7F553705-CC59-4BDA-8195-E8824715369B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1F092209-8743-45C0-8E1B-D495B4E6482D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8DF00C24-3C11-497F-BF72-03C1169557D6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2C80626D-ACEC-4409-BEE2-038F328917BE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18877927-C6D7-4317-A2A8-125C2D8ED353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D0D7696-4A3F-4579-9CF7-796BF3DA25AC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59EFAEE1-7873-46A5-9931-FA24C2B67429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1E87CB23-575E-4D45-A027-6D6653BED394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83CE8B7-99A4-4486-92BF-16C8BA083EE8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66BBB8B1-3CE3-4757-A311-40736107A110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9E217BB-99E7-475F-857B-1E235523C8C7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6C11CC9C-EC07-40AF-AC28-3BF3A53E1F0E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A3FB2F44-117B-44C8-B33A-7F42366D359A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67B9F04C-D426-4CB2-AEF6-F4799B174D18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465B05ED-B3EC-4CEB-8D13-491DFF63B8A1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32D8199D-0BE6-483C-BD23-CB40385B8467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9C5AC9A0-A901-45F0-A3F2-779FD90A0A77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80FBFAEB-BB01-4D2D-9CA9-DEA18F857393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13037266-55D2-47C9-8BBB-B944DD73CCAC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65066CA4-8084-43A7-96F2-9431C3EF784E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965A7AFA-4FDD-43C4-88C6-34B7A40880FE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C86D6042-8EA2-4813-98BD-9C8F8385323C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50E6D3C9-1EF9-44E8-9E2E-F52B02621AB2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25EE20FD-C1C6-42AE-837A-BF3DAC02E11D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44D1A68E-076D-4AE6-A192-FEB1A4B9352F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DCCFE3DA-4B9C-4ECE-B6C2-CCF748568208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2A3EFE8E-5051-49A3-9EF5-EE53ADB63527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5F1E7A5A-E2E5-417B-85F2-79F4CB041CBA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78E26A7B-B14C-4370-8E5F-F5ADD33F7030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EB2816C1-1EB0-4859-9AF8-EB1DC069412C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2CF30853-99F0-4A4F-8713-14C1E5035F69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77967724-194F-498A-ACED-334EB908C13E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B0DF687-1355-49E6-8342-5BEED664DA8A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2C3F7A79-585B-4E64-9B9E-A77CEA19CF0C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1D9AB2BE-F1DC-4E78-BE02-9164D7E965DB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C69601A-C929-403B-A985-8CEF1332F7D7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4E758EB6-5833-4E3E-ABAF-C477148FE4DD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BD0BFB89-1DDB-488A-8CC4-CEE7D14C9A88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8B5D9EE-6560-4174-A987-7711DC4F46A9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6AFE94FF-1E33-4F7D-BE65-09FF8F9DB014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34B2035-46D2-46AE-9898-50B5B0643941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8BADF6-FF95-4492-8800-05D425045FA6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D29C3B52-6D20-420E-8FC4-138E49BF34E1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85885E6C-2C6E-4A74-B527-B5AA4CF0614F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F485A73-8E55-4E3F-8E3D-4D612DC47992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2E96ABC1-A7A0-4DC7-BFDC-4E1E537103CF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1DA75BFE-D34D-4477-B4C8-C716EA77221F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54970A0D-4FDD-441A-9CF4-751A2EF4F176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C1F2017B-6238-4318-A726-4021ECFC1C32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4F93A3C4-CA14-4B39-A598-DF198DC803F8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8D7065AB-1AFB-474E-8DCF-0FC2CA9F5E01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08C4A5F7-24EE-4557-B431-8CDB59F54FC5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8DFC757-C090-4824-AC7A-4A760B1E49F3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4F85C93C-D825-4175-8B7F-A7BF5589EC13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F083CE3C-25BB-4325-9CE3-47AD319A9734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117912E5-FF6F-457A-AFA4-3588325AB944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2ABB6B0D-ED1F-4F1C-85ED-ED59C6764482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B3C3F45E-6640-47E8-96ED-A9C66DCE9959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6C12A7C6-2371-4146-93D5-7A5D3DDF7A7D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15226E8B-52C7-4AE7-9F80-3150C126B821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263327FC-F47D-4FE7-865B-F6B375B7087A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26A8715-0BF0-4F7B-B4DD-DD625A44B471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C09CCD5-24B9-43EF-ADFC-1798BA8AE246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75AED7C7-A5DC-4F3D-BE40-D5CD9FE39AA8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0AAC82CA-33CD-47AA-9FC8-13EB5176AC34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8AA2970-4020-4050-997A-92C04EABE45B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3099DEB5-B996-435D-88FF-5780B46C4056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E6E141A1-5253-4662-AF54-3D73CDE18D16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D8B09A40-6FDE-427F-B5EE-058FC0A2CA63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C8C9573B-C844-4F70-BF11-6DEAD5CD3B77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AE4A888-FE7F-48FA-B4DC-0F6F57D13E3C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C2C309B0-CDC4-4EC6-9C80-C99AF70F2A00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1D3289A5-2DFC-429F-9120-912A4E8CA128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7C811BC5-0117-480B-A2C3-B61151A9394D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297443B2-57A6-43D4-90C2-30B2E39E6589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3DE62F48-F141-4D0A-BF36-FAEDEBFF09EA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3E168B39-B063-4671-B080-6DB0BCFE4044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C33FBC99-E0F6-4657-9955-5213C1B41FAA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E3279A7-0ABC-41BB-A96F-7F4679ECF018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EB2714AD-C0CE-414E-90C8-103E05597717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4CED0B5-EBF8-4F85-8FD7-C459DA43013A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4C2F16D5-AD83-4989-BF1B-1FB10806F128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7697800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98369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666AF14C-4DDC-4671-AEAB-9A41A36D1614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D86D7F-EDA3-4A68-A117-A4B10F65640A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010CC91-F92B-4262-88AE-1DBA076D01A5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E16CB5E-16A7-497D-9B27-7CCB4E44E55E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8F77A49-3A6A-4CCE-A471-2E3FE14E5A08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5D9BA5A-66BD-41F6-A014-1D6CE81C2F65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01108B8-BEAC-47FC-B2F3-AF6EA5439CAB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8F5E2CAA-53A8-457F-853A-7BFF1BE8ED58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D9D335D-2575-47FA-991F-257A48686E4F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D777C816-FF41-4024-9759-4C8A02DA302D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49D1F0B1-FF62-4187-A15F-07498FC03D20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038CAECD-3B11-41AA-A877-57073217EADC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50597DB2-0527-4F92-AF32-06CEB541C498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51ABD59E-8DFC-47FD-BA3F-10FB5D055121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504F3511-57A8-4E0B-915D-CF2E523B8A9B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AF1E647A-A999-4116-A2E4-6FAFECBEA73F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3612039F-6CDE-4F32-BDB4-A47C10912828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E332B87-83E0-4D10-9446-1837D932634F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E75C65BC-2412-4785-81A7-BB0DE44215D5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3305F76F-4084-417E-A083-ECBBEC2DED19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361BF689-30D1-4C10-ABE4-B24A1BE33BBD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D9CE3A22-EACF-4B59-8C0E-26F0665A420D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F9BEB788-55FD-4EF0-87BB-92FEA911A677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441CB225-8085-4E4F-A382-B55377352489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8944A22-D028-4EC7-9631-84E013DC708D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2330B484-DD38-4BAC-B443-7436431E5FB5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37CAE84-785C-43AB-BC36-C249B786D86B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3FB51E21-54FC-4886-A166-83B516F811A9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3327122-A662-4941-9A71-4C28E1B4CE5A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714B657-1D0B-4736-9223-833597AD6151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1300D139-0410-476B-BD19-231F604E08CC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8A041954-A7BF-4554-B70F-261BB72AAC1D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50C2B1A-DF97-4BCA-8B34-4AA63D9550D8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A8C5C794-F2FE-47E8-948C-17B6A4B09E83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564C77F6-AF1D-484C-955B-74C97084444F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8A11AEB6-A7D9-4B48-872E-D934F0778FBF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8FA6911E-ED9B-45A5-950C-068E561A4F81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17EB4889-8EF8-443A-AC7A-691B49F2A748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3ECD52A4-AE7B-406C-A7B5-9D8A748A8F07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FA712057-70FB-4FF1-A255-F3180083FC2E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A96E82B0-3AB0-47A7-A4FE-011AEB95C41B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A9E4A573-3053-4641-92F2-789CAC157CFE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E8AC596F-49CE-484C-A3C2-10E9049CA659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D330819A-86BB-41C9-9158-2176A5A51683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EF8738F-57CF-4337-B457-79179D59E8F7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CFE08942-0008-4C92-81A9-FBC2AEC9B18F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6893B0E6-719E-4653-93F9-C5ABCC5A9360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3F27CE08-A3A3-4906-8D7D-2EC025DE9885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1F80F0E-60D9-4FDC-8ECB-244429EDC9F7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B2FE0EFF-2861-4DD4-A36D-556BC66168FD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162CB3B4-ED0E-4C25-9244-A126A2728870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4B6FCBC2-3493-4E9E-B8A7-7D253D1CCE29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0E1A4D51-FDBE-4AA8-AC86-DEDBCC8BE4D2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D29E7A47-54C2-4A60-98C7-A7C3CC67330D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55978362-DFFE-4B16-8DC4-1B1837942875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9550D926-C876-426D-9AE9-550C7E732EAB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97C1C39-9A8E-42C0-BC3C-4226883B7FE0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763C80E-F40F-4A91-904C-6D9F7638960B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14CFB4D-9B5E-4450-9FDE-2081A8E125B7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02231AA6-4B25-4CA2-B91E-F7C7AB5B2EE2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03E896-5609-42F7-8F21-327D7A3481F7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B2C942C-8F87-4BE1-9569-2C89F8239D7D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3FA269A-0957-4558-9E96-BF0D53B724FE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E1D6BEA4-D48F-4BC9-9255-0BDCF19B891A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6EF194C-8CBC-483B-87CE-28E3B9DE891C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8FF871A-7FB2-44BE-98BA-473D31DEB7A0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38A6B58-B36A-4D1E-BE01-5AD7E4D54577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8E11F9F0-257E-4CD7-B667-D128BE8F05DB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B106D5D-A3D9-48CF-993C-2A6C755B8D5B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5593059-F287-4393-BEF4-EF6DBAC9EACE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276A4F5-B73E-409E-81B3-2AF3A2849201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4839F7B-062D-451D-862E-22A7199D9D45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07B693EA-0F6C-48D5-AB4E-1DC5DEF58317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C49946EA-9DA6-4E46-A7C3-98127FDF5D9D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E1BB01F-4157-456D-B80C-B32C5305A21F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2184A01A-25CD-4E99-BBFE-416D2C78D6D5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6BC0DF5-7D46-4A55-982B-A6E97DFCD340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072110E1-F458-4BEB-9938-6D441DEC61F8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F11B3FE-B6E8-4288-B4B2-0F6B6711DE85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C927E98D-2DC3-4D9D-A732-6A3837A83F2A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0F2E268E-AD79-4754-8975-BB698D2CECE5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D068424-71CA-41FF-9F55-7C8A3263D3B8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7328F6C-06D5-4615-B4E7-287854E450E3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70A9C6E2-9817-488D-99A0-DDD05956F87A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06C3992F-7F15-46E5-986B-F09A87B16BC1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54D028E-5BBA-4D59-96D5-C790F60A2974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2E7CC842-D3F7-4809-A9C0-C2A2FA2A7845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95780F0-54F4-45E4-8701-05F942EA9EC4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8B38AC29-2593-4B15-B8CC-C3403E57A0E5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1E34D9B-1FDC-4D5D-A869-855AFE65DA1C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48FBE9E-5B2B-4116-A210-E2FC633A49BB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059C504-1CD4-4B53-A852-3958656C2234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0007468-7C3C-4756-B6AD-C79B12950E90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55F3FEA-3FC2-4CC9-BD8B-37E281BCA592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B67BEBE6-A55A-4B34-8D1C-71FE46C61862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24585F9-F204-42C3-9B26-D5F6598B3617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AACA304D-9E54-4F99-8EA9-96148AB851D3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7CE4B42E-EC0E-43D7-869A-84871414B896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FCFC9A3-95A0-40F0-84CB-13F996740B7B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05EFD7FA-8C78-4EC3-9B16-85E6AB3A77D4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51B2730-A2D4-4987-8475-BC1010D55B1B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B5C3207-01F6-4FD9-B587-1CD08ED74B65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F3D7BE7-1370-421A-BD7A-7E47C97ECF3D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01341ED-E851-48AC-A8E1-93C8E079C057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7EA7A365-4F76-4633-A217-5528F9ACC562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CA33CBC-98DA-4CE4-BE15-0F47E16B7427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AEDA1C3-B397-4FD9-8495-7BD8B3407199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A07B3AD-0508-4A5C-B1C0-EDE1C4FBF071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98C7678-4D0C-4EEF-87BC-A96FF4875F92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4AD9E86-525B-45CA-9D9E-44AF5359DCA0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ECE8766-2020-4499-9474-79BDA498C6CE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9049E73-9604-47A6-B0D8-BB90965034FA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AC4D508-7BBB-4F9B-BE50-7391A60A0FF1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1A82DE5-97CA-4104-B6D4-9F8EC6E0D86B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pPr rtl="0"/>
            <a:endParaRPr lang="ru-RU" dirty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D1A02E0-E39F-4334-804D-E709733B07BB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 rtl="0"/>
            <a:endParaRPr lang="ru-RU" dirty="0"/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80C22906-5C54-40CA-9C78-54822CD25FF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05005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0450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ckground">
            <a:extLst>
              <a:ext uri="{FF2B5EF4-FFF2-40B4-BE49-F238E27FC236}">
                <a16:creationId xmlns:a16="http://schemas.microsoft.com/office/drawing/2014/main" id="{9E9034DA-804D-41F2-924D-E2A7DBC198CE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ru-RU" sz="800" dirty="0"/>
              <a:t>Источник: …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CD0DC57-AB61-4DA1-ABF1-3C6AC8499297}"/>
              </a:ext>
            </a:extLst>
          </p:cNvPr>
          <p:cNvGrpSpPr>
            <a:grpSpLocks/>
          </p:cNvGrpSpPr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99A0FFB-D958-4A2F-A858-CF1B4E0FD26F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086E54AA-AAA2-498D-B589-CEFA0BD222CC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rtl="0"/>
                <a:endParaRPr lang="ru-RU" dirty="0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E7E6AA-1214-4D8C-B5DB-F7A5BEFA2CD1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B43BA92-05B6-49E9-A8AA-9D3E1D5053A8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solidFill>
                <a:srgbClr val="90E7F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 rtl="0"/>
                <a:endParaRPr lang="ru-RU" dirty="0"/>
              </a:p>
            </p:txBody>
          </p:sp>
        </p:grp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11F3D1E-FBA4-4129-82A1-FAC342FA9AF3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6E6CCFF-A1D3-45AC-8D23-028F3285F96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A0DD921-4C40-47A1-AFBC-D154278A8A3E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F83517E-8E4D-4D05-A546-F56532A026C6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DE52C19-5820-412E-9C30-FBFF6B453BB0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0DB7C1-AC11-4850-8136-F0074CA0460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F6DB10F-FDEA-45BF-AA25-1B7A9FEB2017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36D4410-6E89-47C3-9D70-5E61059CA26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3C6BA94-3C43-4150-BA71-B6902341A376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A250A54-6E7C-4D1F-A9E3-5B579D1478C7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9BF17D6-C4FA-4459-B3AD-831FF700ACF1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6D72A9C-022A-47A2-98DC-7C67A0FC97AA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5E5B0D1-1569-4A0A-94CD-EDD3165A4E01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F03C653-02D2-44C1-B38C-935CA5A7E66F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CB4C33E-BDBF-4813-A9D9-F9259EE4499A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1F2A80C-D77F-4CE8-8782-158639B295E6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250D1DC-D1A7-40C9-9D9B-C4D1B8AE64E9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F8CC980D-8CAC-4A4F-9CBD-D86E63360E91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202353A-D792-48B6-9271-966659DE64AC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B387BA0-F659-4B1B-86C6-D9DA0D3CD348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7A5F3BB1-7884-4972-8C6C-A605C2441227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2C85C8F-EAB9-4AF1-937C-4A6DD6386BA6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1F959336-A01A-4F7F-92EB-6DC3CE936E1E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C8C9490-451B-437E-8D43-527964507AB0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3E270AE-A911-4D05-8C81-BA100887D240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566288D3-B058-4FB3-BB48-F46C6C8E9CF9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98D91ACC-58C1-448D-B18A-5E9ECE60D5E9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1ECE3686-C8ED-4B0F-8B8C-23D926B397AB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8BE8A581-6F16-430A-BE75-17D4EFB5D8ED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04B4EDE7-DC60-4B81-95A8-2EAD87101D33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FEA92050-D2B8-4962-A6C5-CAB776FFA3D8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871EB760-322B-4902-BA46-89D63292B5DB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DA3602C3-0E07-448C-A30F-CCB9E6FFC960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91CF76F9-B8CA-4462-84A6-737852A93238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5B1F69F8-FE6A-4773-B95D-80028FF8993C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1971571D-28F3-4C15-98A1-DE9B95C1A34A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7C3B3D7F-70B1-4648-802E-EC595E3D2497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B1EFA8D-1C21-4A27-807A-B5B241F5D627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0E0F854F-7953-4B4B-9B2C-1160AB96E971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7E30F183-E2DC-4A46-AC23-E75DC550A64F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AA663D41-1361-4039-9600-6EECC9422CEF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12649EF8-FEE3-4BC4-BA83-B1448502EF20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9F85B5C8-0D07-47D0-BE51-FD5947DCF9C7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3A842912-14E6-4D4D-8EA0-61CBD019BC50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32B0BE66-927A-4BC7-A183-C308DCDAF79F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45D19E64-C846-4C02-9DE5-470AC3328CA0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7EE71304-BCE0-4B44-BDDB-165FB05131D2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0842D98F-E5CA-498C-8017-5AAF14A37F45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6CA6C4F8-54EB-459F-BDA3-D926FAA609BB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A4116B82-6C44-4953-8CB1-5306B39B59D3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DD22DCBA-5F01-4689-B124-01B410053FD2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03A5AE63-BEC0-4962-9439-B1CA008945E5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395031D0-F888-44CC-B565-81DF13A71424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1FF6D556-96D5-42AC-A5FD-339C1C14E6C0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80C7B001-4A6E-4926-9F3D-B3C7C795A044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138B5563-A8DC-40DF-80C8-35D51BA9FEAF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EC841262-CCAE-4392-8600-FB86C9503E9B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C0E0710D-97B8-4D39-AEEF-04DDDFC7B57D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D160925B-5C50-4BE7-A10A-30D44A73471A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16121539-3AA7-4FEC-8167-8D89BAA1054A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14E1A98F-57B8-46A9-8A3E-5821AC1F0724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BB4C943D-BA0A-45A4-9197-69868589833E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52AE6BCF-5457-4B32-B02E-598EC39506C9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F0F51F6B-4D42-47E0-816F-1B75C227B2A1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94DF1A90-8D6D-4B13-85B7-41D6B4C60386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2334081B-B288-4C4E-AD37-27D3F7058640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F9856D4E-F5C5-4FC0-8912-4402757A2EA5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8ED28BB2-51C2-46AA-9E36-A98AFBBF5865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02416A6D-6E7E-4287-8F60-E9E9044D8791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2B2DB87E-55ED-46F9-87AB-5A5EA6853FD4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4E88598A-D9FE-4651-BEEA-5DCED0788E78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7A0DBE66-8706-44B0-8B75-94137DC4723A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F3D600AF-D392-422D-8EDF-DE990C62957D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9786595D-517D-459B-A36A-7A6B0215FC80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5EB1D40-8588-44B2-8C95-BEB2728AC9AA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80FAEF96-9AB5-45BC-B0FB-14CD4C8DC130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0472E619-EE59-4CBC-B704-5BFE49240828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2355C83-B584-4E3A-9D1A-A705C97872C5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2682C2E-2076-4BF2-92B6-BE1608304A5E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42CF9582-01DC-46BC-9E22-26479A56D759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C2A959B-E72F-4E5C-9499-9825D6BBDE1C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453B337-2A72-4314-83B5-F2C62A775802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59489B9-597A-4818-86DC-77FB4AAB6440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5E812B59-01A7-4F9D-A4CB-AA40E22B8DEE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AD8230C4-64AF-4233-8F70-3AB5F8C7A5DC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8FDB9085-F410-43E2-9EAE-555AE9EEFA8F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1A6F9D2-89D5-4063-9313-BFDCA90C9A6E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261E12B-309E-4F71-9018-7A038F36AA20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81E9ADB-9D52-4843-9F2A-0F3C9A4B3A43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B6D7C93-726E-4BAB-9C20-8D81D76F9672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E92E693B-C9B3-4C23-91F6-7E4A4CD95174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16B29BD3-B4C7-4049-AA97-8B529AA6FF2B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99BACE2-53B3-470A-9701-4611B4E75BA3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EDCD459-1D2F-45DD-80C0-46D0B06AECDD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2B8C475E-9AD0-41C2-86A1-E9792D06BA0C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E5ED50C-179F-4EC1-909F-5635892E03FA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E7589ADA-AD5A-4EE2-91E9-A52ADBBB0B7B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4CD30A2-B0B8-4E22-B693-78C04C6179F4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A102DE2F-3EBA-4003-9590-6B361A811B5A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4BBB4B4B-F707-492E-88BA-17E854EF2939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0ECDCECE-FAF6-4D56-A8A0-A316CDB27F1A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9F9C648D-FD47-4552-B826-AE324CD5D024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395680-8191-4A69-B6FA-63CD0405F71B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77FDA443-CE46-4F16-9DBF-243E51B283A3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8C248434-21FC-4031-8B91-4C128214BC14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93BFC237-4B9D-40F5-9E38-75FF8D553ED1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F36137AF-BBFC-4DD8-89F8-C6B6DF7B5F63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3FA41895-CBAC-44C6-A992-D21FB3E977CA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66FD9D5B-2D38-4BF1-A14A-136CA33887CA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7C2685C4-FC20-4718-9589-85862643E453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79D60984-7254-4666-8ACF-EF2D90334D7E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0277DEDD-2151-445E-A9EE-DB8A1CF0B8C3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A595BFE4-E9C5-4229-AA84-1BA02D9E04E2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242BEF76-D766-481E-B917-ED7EA6008BE2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C71FD9C8-F2A0-49F4-A04D-89B1F25E94C1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1C800E29-E045-491C-B021-8D3090D5F680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508C2272-4DF6-4524-8F85-7E5BC6B219A5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ADB7D7F3-249C-4103-885E-7326700F4FAD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90BF2BF2-D4BE-4237-B1E0-44587A498663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9B131AC-3578-458F-B3E4-8326D5C4B649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92CE5763-A1D1-4C83-8070-69DFEB13469D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5669C9F7-13CC-4DA7-99BB-A05623013086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815FD8D8-8B24-4537-A008-50C63AC27E7C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C037535E-CE8B-467F-8BF3-DDAAADCC5B3E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515890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1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410792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blipFill dpi="0" rotWithShape="1">
          <a:blip r:embed="rId1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3907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6" name="LogoImage">
            <a:extLst>
              <a:ext uri="{FF2B5EF4-FFF2-40B4-BE49-F238E27FC236}">
                <a16:creationId xmlns:a16="http://schemas.microsoft.com/office/drawing/2014/main" id="{417D7FAF-35B8-4173-88FB-739B21C6DEBE}"/>
              </a:ext>
            </a:extLst>
          </p:cNvPr>
          <p:cNvGrpSpPr>
            <a:grpSpLocks noChangeAspect="1"/>
          </p:cNvGrpSpPr>
          <p:nvPr userDrawn="1">
            <p:custDataLst>
              <p:tags r:id="rId4"/>
            </p:custDataLst>
          </p:nvPr>
        </p:nvGrpSpPr>
        <p:grpSpPr bwMode="black">
          <a:xfrm>
            <a:off x="551942" y="481161"/>
            <a:ext cx="1893202" cy="585216"/>
            <a:chOff x="0" y="973"/>
            <a:chExt cx="7680" cy="2374"/>
          </a:xfrm>
        </p:grpSpPr>
        <p:sp>
          <p:nvSpPr>
            <p:cNvPr id="19" name="AutoShape 3">
              <a:extLst>
                <a:ext uri="{FF2B5EF4-FFF2-40B4-BE49-F238E27FC236}">
                  <a16:creationId xmlns:a16="http://schemas.microsoft.com/office/drawing/2014/main" id="{03DD3F3B-2548-4AA0-A5B1-E54401FEE8FF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0" name="Freeform 5">
              <a:extLst>
                <a:ext uri="{FF2B5EF4-FFF2-40B4-BE49-F238E27FC236}">
                  <a16:creationId xmlns:a16="http://schemas.microsoft.com/office/drawing/2014/main" id="{A5CEE8F7-DC61-4907-AA21-C799D61ED268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5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 rtl="0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 rtl="0"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 rtl="0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rtl="0"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551942" y="6190488"/>
            <a:ext cx="4114800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rtl="0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rtl="0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</a:t>
            </a:r>
            <a:br>
              <a:rPr lang="en-US" sz="800" dirty="0">
                <a:solidFill>
                  <a:schemeClr val="tx1"/>
                </a:solidFill>
                <a:latin typeface="+mn-lt"/>
              </a:rPr>
            </a:br>
            <a:r>
              <a:rPr lang="en-US" sz="800" dirty="0">
                <a:solidFill>
                  <a:schemeClr val="tx1"/>
                </a:solidFill>
                <a:latin typeface="+mn-lt"/>
              </a:rPr>
              <a:t>is strictly prohibited</a:t>
            </a:r>
          </a:p>
        </p:txBody>
      </p:sp>
      <p:pic>
        <p:nvPicPr>
          <p:cNvPr id="5" name="Partnership">
            <a:extLst>
              <a:ext uri="{FF2B5EF4-FFF2-40B4-BE49-F238E27FC236}">
                <a16:creationId xmlns:a16="http://schemas.microsoft.com/office/drawing/2014/main" id="{A8772CBB-049B-42D8-B10E-A3ABB7480EDA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57"/>
            <a:ext cx="12192000" cy="6856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168546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538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292737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053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15304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48DFF47-B466-49DC-B8AE-813A3A3E84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135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48DFF47-B466-49DC-B8AE-813A3A3E84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9989959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3161F3E-8658-4AC6-A008-10A9E1A42D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713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3161F3E-8658-4AC6-A008-10A9E1A42D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4022558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647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vert="horz" anchor="b">
            <a:noAutofit/>
          </a:bodyPr>
          <a:lstStyle>
            <a:lvl1pPr rtl="0"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769976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13951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think-cell Slide" r:id="rId10" imgW="473" imgH="476" progId="TCLayout.ActiveDocument.1">
                  <p:embed/>
                </p:oleObj>
              </mc:Choice>
              <mc:Fallback>
                <p:oleObj name="think-cell Slide" r:id="rId10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 rtl="0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9733704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2876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3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 rtl="0">
              <a:buNone/>
              <a:defRPr sz="16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342765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40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C2A81BD2-BB6D-46F4-A26E-5D243E24DDD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4671219" y="6453769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860F551B-05D0-4883-89B6-6CE418F81F78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Right">
            <a:extLst>
              <a:ext uri="{FF2B5EF4-FFF2-40B4-BE49-F238E27FC236}">
                <a16:creationId xmlns:a16="http://schemas.microsoft.com/office/drawing/2014/main" id="{AD6B0CAC-AB2A-44BD-A5F1-181F096A1CA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4671219" y="1181906"/>
            <a:ext cx="69677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TopLineLeft">
            <a:extLst>
              <a:ext uri="{FF2B5EF4-FFF2-40B4-BE49-F238E27FC236}">
                <a16:creationId xmlns:a16="http://schemas.microsoft.com/office/drawing/2014/main" id="{B80458B7-DA1A-4215-B701-10FAC61D0E28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12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 rtl="0">
              <a:buNone/>
              <a:defRPr sz="1600" b="0">
                <a:solidFill>
                  <a:schemeClr val="tx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1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828277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9514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1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491885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9628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 bwMode="black">
          <a:xfrm>
            <a:off x="8173371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8173371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14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247602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5349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9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3" name="BottomLineRight">
            <a:extLst>
              <a:ext uri="{FF2B5EF4-FFF2-40B4-BE49-F238E27FC236}">
                <a16:creationId xmlns:a16="http://schemas.microsoft.com/office/drawing/2014/main" id="{2638C600-7B94-46B1-84A4-8C904769428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9119861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BottomLineLeft">
            <a:extLst>
              <a:ext uri="{FF2B5EF4-FFF2-40B4-BE49-F238E27FC236}">
                <a16:creationId xmlns:a16="http://schemas.microsoft.com/office/drawing/2014/main" id="{B99699F0-BA7E-4449-B3AE-B5E796EBA187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TopLineRight">
            <a:extLst>
              <a:ext uri="{FF2B5EF4-FFF2-40B4-BE49-F238E27FC236}">
                <a16:creationId xmlns:a16="http://schemas.microsoft.com/office/drawing/2014/main" id="{C34BF1E9-D917-4FD9-B9F4-CB69675F1DDF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9119861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TopLineLeft">
            <a:extLst>
              <a:ext uri="{FF2B5EF4-FFF2-40B4-BE49-F238E27FC236}">
                <a16:creationId xmlns:a16="http://schemas.microsoft.com/office/drawing/2014/main" id="{D35815C2-596B-44C1-B9BE-5474DFE650BA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055223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0244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3"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4" name="BottomLineRight">
            <a:extLst>
              <a:ext uri="{FF2B5EF4-FFF2-40B4-BE49-F238E27FC236}">
                <a16:creationId xmlns:a16="http://schemas.microsoft.com/office/drawing/2014/main" id="{A030B95D-1D90-4A27-8714-CFE7C7DB7020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6573171" y="6453769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BottomLineLeft">
            <a:extLst>
              <a:ext uri="{FF2B5EF4-FFF2-40B4-BE49-F238E27FC236}">
                <a16:creationId xmlns:a16="http://schemas.microsoft.com/office/drawing/2014/main" id="{546D990A-A0D7-434B-9320-6311D017DAA2}"/>
              </a:ext>
            </a:extLst>
          </p:cNvPr>
          <p:cNvCxnSpPr/>
          <p:nvPr userDrawn="1">
            <p:custDataLst>
              <p:tags r:id="rId8"/>
            </p:custDataLst>
          </p:nvPr>
        </p:nvCxnSpPr>
        <p:spPr>
          <a:xfrm>
            <a:off x="554736" y="6453769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TopLineRight">
            <a:extLst>
              <a:ext uri="{FF2B5EF4-FFF2-40B4-BE49-F238E27FC236}">
                <a16:creationId xmlns:a16="http://schemas.microsoft.com/office/drawing/2014/main" id="{9388C4F9-67A3-422B-89FF-FAD8454A2F57}"/>
              </a:ext>
            </a:extLst>
          </p:cNvPr>
          <p:cNvCxnSpPr/>
          <p:nvPr userDrawn="1">
            <p:custDataLst>
              <p:tags r:id="rId9"/>
            </p:custDataLst>
          </p:nvPr>
        </p:nvCxnSpPr>
        <p:spPr>
          <a:xfrm>
            <a:off x="6573171" y="1181906"/>
            <a:ext cx="5065776" cy="0"/>
          </a:xfrm>
          <a:prstGeom prst="line">
            <a:avLst/>
          </a:prstGeom>
          <a:ln w="6350">
            <a:solidFill>
              <a:schemeClr val="tx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TopLineLeft">
            <a:extLst>
              <a:ext uri="{FF2B5EF4-FFF2-40B4-BE49-F238E27FC236}">
                <a16:creationId xmlns:a16="http://schemas.microsoft.com/office/drawing/2014/main" id="{1C0D7255-5C21-4254-B3DE-6D296E69C5F2}"/>
              </a:ext>
            </a:extLst>
          </p:cNvPr>
          <p:cNvCxnSpPr/>
          <p:nvPr userDrawn="1">
            <p:custDataLst>
              <p:tags r:id="rId10"/>
            </p:custDataLst>
          </p:nvPr>
        </p:nvCxnSpPr>
        <p:spPr>
          <a:xfrm>
            <a:off x="554736" y="1181906"/>
            <a:ext cx="50657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4615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76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555217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8145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7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4672584" y="6453769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3465576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4672584" y="1181906"/>
            <a:ext cx="6967728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13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79188488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1504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1" name="think-cell Slide" r:id="rId16" imgW="413" imgH="416" progId="TCLayout.ActiveDocument.1">
                  <p:embed/>
                </p:oleObj>
              </mc:Choice>
              <mc:Fallback>
                <p:oleObj name="think-cell Slide" r:id="rId16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2" name="BottomLineRight">
            <a:extLst>
              <a:ext uri="{FF2B5EF4-FFF2-40B4-BE49-F238E27FC236}">
                <a16:creationId xmlns:a16="http://schemas.microsoft.com/office/drawing/2014/main" id="{6425396B-5490-4E4D-8EA4-E4AB4F98BF62}"/>
              </a:ext>
            </a:extLst>
          </p:cNvPr>
          <p:cNvCxnSpPr>
            <a:cxnSpLocks/>
          </p:cNvCxnSpPr>
          <p:nvPr userDrawn="1">
            <p:custDataLst>
              <p:tags r:id="rId7"/>
            </p:custDataLst>
          </p:nvPr>
        </p:nvCxnSpPr>
        <p:spPr bwMode="black">
          <a:xfrm>
            <a:off x="554736" y="6453769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BottomLineLeft">
            <a:extLst>
              <a:ext uri="{FF2B5EF4-FFF2-40B4-BE49-F238E27FC236}">
                <a16:creationId xmlns:a16="http://schemas.microsoft.com/office/drawing/2014/main" id="{570396F1-4249-402C-975E-F70778173C25}"/>
              </a:ext>
            </a:extLst>
          </p:cNvPr>
          <p:cNvCxnSpPr>
            <a:cxnSpLocks/>
          </p:cNvCxnSpPr>
          <p:nvPr userDrawn="1">
            <p:custDataLst>
              <p:tags r:id="rId8"/>
            </p:custDataLst>
          </p:nvPr>
        </p:nvCxnSpPr>
        <p:spPr>
          <a:xfrm>
            <a:off x="3715757" y="6453769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Right">
            <a:extLst>
              <a:ext uri="{FF2B5EF4-FFF2-40B4-BE49-F238E27FC236}">
                <a16:creationId xmlns:a16="http://schemas.microsoft.com/office/drawing/2014/main" id="{C5BD98EE-C09E-457E-A028-EBE485145AA3}"/>
              </a:ext>
            </a:extLst>
          </p:cNvPr>
          <p:cNvCxnSpPr>
            <a:cxnSpLocks/>
          </p:cNvCxnSpPr>
          <p:nvPr userDrawn="1">
            <p:custDataLst>
              <p:tags r:id="rId9"/>
            </p:custDataLst>
          </p:nvPr>
        </p:nvCxnSpPr>
        <p:spPr>
          <a:xfrm>
            <a:off x="554736" y="1181906"/>
            <a:ext cx="2514600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TopLineLeft">
            <a:extLst>
              <a:ext uri="{FF2B5EF4-FFF2-40B4-BE49-F238E27FC236}">
                <a16:creationId xmlns:a16="http://schemas.microsoft.com/office/drawing/2014/main" id="{47D3FB95-30DE-4983-B5AE-01B80542C0DD}"/>
              </a:ext>
            </a:extLst>
          </p:cNvPr>
          <p:cNvCxnSpPr>
            <a:cxnSpLocks/>
          </p:cNvCxnSpPr>
          <p:nvPr userDrawn="1">
            <p:custDataLst>
              <p:tags r:id="rId10"/>
            </p:custDataLst>
          </p:nvPr>
        </p:nvCxnSpPr>
        <p:spPr>
          <a:xfrm>
            <a:off x="3715757" y="1181906"/>
            <a:ext cx="7918704" cy="0"/>
          </a:xfrm>
          <a:prstGeom prst="line">
            <a:avLst/>
          </a:prstGeom>
          <a:ln w="6350">
            <a:solidFill>
              <a:schemeClr val="bg2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3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1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34695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B7FD28-65CE-4C21-98B6-F756E825F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8282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5"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B7FD28-65CE-4C21-98B6-F756E825F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6236518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CECD7A9-4D2F-4C30-A97B-1BD8DD4EEF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272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9"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CECD7A9-4D2F-4C30-A97B-1BD8DD4EEF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92994816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blipFill dpi="0" rotWithShape="1">
          <a:blip r:embed="rId6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5772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3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artnership">
            <a:extLst>
              <a:ext uri="{FF2B5EF4-FFF2-40B4-BE49-F238E27FC236}">
                <a16:creationId xmlns:a16="http://schemas.microsoft.com/office/drawing/2014/main" id="{FCA4B8D5-471D-4239-A62C-7BEFF7AC42FA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3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6932845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1DFA68-2FC0-4AD2-B8DB-65C26ABFB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C4CDBB-0B71-43D6-8381-2338B3034A9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889166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22A02A-3929-4968-9965-DE32278428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3959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7" name="think-cell Slide" r:id="rId11" imgW="473" imgH="476" progId="TCLayout.ActiveDocument.1">
                  <p:embed/>
                </p:oleObj>
              </mc:Choice>
              <mc:Fallback>
                <p:oleObj name="think-cell Slide" r:id="rId11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22A02A-3929-4968-9965-DE32278428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3" name="BottomLine">
            <a:extLst>
              <a:ext uri="{FF2B5EF4-FFF2-40B4-BE49-F238E27FC236}">
                <a16:creationId xmlns:a16="http://schemas.microsoft.com/office/drawing/2014/main" id="{1A205B6C-F79D-4193-9FCF-230AF1D51716}"/>
              </a:ext>
            </a:extLst>
          </p:cNvPr>
          <p:cNvCxnSpPr/>
          <p:nvPr userDrawn="1">
            <p:custDataLst>
              <p:tags r:id="rId3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TopLine">
            <a:extLst>
              <a:ext uri="{FF2B5EF4-FFF2-40B4-BE49-F238E27FC236}">
                <a16:creationId xmlns:a16="http://schemas.microsoft.com/office/drawing/2014/main" id="{CB6CF5F8-7994-4E97-9AE6-6C98CE30967C}"/>
              </a:ext>
            </a:extLst>
          </p:cNvPr>
          <p:cNvCxnSpPr/>
          <p:nvPr userDrawn="1">
            <p:custDataLst>
              <p:tags r:id="rId4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5171"/>
            <a:ext cx="11082528" cy="989512"/>
          </a:xfrm>
        </p:spPr>
        <p:txBody>
          <a:bodyPr vert="horz">
            <a:noAutofit/>
          </a:bodyPr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8038238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3921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1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 rtl="0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>
            <a:lvl1pPr rtl="0">
              <a:defRPr/>
            </a:lvl1pPr>
          </a:lstStyle>
          <a:p>
            <a:r>
              <a:rPr lang="en-US" sz="160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01123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0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9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27040807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1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3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6216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938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7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2385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689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0801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053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072761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76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65926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938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9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325387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65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50796820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375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408667713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6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57456937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290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5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59931101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036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3D51B063-7502-4BA6-87A6-4F5C9C3F2BE9}"/>
              </a:ext>
            </a:extLst>
          </p:cNvPr>
          <p:cNvGrpSpPr/>
          <p:nvPr userDrawn="1"/>
        </p:nvGrpSpPr>
        <p:grpSpPr>
          <a:xfrm>
            <a:off x="8469471" y="0"/>
            <a:ext cx="3722529" cy="6858000"/>
            <a:chOff x="5781007" y="0"/>
            <a:chExt cx="3722529" cy="6858000"/>
          </a:xfrm>
        </p:grpSpPr>
        <p:sp>
          <p:nvSpPr>
            <p:cNvPr id="23" name="RectangleLight">
              <a:extLst>
                <a:ext uri="{FF2B5EF4-FFF2-40B4-BE49-F238E27FC236}">
                  <a16:creationId xmlns:a16="http://schemas.microsoft.com/office/drawing/2014/main" id="{A80E2F68-4ED6-42EF-9858-2FE4B1382825}"/>
                </a:ext>
              </a:extLst>
            </p:cNvPr>
            <p:cNvSpPr/>
            <p:nvPr userDrawn="1">
              <p:custDataLst>
                <p:tags r:id="rId9"/>
              </p:custDataLst>
            </p:nvPr>
          </p:nvSpPr>
          <p:spPr bwMode="ltGray">
            <a:xfrm>
              <a:off x="6092952" y="0"/>
              <a:ext cx="3410584" cy="6858000"/>
            </a:xfrm>
            <a:prstGeom prst="rect">
              <a:avLst/>
            </a:prstGeom>
            <a:gradFill flip="none" rotWithShape="1">
              <a:gsLst>
                <a:gs pos="100000">
                  <a:schemeClr val="bg1"/>
                </a:gs>
                <a:gs pos="52000">
                  <a:schemeClr val="bg1">
                    <a:lumMod val="85000"/>
                  </a:schemeClr>
                </a:gs>
              </a:gsLst>
              <a:lin ang="2700000" scaled="1"/>
              <a:tileRect/>
            </a:gradFill>
            <a:ln w="6350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noProof="0" dirty="0">
                <a:solidFill>
                  <a:srgbClr val="F0F0F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3C02DA6B-999D-4B55-B138-0DF7FE17ECBB}"/>
                </a:ext>
              </a:extLst>
            </p:cNvPr>
            <p:cNvSpPr/>
            <p:nvPr userDrawn="1"/>
          </p:nvSpPr>
          <p:spPr>
            <a:xfrm rot="10800000" flipH="1" flipV="1">
              <a:off x="5781007" y="3178"/>
              <a:ext cx="311945" cy="6854822"/>
            </a:xfrm>
            <a:prstGeom prst="rect">
              <a:avLst/>
            </a:prstGeom>
            <a:gradFill>
              <a:gsLst>
                <a:gs pos="0">
                  <a:srgbClr val="ECEFF2">
                    <a:alpha val="0"/>
                  </a:srgbClr>
                </a:gs>
                <a:gs pos="100000">
                  <a:srgbClr val="999999">
                    <a:alpha val="60000"/>
                  </a:srgbClr>
                </a:gs>
              </a:gsLst>
              <a:lin ang="0" scaled="0"/>
            </a:gradFill>
            <a:ln w="9525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000000"/>
                </a:solidFill>
                <a:latin typeface="Verdana Pro"/>
              </a:endParaRPr>
            </a:p>
          </p:txBody>
        </p:sp>
      </p:grp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577493"/>
            <a:ext cx="7918704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452F3A5-EC20-4CAC-9FBB-557271DBC3C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1D8686-62B4-45FC-AF3D-8B7F87A6613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128A25F-265D-4D70-B83A-6AF652DE4EF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0BB2951-306B-4E03-BA55-E726D780D34D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64F458B-FB89-422F-9EB2-DB209CDCDB5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D61493A-9B23-4AF7-B4EA-0A7CAC0FF2A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7A5E9B1-9835-428B-8BCB-D697CF6E9CA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11397A9-D7C6-4117-913E-F8ECE0198DE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387C1D-C9A8-4B5D-9ABC-BFBADE935D2D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A939BCD-FB2E-4959-A02A-09D2B6906A6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4A1A1B94-48BC-46D7-AEE6-EECD46A7F880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2C54B2C2-C3F7-428D-855E-6C3E5C0D448E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13DB90F2-D314-4A65-8823-659FA1E4822F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BE4522A-83F3-4C6A-886A-A170AFD6BF22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40E43017-B685-42B2-BA85-D4A09E87868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84175241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38009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312F5BE9-9A08-4E94-AC2F-0B609EC8982E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DE07F0C-13C1-4C5E-8A68-13CB42107E3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BF52495-30D5-458E-ABDF-AADC9F4C575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249ECFF-463C-4B75-9924-588D8DB07A8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64B7638-1338-462A-B333-3D8846DCD3D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AED2CFA-79E4-4BF4-B5D5-C002B9831CD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E735A04C-63F0-4FD3-A067-AC88AB853C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EB63F2F-CF37-49BA-AF8C-C80C6734382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64F7A17-EECF-4D18-924B-5D461B35171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162BD0E-A897-4EB5-BEF1-5CE8099C9E5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7DD9E10A-F882-4ACF-B950-5DDEA6D2270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79AA11A-225B-470D-B3A3-96C76300838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57BD75B7-FDDC-4047-86D8-9ADD6C7373FA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46DFCF-28E7-4C2E-B1E0-A8DBF8167061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F73E772C-A6BA-4B28-BDBC-8A47EB468E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2111761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65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03597077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1922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7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A2D2758-FF14-4024-910E-C6D990BCD5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5F945EAF-3A1C-4BD1-BEA2-F0BD25B622D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8A321583-90B6-4336-B0F5-22B3DB87A7C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670559A-2B57-44AE-B346-EE07F0D3BFD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57C2C71-4ADB-4E4F-B9D5-FA13A13EF4B7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48B4CFD4-2A8C-4671-9193-445D7FBE9C5E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DFA3E2ED-EE10-43EB-8555-E4728DFFE93C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1A38B150-3AB3-4897-AD1A-20E08BD9C3E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5140AD6-CF13-4BFA-A743-4CA92F49F6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BB86AF44-1EA1-4282-99FA-57AF17C0A5C2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7D685BAD-0FA6-4D4E-968E-57C6DD4B1E77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CAEA247-D854-43B2-BD51-A62AA205A20B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73626A6D-E4CE-4B78-ADDC-CEC24E433B80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83F77035-45A0-4A57-B570-DE63C7E06C9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01BA60F-91AB-4387-81E4-C28D289C1B7C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05669755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90595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BDB636C9-ED2E-4CC8-A6B2-4A3E358B17FA}"/>
              </a:ext>
            </a:extLst>
          </p:cNvPr>
          <p:cNvGrpSpPr/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982052AB-BE73-478C-B884-1D0D9C481DDA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" name="Freeform: Shape 5">
                <a:extLst>
                  <a:ext uri="{FF2B5EF4-FFF2-40B4-BE49-F238E27FC236}">
                    <a16:creationId xmlns:a16="http://schemas.microsoft.com/office/drawing/2014/main" id="{FD7A7DE6-0391-4BE5-9C62-3805AB2D5698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162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4D182723-CA15-4E4C-899C-8573979934AF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3C4AFB"/>
                  </a:gs>
                  <a:gs pos="100000">
                    <a:schemeClr val="accent2"/>
                  </a:gs>
                  <a:gs pos="50000">
                    <a:srgbClr val="389BE8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F1FF295F-9BCA-4DE5-A4B4-010C9DAAC624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rgbClr val="2C7EA6"/>
                  </a:gs>
                  <a:gs pos="100000">
                    <a:srgbClr val="293A8C"/>
                  </a:gs>
                </a:gsLst>
                <a:lin ang="5400000" scaled="1"/>
                <a:tileRect/>
              </a:gra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5787277D-F358-4A39-A6A6-F5E4D089947E}"/>
                </a:ext>
              </a:extLst>
            </p:cNvPr>
            <p:cNvGrpSpPr/>
            <p:nvPr userDrawn="1"/>
          </p:nvGrpSpPr>
          <p:grpSpPr>
            <a:xfrm>
              <a:off x="4422203" y="1048348"/>
              <a:ext cx="1819818" cy="224978"/>
              <a:chOff x="4422203" y="1048348"/>
              <a:chExt cx="1819818" cy="224978"/>
            </a:xfrm>
          </p:grpSpPr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1641E378-6F8C-473C-8B0E-BFD6A91293DC}"/>
                  </a:ext>
                </a:extLst>
              </p:cNvPr>
              <p:cNvSpPr/>
              <p:nvPr userDrawn="1"/>
            </p:nvSpPr>
            <p:spPr>
              <a:xfrm>
                <a:off x="4422203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0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1CD85889-E46E-44A8-AAC6-F58782D973B0}"/>
                  </a:ext>
                </a:extLst>
              </p:cNvPr>
              <p:cNvSpPr/>
              <p:nvPr userDrawn="1"/>
            </p:nvSpPr>
            <p:spPr>
              <a:xfrm>
                <a:off x="4904469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753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739 w 319373"/>
                  <a:gd name="connsiteY6" fmla="*/ 47435 h 321944"/>
                  <a:gd name="connsiteX7" fmla="*/ 199549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753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739" y="47435"/>
                    </a:lnTo>
                    <a:lnTo>
                      <a:pt x="199549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51286221-211E-4B2E-BA97-B5EB13294AD7}"/>
                  </a:ext>
                </a:extLst>
              </p:cNvPr>
              <p:cNvSpPr/>
              <p:nvPr userDrawn="1"/>
            </p:nvSpPr>
            <p:spPr>
              <a:xfrm>
                <a:off x="5103289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3B22301C-FA34-4B50-8B6C-BD8AD5DD6016}"/>
                  </a:ext>
                </a:extLst>
              </p:cNvPr>
              <p:cNvSpPr/>
              <p:nvPr userDrawn="1"/>
            </p:nvSpPr>
            <p:spPr>
              <a:xfrm>
                <a:off x="4665303" y="1059554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8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3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8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3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71E960D0-57D8-4645-80D2-718A23F664AC}"/>
                  </a:ext>
                </a:extLst>
              </p:cNvPr>
              <p:cNvSpPr/>
              <p:nvPr userDrawn="1"/>
            </p:nvSpPr>
            <p:spPr>
              <a:xfrm>
                <a:off x="6065425" y="1059501"/>
                <a:ext cx="176596" cy="178017"/>
              </a:xfrm>
              <a:custGeom>
                <a:avLst/>
                <a:gdLst>
                  <a:gd name="connsiteX0" fmla="*/ 106013 w 319373"/>
                  <a:gd name="connsiteY0" fmla="*/ 274511 h 321944"/>
                  <a:gd name="connsiteX1" fmla="*/ 106204 w 319373"/>
                  <a:gd name="connsiteY1" fmla="*/ 274415 h 321944"/>
                  <a:gd name="connsiteX2" fmla="*/ 305848 w 319373"/>
                  <a:gd name="connsiteY2" fmla="*/ 0 h 321944"/>
                  <a:gd name="connsiteX3" fmla="*/ 6382 w 319373"/>
                  <a:gd name="connsiteY3" fmla="*/ 0 h 321944"/>
                  <a:gd name="connsiteX4" fmla="*/ 6382 w 319373"/>
                  <a:gd name="connsiteY4" fmla="*/ 45911 h 321944"/>
                  <a:gd name="connsiteX5" fmla="*/ 200882 w 319373"/>
                  <a:gd name="connsiteY5" fmla="*/ 45911 h 321944"/>
                  <a:gd name="connsiteX6" fmla="*/ 199835 w 319373"/>
                  <a:gd name="connsiteY6" fmla="*/ 47435 h 321944"/>
                  <a:gd name="connsiteX7" fmla="*/ 199644 w 319373"/>
                  <a:gd name="connsiteY7" fmla="*/ 47530 h 321944"/>
                  <a:gd name="connsiteX8" fmla="*/ 0 w 319373"/>
                  <a:gd name="connsiteY8" fmla="*/ 321945 h 321944"/>
                  <a:gd name="connsiteX9" fmla="*/ 319373 w 319373"/>
                  <a:gd name="connsiteY9" fmla="*/ 321945 h 321944"/>
                  <a:gd name="connsiteX10" fmla="*/ 319373 w 319373"/>
                  <a:gd name="connsiteY10" fmla="*/ 276035 h 321944"/>
                  <a:gd name="connsiteX11" fmla="*/ 104870 w 319373"/>
                  <a:gd name="connsiteY11" fmla="*/ 276035 h 321944"/>
                  <a:gd name="connsiteX12" fmla="*/ 106013 w 319373"/>
                  <a:gd name="connsiteY12" fmla="*/ 274511 h 321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19373" h="321944">
                    <a:moveTo>
                      <a:pt x="106013" y="274511"/>
                    </a:moveTo>
                    <a:lnTo>
                      <a:pt x="106204" y="274415"/>
                    </a:lnTo>
                    <a:lnTo>
                      <a:pt x="305848" y="0"/>
                    </a:lnTo>
                    <a:lnTo>
                      <a:pt x="6382" y="0"/>
                    </a:lnTo>
                    <a:lnTo>
                      <a:pt x="6382" y="45911"/>
                    </a:lnTo>
                    <a:lnTo>
                      <a:pt x="200882" y="45911"/>
                    </a:lnTo>
                    <a:lnTo>
                      <a:pt x="199835" y="47435"/>
                    </a:lnTo>
                    <a:lnTo>
                      <a:pt x="199644" y="47530"/>
                    </a:lnTo>
                    <a:lnTo>
                      <a:pt x="0" y="321945"/>
                    </a:lnTo>
                    <a:lnTo>
                      <a:pt x="319373" y="321945"/>
                    </a:lnTo>
                    <a:lnTo>
                      <a:pt x="319373" y="276035"/>
                    </a:lnTo>
                    <a:lnTo>
                      <a:pt x="104870" y="276035"/>
                    </a:lnTo>
                    <a:lnTo>
                      <a:pt x="106013" y="274511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30D3AE8-D2D1-46AE-A0DF-A2619F6E1A88}"/>
                  </a:ext>
                </a:extLst>
              </p:cNvPr>
              <p:cNvSpPr/>
              <p:nvPr userDrawn="1"/>
            </p:nvSpPr>
            <p:spPr>
              <a:xfrm>
                <a:off x="5343680" y="1048348"/>
                <a:ext cx="211289" cy="224978"/>
              </a:xfrm>
              <a:custGeom>
                <a:avLst/>
                <a:gdLst>
                  <a:gd name="connsiteX0" fmla="*/ 283818 w 382116"/>
                  <a:gd name="connsiteY0" fmla="*/ 341543 h 406873"/>
                  <a:gd name="connsiteX1" fmla="*/ 357828 w 382116"/>
                  <a:gd name="connsiteY1" fmla="*/ 405265 h 406873"/>
                  <a:gd name="connsiteX2" fmla="*/ 347731 w 382116"/>
                  <a:gd name="connsiteY2" fmla="*/ 406694 h 406873"/>
                  <a:gd name="connsiteX3" fmla="*/ 286104 w 382116"/>
                  <a:gd name="connsiteY3" fmla="*/ 406408 h 406873"/>
                  <a:gd name="connsiteX4" fmla="*/ 269912 w 382116"/>
                  <a:gd name="connsiteY4" fmla="*/ 400122 h 406873"/>
                  <a:gd name="connsiteX5" fmla="*/ 218001 w 382116"/>
                  <a:gd name="connsiteY5" fmla="*/ 357259 h 406873"/>
                  <a:gd name="connsiteX6" fmla="*/ 196379 w 382116"/>
                  <a:gd name="connsiteY6" fmla="*/ 349925 h 406873"/>
                  <a:gd name="connsiteX7" fmla="*/ 81793 w 382116"/>
                  <a:gd name="connsiteY7" fmla="*/ 334113 h 406873"/>
                  <a:gd name="connsiteX8" fmla="*/ 9498 w 382116"/>
                  <a:gd name="connsiteY8" fmla="*/ 250770 h 406873"/>
                  <a:gd name="connsiteX9" fmla="*/ 10737 w 382116"/>
                  <a:gd name="connsiteY9" fmla="*/ 93988 h 406873"/>
                  <a:gd name="connsiteX10" fmla="*/ 91699 w 382116"/>
                  <a:gd name="connsiteY10" fmla="*/ 13026 h 406873"/>
                  <a:gd name="connsiteX11" fmla="*/ 265816 w 382116"/>
                  <a:gd name="connsiteY11" fmla="*/ 6739 h 406873"/>
                  <a:gd name="connsiteX12" fmla="*/ 368210 w 382116"/>
                  <a:gd name="connsiteY12" fmla="*/ 83606 h 406873"/>
                  <a:gd name="connsiteX13" fmla="*/ 380211 w 382116"/>
                  <a:gd name="connsiteY13" fmla="*/ 136755 h 406873"/>
                  <a:gd name="connsiteX14" fmla="*/ 371925 w 382116"/>
                  <a:gd name="connsiteY14" fmla="*/ 256675 h 406873"/>
                  <a:gd name="connsiteX15" fmla="*/ 303916 w 382116"/>
                  <a:gd name="connsiteY15" fmla="*/ 333066 h 406873"/>
                  <a:gd name="connsiteX16" fmla="*/ 283818 w 382116"/>
                  <a:gd name="connsiteY16" fmla="*/ 341448 h 406873"/>
                  <a:gd name="connsiteX17" fmla="*/ 315060 w 382116"/>
                  <a:gd name="connsiteY17" fmla="*/ 179904 h 406873"/>
                  <a:gd name="connsiteX18" fmla="*/ 311536 w 382116"/>
                  <a:gd name="connsiteY18" fmla="*/ 126945 h 406873"/>
                  <a:gd name="connsiteX19" fmla="*/ 233526 w 382116"/>
                  <a:gd name="connsiteY19" fmla="*/ 48363 h 406873"/>
                  <a:gd name="connsiteX20" fmla="*/ 140372 w 382116"/>
                  <a:gd name="connsiteY20" fmla="*/ 49221 h 406873"/>
                  <a:gd name="connsiteX21" fmla="*/ 76650 w 382116"/>
                  <a:gd name="connsiteY21" fmla="*/ 102084 h 406873"/>
                  <a:gd name="connsiteX22" fmla="*/ 69125 w 382116"/>
                  <a:gd name="connsiteY22" fmla="*/ 159330 h 406873"/>
                  <a:gd name="connsiteX23" fmla="*/ 76554 w 382116"/>
                  <a:gd name="connsiteY23" fmla="*/ 248579 h 406873"/>
                  <a:gd name="connsiteX24" fmla="*/ 141229 w 382116"/>
                  <a:gd name="connsiteY24" fmla="*/ 301538 h 406873"/>
                  <a:gd name="connsiteX25" fmla="*/ 237813 w 382116"/>
                  <a:gd name="connsiteY25" fmla="*/ 302014 h 406873"/>
                  <a:gd name="connsiteX26" fmla="*/ 309726 w 382116"/>
                  <a:gd name="connsiteY26" fmla="*/ 234577 h 406873"/>
                  <a:gd name="connsiteX27" fmla="*/ 315060 w 382116"/>
                  <a:gd name="connsiteY27" fmla="*/ 179713 h 406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</a:cxnLst>
                <a:rect l="l" t="t" r="r" b="b"/>
                <a:pathLst>
                  <a:path w="382116" h="406873">
                    <a:moveTo>
                      <a:pt x="283818" y="341543"/>
                    </a:moveTo>
                    <a:cubicBezTo>
                      <a:pt x="309155" y="363355"/>
                      <a:pt x="332586" y="383548"/>
                      <a:pt x="357828" y="405265"/>
                    </a:cubicBezTo>
                    <a:cubicBezTo>
                      <a:pt x="353065" y="406027"/>
                      <a:pt x="350398" y="406694"/>
                      <a:pt x="347731" y="406694"/>
                    </a:cubicBezTo>
                    <a:cubicBezTo>
                      <a:pt x="327157" y="406789"/>
                      <a:pt x="306583" y="407170"/>
                      <a:pt x="286104" y="406408"/>
                    </a:cubicBezTo>
                    <a:cubicBezTo>
                      <a:pt x="280580" y="406218"/>
                      <a:pt x="274293" y="403646"/>
                      <a:pt x="269912" y="400122"/>
                    </a:cubicBezTo>
                    <a:cubicBezTo>
                      <a:pt x="252386" y="386120"/>
                      <a:pt x="235812" y="370880"/>
                      <a:pt x="218001" y="357259"/>
                    </a:cubicBezTo>
                    <a:cubicBezTo>
                      <a:pt x="212191" y="352878"/>
                      <a:pt x="203618" y="349925"/>
                      <a:pt x="196379" y="349925"/>
                    </a:cubicBezTo>
                    <a:cubicBezTo>
                      <a:pt x="157422" y="349639"/>
                      <a:pt x="118845" y="348401"/>
                      <a:pt x="81793" y="334113"/>
                    </a:cubicBezTo>
                    <a:cubicBezTo>
                      <a:pt x="42931" y="319159"/>
                      <a:pt x="19500" y="290965"/>
                      <a:pt x="9498" y="250770"/>
                    </a:cubicBezTo>
                    <a:cubicBezTo>
                      <a:pt x="-3551" y="198382"/>
                      <a:pt x="-3170" y="145709"/>
                      <a:pt x="10737" y="93988"/>
                    </a:cubicBezTo>
                    <a:cubicBezTo>
                      <a:pt x="21881" y="52459"/>
                      <a:pt x="50170" y="24741"/>
                      <a:pt x="91699" y="13026"/>
                    </a:cubicBezTo>
                    <a:cubicBezTo>
                      <a:pt x="149040" y="-3262"/>
                      <a:pt x="207618" y="-2976"/>
                      <a:pt x="265816" y="6739"/>
                    </a:cubicBezTo>
                    <a:cubicBezTo>
                      <a:pt x="312584" y="14454"/>
                      <a:pt x="350970" y="36267"/>
                      <a:pt x="368210" y="83606"/>
                    </a:cubicBezTo>
                    <a:cubicBezTo>
                      <a:pt x="374401" y="100560"/>
                      <a:pt x="378878" y="118753"/>
                      <a:pt x="380211" y="136755"/>
                    </a:cubicBezTo>
                    <a:cubicBezTo>
                      <a:pt x="383355" y="176951"/>
                      <a:pt x="383831" y="217337"/>
                      <a:pt x="371925" y="256675"/>
                    </a:cubicBezTo>
                    <a:cubicBezTo>
                      <a:pt x="361066" y="292680"/>
                      <a:pt x="338968" y="318588"/>
                      <a:pt x="303916" y="333066"/>
                    </a:cubicBezTo>
                    <a:cubicBezTo>
                      <a:pt x="298106" y="335447"/>
                      <a:pt x="292296" y="337923"/>
                      <a:pt x="283818" y="341448"/>
                    </a:cubicBezTo>
                    <a:close/>
                    <a:moveTo>
                      <a:pt x="315060" y="179904"/>
                    </a:moveTo>
                    <a:cubicBezTo>
                      <a:pt x="313727" y="159425"/>
                      <a:pt x="312965" y="143137"/>
                      <a:pt x="311536" y="126945"/>
                    </a:cubicBezTo>
                    <a:cubicBezTo>
                      <a:pt x="307345" y="77796"/>
                      <a:pt x="282580" y="51697"/>
                      <a:pt x="233526" y="48363"/>
                    </a:cubicBezTo>
                    <a:cubicBezTo>
                      <a:pt x="202570" y="46268"/>
                      <a:pt x="171042" y="45696"/>
                      <a:pt x="140372" y="49221"/>
                    </a:cubicBezTo>
                    <a:cubicBezTo>
                      <a:pt x="109320" y="52840"/>
                      <a:pt x="84936" y="66461"/>
                      <a:pt x="76650" y="102084"/>
                    </a:cubicBezTo>
                    <a:cubicBezTo>
                      <a:pt x="72363" y="120753"/>
                      <a:pt x="68839" y="140280"/>
                      <a:pt x="69125" y="159330"/>
                    </a:cubicBezTo>
                    <a:cubicBezTo>
                      <a:pt x="69506" y="189143"/>
                      <a:pt x="70554" y="219528"/>
                      <a:pt x="76554" y="248579"/>
                    </a:cubicBezTo>
                    <a:cubicBezTo>
                      <a:pt x="83508" y="282488"/>
                      <a:pt x="104844" y="297633"/>
                      <a:pt x="141229" y="301538"/>
                    </a:cubicBezTo>
                    <a:cubicBezTo>
                      <a:pt x="173043" y="305062"/>
                      <a:pt x="205713" y="304300"/>
                      <a:pt x="237813" y="302014"/>
                    </a:cubicBezTo>
                    <a:cubicBezTo>
                      <a:pt x="277722" y="299061"/>
                      <a:pt x="304392" y="278011"/>
                      <a:pt x="309726" y="234577"/>
                    </a:cubicBezTo>
                    <a:cubicBezTo>
                      <a:pt x="312108" y="215051"/>
                      <a:pt x="313632" y="195429"/>
                      <a:pt x="315060" y="17971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2790B260-8C00-4BEE-9F92-4FDB510E653C}"/>
                  </a:ext>
                </a:extLst>
              </p:cNvPr>
              <p:cNvSpPr/>
              <p:nvPr userDrawn="1"/>
            </p:nvSpPr>
            <p:spPr>
              <a:xfrm>
                <a:off x="5828211" y="1059553"/>
                <a:ext cx="209671" cy="178123"/>
              </a:xfrm>
              <a:custGeom>
                <a:avLst/>
                <a:gdLst>
                  <a:gd name="connsiteX0" fmla="*/ 51340 w 379190"/>
                  <a:gd name="connsiteY0" fmla="*/ 322135 h 322135"/>
                  <a:gd name="connsiteX1" fmla="*/ 86106 w 379190"/>
                  <a:gd name="connsiteY1" fmla="*/ 233553 h 322135"/>
                  <a:gd name="connsiteX2" fmla="*/ 277177 w 379190"/>
                  <a:gd name="connsiteY2" fmla="*/ 233553 h 322135"/>
                  <a:gd name="connsiteX3" fmla="*/ 314420 w 379190"/>
                  <a:gd name="connsiteY3" fmla="*/ 322135 h 322135"/>
                  <a:gd name="connsiteX4" fmla="*/ 379190 w 379190"/>
                  <a:gd name="connsiteY4" fmla="*/ 322135 h 322135"/>
                  <a:gd name="connsiteX5" fmla="*/ 253270 w 379190"/>
                  <a:gd name="connsiteY5" fmla="*/ 0 h 322135"/>
                  <a:gd name="connsiteX6" fmla="*/ 124301 w 379190"/>
                  <a:gd name="connsiteY6" fmla="*/ 0 h 322135"/>
                  <a:gd name="connsiteX7" fmla="*/ 0 w 379190"/>
                  <a:gd name="connsiteY7" fmla="*/ 322135 h 322135"/>
                  <a:gd name="connsiteX8" fmla="*/ 51340 w 379190"/>
                  <a:gd name="connsiteY8" fmla="*/ 322135 h 322135"/>
                  <a:gd name="connsiteX9" fmla="*/ 157067 w 379190"/>
                  <a:gd name="connsiteY9" fmla="*/ 47149 h 322135"/>
                  <a:gd name="connsiteX10" fmla="*/ 205645 w 379190"/>
                  <a:gd name="connsiteY10" fmla="*/ 47149 h 322135"/>
                  <a:gd name="connsiteX11" fmla="*/ 259175 w 379190"/>
                  <a:gd name="connsiteY11" fmla="*/ 189357 h 322135"/>
                  <a:gd name="connsiteX12" fmla="*/ 104204 w 379190"/>
                  <a:gd name="connsiteY12" fmla="*/ 189357 h 322135"/>
                  <a:gd name="connsiteX13" fmla="*/ 157067 w 379190"/>
                  <a:gd name="connsiteY13" fmla="*/ 47149 h 32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79190" h="322135">
                    <a:moveTo>
                      <a:pt x="51340" y="322135"/>
                    </a:moveTo>
                    <a:lnTo>
                      <a:pt x="86106" y="233553"/>
                    </a:lnTo>
                    <a:lnTo>
                      <a:pt x="277177" y="233553"/>
                    </a:lnTo>
                    <a:lnTo>
                      <a:pt x="314420" y="322135"/>
                    </a:lnTo>
                    <a:lnTo>
                      <a:pt x="379190" y="322135"/>
                    </a:lnTo>
                    <a:lnTo>
                      <a:pt x="253270" y="0"/>
                    </a:lnTo>
                    <a:lnTo>
                      <a:pt x="124301" y="0"/>
                    </a:lnTo>
                    <a:lnTo>
                      <a:pt x="0" y="322135"/>
                    </a:lnTo>
                    <a:lnTo>
                      <a:pt x="51340" y="322135"/>
                    </a:lnTo>
                    <a:close/>
                    <a:moveTo>
                      <a:pt x="157067" y="47149"/>
                    </a:moveTo>
                    <a:lnTo>
                      <a:pt x="205645" y="47149"/>
                    </a:lnTo>
                    <a:lnTo>
                      <a:pt x="259175" y="189357"/>
                    </a:lnTo>
                    <a:lnTo>
                      <a:pt x="104204" y="189357"/>
                    </a:lnTo>
                    <a:lnTo>
                      <a:pt x="157067" y="47149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01A3FC38-49C6-4238-A296-25A0F076D170}"/>
                  </a:ext>
                </a:extLst>
              </p:cNvPr>
              <p:cNvSpPr/>
              <p:nvPr userDrawn="1"/>
            </p:nvSpPr>
            <p:spPr>
              <a:xfrm>
                <a:off x="5604839" y="1048755"/>
                <a:ext cx="186820" cy="192344"/>
              </a:xfrm>
              <a:custGeom>
                <a:avLst/>
                <a:gdLst>
                  <a:gd name="connsiteX0" fmla="*/ 120884 w 337863"/>
                  <a:gd name="connsiteY0" fmla="*/ 55151 h 347855"/>
                  <a:gd name="connsiteX1" fmla="*/ 185940 w 337863"/>
                  <a:gd name="connsiteY1" fmla="*/ 45817 h 347855"/>
                  <a:gd name="connsiteX2" fmla="*/ 254234 w 337863"/>
                  <a:gd name="connsiteY2" fmla="*/ 49912 h 347855"/>
                  <a:gd name="connsiteX3" fmla="*/ 316909 w 337863"/>
                  <a:gd name="connsiteY3" fmla="*/ 64200 h 347855"/>
                  <a:gd name="connsiteX4" fmla="*/ 320719 w 337863"/>
                  <a:gd name="connsiteY4" fmla="*/ 65343 h 347855"/>
                  <a:gd name="connsiteX5" fmla="*/ 337864 w 337863"/>
                  <a:gd name="connsiteY5" fmla="*/ 71820 h 347855"/>
                  <a:gd name="connsiteX6" fmla="*/ 337864 w 337863"/>
                  <a:gd name="connsiteY6" fmla="*/ 14098 h 347855"/>
                  <a:gd name="connsiteX7" fmla="*/ 324243 w 337863"/>
                  <a:gd name="connsiteY7" fmla="*/ 12479 h 347855"/>
                  <a:gd name="connsiteX8" fmla="*/ 320719 w 337863"/>
                  <a:gd name="connsiteY8" fmla="*/ 11908 h 347855"/>
                  <a:gd name="connsiteX9" fmla="*/ 256330 w 337863"/>
                  <a:gd name="connsiteY9" fmla="*/ 3716 h 347855"/>
                  <a:gd name="connsiteX10" fmla="*/ 91071 w 337863"/>
                  <a:gd name="connsiteY10" fmla="*/ 12193 h 347855"/>
                  <a:gd name="connsiteX11" fmla="*/ 6870 w 337863"/>
                  <a:gd name="connsiteY11" fmla="*/ 104776 h 347855"/>
                  <a:gd name="connsiteX12" fmla="*/ 6489 w 337863"/>
                  <a:gd name="connsiteY12" fmla="*/ 246508 h 347855"/>
                  <a:gd name="connsiteX13" fmla="*/ 59257 w 337863"/>
                  <a:gd name="connsiteY13" fmla="*/ 326518 h 347855"/>
                  <a:gd name="connsiteX14" fmla="*/ 150412 w 337863"/>
                  <a:gd name="connsiteY14" fmla="*/ 347759 h 347855"/>
                  <a:gd name="connsiteX15" fmla="*/ 302907 w 337863"/>
                  <a:gd name="connsiteY15" fmla="*/ 343663 h 347855"/>
                  <a:gd name="connsiteX16" fmla="*/ 329767 w 337863"/>
                  <a:gd name="connsiteY16" fmla="*/ 339568 h 347855"/>
                  <a:gd name="connsiteX17" fmla="*/ 337483 w 337863"/>
                  <a:gd name="connsiteY17" fmla="*/ 329566 h 347855"/>
                  <a:gd name="connsiteX18" fmla="*/ 337483 w 337863"/>
                  <a:gd name="connsiteY18" fmla="*/ 329376 h 347855"/>
                  <a:gd name="connsiteX19" fmla="*/ 337864 w 337863"/>
                  <a:gd name="connsiteY19" fmla="*/ 329566 h 347855"/>
                  <a:gd name="connsiteX20" fmla="*/ 337864 w 337863"/>
                  <a:gd name="connsiteY20" fmla="*/ 208123 h 347855"/>
                  <a:gd name="connsiteX21" fmla="*/ 187083 w 337863"/>
                  <a:gd name="connsiteY21" fmla="*/ 208123 h 347855"/>
                  <a:gd name="connsiteX22" fmla="*/ 172700 w 337863"/>
                  <a:gd name="connsiteY22" fmla="*/ 250318 h 347855"/>
                  <a:gd name="connsiteX23" fmla="*/ 189083 w 337863"/>
                  <a:gd name="connsiteY23" fmla="*/ 250318 h 347855"/>
                  <a:gd name="connsiteX24" fmla="*/ 256901 w 337863"/>
                  <a:gd name="connsiteY24" fmla="*/ 250318 h 347855"/>
                  <a:gd name="connsiteX25" fmla="*/ 276713 w 337863"/>
                  <a:gd name="connsiteY25" fmla="*/ 250318 h 347855"/>
                  <a:gd name="connsiteX26" fmla="*/ 276713 w 337863"/>
                  <a:gd name="connsiteY26" fmla="*/ 300420 h 347855"/>
                  <a:gd name="connsiteX27" fmla="*/ 269760 w 337863"/>
                  <a:gd name="connsiteY27" fmla="*/ 302515 h 347855"/>
                  <a:gd name="connsiteX28" fmla="*/ 141172 w 337863"/>
                  <a:gd name="connsiteY28" fmla="*/ 302325 h 347855"/>
                  <a:gd name="connsiteX29" fmla="*/ 73069 w 337863"/>
                  <a:gd name="connsiteY29" fmla="*/ 241079 h 347855"/>
                  <a:gd name="connsiteX30" fmla="*/ 73831 w 337863"/>
                  <a:gd name="connsiteY30" fmla="*/ 107348 h 347855"/>
                  <a:gd name="connsiteX31" fmla="*/ 120789 w 337863"/>
                  <a:gd name="connsiteY31" fmla="*/ 55056 h 3478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337863" h="347855">
                    <a:moveTo>
                      <a:pt x="120884" y="55151"/>
                    </a:moveTo>
                    <a:cubicBezTo>
                      <a:pt x="142125" y="50103"/>
                      <a:pt x="164223" y="46293"/>
                      <a:pt x="185940" y="45817"/>
                    </a:cubicBezTo>
                    <a:cubicBezTo>
                      <a:pt x="208895" y="45340"/>
                      <a:pt x="231755" y="46674"/>
                      <a:pt x="254234" y="49912"/>
                    </a:cubicBezTo>
                    <a:cubicBezTo>
                      <a:pt x="269569" y="52675"/>
                      <a:pt x="296049" y="58009"/>
                      <a:pt x="316909" y="64200"/>
                    </a:cubicBezTo>
                    <a:cubicBezTo>
                      <a:pt x="318147" y="64581"/>
                      <a:pt x="319480" y="64962"/>
                      <a:pt x="320719" y="65343"/>
                    </a:cubicBezTo>
                    <a:cubicBezTo>
                      <a:pt x="327386" y="67438"/>
                      <a:pt x="333387" y="69629"/>
                      <a:pt x="337864" y="71820"/>
                    </a:cubicBezTo>
                    <a:lnTo>
                      <a:pt x="337864" y="14098"/>
                    </a:lnTo>
                    <a:lnTo>
                      <a:pt x="324243" y="12479"/>
                    </a:lnTo>
                    <a:cubicBezTo>
                      <a:pt x="323195" y="12289"/>
                      <a:pt x="321957" y="12098"/>
                      <a:pt x="320719" y="11908"/>
                    </a:cubicBezTo>
                    <a:cubicBezTo>
                      <a:pt x="299192" y="9717"/>
                      <a:pt x="277856" y="5716"/>
                      <a:pt x="256330" y="3716"/>
                    </a:cubicBezTo>
                    <a:cubicBezTo>
                      <a:pt x="200894" y="-1427"/>
                      <a:pt x="145459" y="-3332"/>
                      <a:pt x="91071" y="12193"/>
                    </a:cubicBezTo>
                    <a:cubicBezTo>
                      <a:pt x="43922" y="25719"/>
                      <a:pt x="16204" y="57818"/>
                      <a:pt x="6870" y="104776"/>
                    </a:cubicBezTo>
                    <a:cubicBezTo>
                      <a:pt x="-2369" y="151735"/>
                      <a:pt x="-2084" y="199360"/>
                      <a:pt x="6489" y="246508"/>
                    </a:cubicBezTo>
                    <a:cubicBezTo>
                      <a:pt x="12680" y="280322"/>
                      <a:pt x="27825" y="308707"/>
                      <a:pt x="59257" y="326518"/>
                    </a:cubicBezTo>
                    <a:cubicBezTo>
                      <a:pt x="87737" y="342616"/>
                      <a:pt x="119074" y="347378"/>
                      <a:pt x="150412" y="347759"/>
                    </a:cubicBezTo>
                    <a:cubicBezTo>
                      <a:pt x="201180" y="348426"/>
                      <a:pt x="252043" y="345473"/>
                      <a:pt x="302907" y="343663"/>
                    </a:cubicBezTo>
                    <a:cubicBezTo>
                      <a:pt x="311956" y="343378"/>
                      <a:pt x="321100" y="342044"/>
                      <a:pt x="329767" y="339568"/>
                    </a:cubicBezTo>
                    <a:cubicBezTo>
                      <a:pt x="333101" y="338615"/>
                      <a:pt x="337387" y="333091"/>
                      <a:pt x="337483" y="329566"/>
                    </a:cubicBezTo>
                    <a:lnTo>
                      <a:pt x="337483" y="329376"/>
                    </a:lnTo>
                    <a:lnTo>
                      <a:pt x="337864" y="329566"/>
                    </a:lnTo>
                    <a:lnTo>
                      <a:pt x="337864" y="208123"/>
                    </a:lnTo>
                    <a:lnTo>
                      <a:pt x="187083" y="208123"/>
                    </a:lnTo>
                    <a:lnTo>
                      <a:pt x="172700" y="250318"/>
                    </a:lnTo>
                    <a:cubicBezTo>
                      <a:pt x="180034" y="250318"/>
                      <a:pt x="184511" y="250318"/>
                      <a:pt x="189083" y="250318"/>
                    </a:cubicBezTo>
                    <a:cubicBezTo>
                      <a:pt x="211657" y="250318"/>
                      <a:pt x="234327" y="250414"/>
                      <a:pt x="256901" y="250318"/>
                    </a:cubicBezTo>
                    <a:lnTo>
                      <a:pt x="276713" y="250318"/>
                    </a:lnTo>
                    <a:lnTo>
                      <a:pt x="276713" y="300420"/>
                    </a:lnTo>
                    <a:cubicBezTo>
                      <a:pt x="275094" y="301563"/>
                      <a:pt x="272903" y="302325"/>
                      <a:pt x="269760" y="302515"/>
                    </a:cubicBezTo>
                    <a:cubicBezTo>
                      <a:pt x="226897" y="305563"/>
                      <a:pt x="184130" y="307183"/>
                      <a:pt x="141172" y="302325"/>
                    </a:cubicBezTo>
                    <a:cubicBezTo>
                      <a:pt x="104501" y="298134"/>
                      <a:pt x="79546" y="277560"/>
                      <a:pt x="73069" y="241079"/>
                    </a:cubicBezTo>
                    <a:cubicBezTo>
                      <a:pt x="65163" y="196502"/>
                      <a:pt x="65068" y="151639"/>
                      <a:pt x="73831" y="107348"/>
                    </a:cubicBezTo>
                    <a:cubicBezTo>
                      <a:pt x="78879" y="81631"/>
                      <a:pt x="94024" y="61438"/>
                      <a:pt x="120789" y="55056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4A831095-4224-49AF-812B-5650AC945968}"/>
                </a:ext>
              </a:extLst>
            </p:cNvPr>
            <p:cNvGrpSpPr/>
            <p:nvPr userDrawn="1"/>
          </p:nvGrpSpPr>
          <p:grpSpPr>
            <a:xfrm>
              <a:off x="4422204" y="1321065"/>
              <a:ext cx="1132163" cy="69151"/>
              <a:chOff x="4422204" y="1321065"/>
              <a:chExt cx="1132163" cy="69151"/>
            </a:xfrm>
            <a:solidFill>
              <a:srgbClr val="00AEEF"/>
            </a:solidFill>
          </p:grpSpPr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D4C4BCAC-4DBC-4794-BB18-390F1FF209A7}"/>
                  </a:ext>
                </a:extLst>
              </p:cNvPr>
              <p:cNvSpPr/>
              <p:nvPr userDrawn="1"/>
            </p:nvSpPr>
            <p:spPr>
              <a:xfrm>
                <a:off x="4422204" y="1322100"/>
                <a:ext cx="55972" cy="66855"/>
              </a:xfrm>
              <a:custGeom>
                <a:avLst/>
                <a:gdLst>
                  <a:gd name="connsiteX0" fmla="*/ 111567 w 111567"/>
                  <a:gd name="connsiteY0" fmla="*/ 133261 h 133260"/>
                  <a:gd name="connsiteX1" fmla="*/ 83380 w 111567"/>
                  <a:gd name="connsiteY1" fmla="*/ 133261 h 133260"/>
                  <a:gd name="connsiteX2" fmla="*/ 32319 w 111567"/>
                  <a:gd name="connsiteY2" fmla="*/ 49585 h 133260"/>
                  <a:gd name="connsiteX3" fmla="*/ 26121 w 111567"/>
                  <a:gd name="connsiteY3" fmla="*/ 38517 h 133260"/>
                  <a:gd name="connsiteX4" fmla="*/ 25826 w 111567"/>
                  <a:gd name="connsiteY4" fmla="*/ 38517 h 133260"/>
                  <a:gd name="connsiteX5" fmla="*/ 26564 w 111567"/>
                  <a:gd name="connsiteY5" fmla="*/ 60063 h 133260"/>
                  <a:gd name="connsiteX6" fmla="*/ 26564 w 111567"/>
                  <a:gd name="connsiteY6" fmla="*/ 133261 h 133260"/>
                  <a:gd name="connsiteX7" fmla="*/ 0 w 111567"/>
                  <a:gd name="connsiteY7" fmla="*/ 133261 h 133260"/>
                  <a:gd name="connsiteX8" fmla="*/ 0 w 111567"/>
                  <a:gd name="connsiteY8" fmla="*/ 0 h 133260"/>
                  <a:gd name="connsiteX9" fmla="*/ 30105 w 111567"/>
                  <a:gd name="connsiteY9" fmla="*/ 0 h 133260"/>
                  <a:gd name="connsiteX10" fmla="*/ 79248 w 111567"/>
                  <a:gd name="connsiteY10" fmla="*/ 81167 h 133260"/>
                  <a:gd name="connsiteX11" fmla="*/ 85446 w 111567"/>
                  <a:gd name="connsiteY11" fmla="*/ 92087 h 133260"/>
                  <a:gd name="connsiteX12" fmla="*/ 85741 w 111567"/>
                  <a:gd name="connsiteY12" fmla="*/ 92087 h 133260"/>
                  <a:gd name="connsiteX13" fmla="*/ 85003 w 111567"/>
                  <a:gd name="connsiteY13" fmla="*/ 73788 h 133260"/>
                  <a:gd name="connsiteX14" fmla="*/ 85003 w 111567"/>
                  <a:gd name="connsiteY14" fmla="*/ 0 h 133260"/>
                  <a:gd name="connsiteX15" fmla="*/ 111420 w 111567"/>
                  <a:gd name="connsiteY15" fmla="*/ 0 h 133260"/>
                  <a:gd name="connsiteX16" fmla="*/ 111420 w 111567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567" h="133260">
                    <a:moveTo>
                      <a:pt x="111567" y="133261"/>
                    </a:moveTo>
                    <a:lnTo>
                      <a:pt x="83380" y="133261"/>
                    </a:lnTo>
                    <a:lnTo>
                      <a:pt x="32319" y="49585"/>
                    </a:lnTo>
                    <a:cubicBezTo>
                      <a:pt x="29368" y="44715"/>
                      <a:pt x="27301" y="41026"/>
                      <a:pt x="26121" y="38517"/>
                    </a:cubicBezTo>
                    <a:lnTo>
                      <a:pt x="25826" y="38517"/>
                    </a:lnTo>
                    <a:cubicBezTo>
                      <a:pt x="26268" y="43240"/>
                      <a:pt x="26564" y="50471"/>
                      <a:pt x="26564" y="60063"/>
                    </a:cubicBezTo>
                    <a:lnTo>
                      <a:pt x="26564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7AE5C0A4-15CD-49A9-B533-DE9C80B6FA37}"/>
                  </a:ext>
                </a:extLst>
              </p:cNvPr>
              <p:cNvSpPr/>
              <p:nvPr userDrawn="1"/>
            </p:nvSpPr>
            <p:spPr>
              <a:xfrm>
                <a:off x="4500386" y="1322100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45ABD109-591F-4583-9E97-5F391CA4C5C6}"/>
                  </a:ext>
                </a:extLst>
              </p:cNvPr>
              <p:cNvSpPr/>
              <p:nvPr userDrawn="1"/>
            </p:nvSpPr>
            <p:spPr>
              <a:xfrm>
                <a:off x="4572201" y="1322100"/>
                <a:ext cx="49456" cy="66855"/>
              </a:xfrm>
              <a:custGeom>
                <a:avLst/>
                <a:gdLst>
                  <a:gd name="connsiteX0" fmla="*/ 98580 w 98580"/>
                  <a:gd name="connsiteY0" fmla="*/ 24498 h 133260"/>
                  <a:gd name="connsiteX1" fmla="*/ 63162 w 98580"/>
                  <a:gd name="connsiteY1" fmla="*/ 24498 h 133260"/>
                  <a:gd name="connsiteX2" fmla="*/ 63162 w 98580"/>
                  <a:gd name="connsiteY2" fmla="*/ 133261 h 133260"/>
                  <a:gd name="connsiteX3" fmla="*/ 35123 w 98580"/>
                  <a:gd name="connsiteY3" fmla="*/ 133261 h 133260"/>
                  <a:gd name="connsiteX4" fmla="*/ 35123 w 98580"/>
                  <a:gd name="connsiteY4" fmla="*/ 24498 h 133260"/>
                  <a:gd name="connsiteX5" fmla="*/ 0 w 98580"/>
                  <a:gd name="connsiteY5" fmla="*/ 24498 h 133260"/>
                  <a:gd name="connsiteX6" fmla="*/ 0 w 98580"/>
                  <a:gd name="connsiteY6" fmla="*/ 0 h 133260"/>
                  <a:gd name="connsiteX7" fmla="*/ 98580 w 98580"/>
                  <a:gd name="connsiteY7" fmla="*/ 0 h 133260"/>
                  <a:gd name="connsiteX8" fmla="*/ 98580 w 98580"/>
                  <a:gd name="connsiteY8" fmla="*/ 24498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98580" h="133260">
                    <a:moveTo>
                      <a:pt x="98580" y="24498"/>
                    </a:moveTo>
                    <a:lnTo>
                      <a:pt x="63162" y="24498"/>
                    </a:lnTo>
                    <a:lnTo>
                      <a:pt x="63162" y="133261"/>
                    </a:lnTo>
                    <a:lnTo>
                      <a:pt x="35123" y="133261"/>
                    </a:lnTo>
                    <a:lnTo>
                      <a:pt x="35123" y="24498"/>
                    </a:lnTo>
                    <a:lnTo>
                      <a:pt x="0" y="24498"/>
                    </a:lnTo>
                    <a:lnTo>
                      <a:pt x="0" y="0"/>
                    </a:lnTo>
                    <a:lnTo>
                      <a:pt x="98580" y="0"/>
                    </a:lnTo>
                    <a:lnTo>
                      <a:pt x="98580" y="24498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5980362F-A109-4AC0-B993-45CE356ACC9B}"/>
                  </a:ext>
                </a:extLst>
              </p:cNvPr>
              <p:cNvSpPr/>
              <p:nvPr userDrawn="1"/>
            </p:nvSpPr>
            <p:spPr>
              <a:xfrm>
                <a:off x="4644684" y="1322100"/>
                <a:ext cx="13993" cy="66855"/>
              </a:xfrm>
              <a:custGeom>
                <a:avLst/>
                <a:gdLst>
                  <a:gd name="connsiteX0" fmla="*/ 27892 w 27891"/>
                  <a:gd name="connsiteY0" fmla="*/ 133261 h 133260"/>
                  <a:gd name="connsiteX1" fmla="*/ 0 w 27891"/>
                  <a:gd name="connsiteY1" fmla="*/ 133261 h 133260"/>
                  <a:gd name="connsiteX2" fmla="*/ 0 w 27891"/>
                  <a:gd name="connsiteY2" fmla="*/ 0 h 133260"/>
                  <a:gd name="connsiteX3" fmla="*/ 27892 w 27891"/>
                  <a:gd name="connsiteY3" fmla="*/ 0 h 133260"/>
                  <a:gd name="connsiteX4" fmla="*/ 27892 w 27891"/>
                  <a:gd name="connsiteY4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891" h="133260">
                    <a:moveTo>
                      <a:pt x="27892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E71692B1-50A2-45C9-9B1D-C508208F3538}"/>
                  </a:ext>
                </a:extLst>
              </p:cNvPr>
              <p:cNvSpPr/>
              <p:nvPr userDrawn="1"/>
            </p:nvSpPr>
            <p:spPr>
              <a:xfrm>
                <a:off x="4683554" y="1321066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12654B23-D99E-4FC8-9FC2-9657337DE2F3}"/>
                  </a:ext>
                </a:extLst>
              </p:cNvPr>
              <p:cNvSpPr/>
              <p:nvPr userDrawn="1"/>
            </p:nvSpPr>
            <p:spPr>
              <a:xfrm>
                <a:off x="4769585" y="1322102"/>
                <a:ext cx="55898" cy="66855"/>
              </a:xfrm>
              <a:custGeom>
                <a:avLst/>
                <a:gdLst>
                  <a:gd name="connsiteX0" fmla="*/ 111420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4 w 111419"/>
                  <a:gd name="connsiteY13" fmla="*/ 73788 h 133260"/>
                  <a:gd name="connsiteX14" fmla="*/ 85004 w 111419"/>
                  <a:gd name="connsiteY14" fmla="*/ 0 h 133260"/>
                  <a:gd name="connsiteX15" fmla="*/ 111420 w 111419"/>
                  <a:gd name="connsiteY15" fmla="*/ 0 h 133260"/>
                  <a:gd name="connsiteX16" fmla="*/ 111420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20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4" y="82937"/>
                      <a:pt x="85004" y="73788"/>
                    </a:cubicBezTo>
                    <a:lnTo>
                      <a:pt x="85004" y="0"/>
                    </a:lnTo>
                    <a:lnTo>
                      <a:pt x="111420" y="0"/>
                    </a:lnTo>
                    <a:lnTo>
                      <a:pt x="111420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34B3AFA5-1F29-41BC-9A51-27CEB137DFAB}"/>
                  </a:ext>
                </a:extLst>
              </p:cNvPr>
              <p:cNvSpPr/>
              <p:nvPr userDrawn="1"/>
            </p:nvSpPr>
            <p:spPr>
              <a:xfrm>
                <a:off x="4847693" y="1322102"/>
                <a:ext cx="61377" cy="66855"/>
              </a:xfrm>
              <a:custGeom>
                <a:avLst/>
                <a:gdLst>
                  <a:gd name="connsiteX0" fmla="*/ 122340 w 122340"/>
                  <a:gd name="connsiteY0" fmla="*/ 133261 h 133260"/>
                  <a:gd name="connsiteX1" fmla="*/ 91940 w 122340"/>
                  <a:gd name="connsiteY1" fmla="*/ 133261 h 133260"/>
                  <a:gd name="connsiteX2" fmla="*/ 83085 w 122340"/>
                  <a:gd name="connsiteY2" fmla="*/ 103598 h 133260"/>
                  <a:gd name="connsiteX3" fmla="*/ 38960 w 122340"/>
                  <a:gd name="connsiteY3" fmla="*/ 103598 h 133260"/>
                  <a:gd name="connsiteX4" fmla="*/ 30253 w 122340"/>
                  <a:gd name="connsiteY4" fmla="*/ 133261 h 133260"/>
                  <a:gd name="connsiteX5" fmla="*/ 0 w 122340"/>
                  <a:gd name="connsiteY5" fmla="*/ 133261 h 133260"/>
                  <a:gd name="connsiteX6" fmla="*/ 45158 w 122340"/>
                  <a:gd name="connsiteY6" fmla="*/ 0 h 133260"/>
                  <a:gd name="connsiteX7" fmla="*/ 78215 w 122340"/>
                  <a:gd name="connsiteY7" fmla="*/ 0 h 133260"/>
                  <a:gd name="connsiteX8" fmla="*/ 122340 w 122340"/>
                  <a:gd name="connsiteY8" fmla="*/ 133261 h 133260"/>
                  <a:gd name="connsiteX9" fmla="*/ 76739 w 122340"/>
                  <a:gd name="connsiteY9" fmla="*/ 80576 h 133260"/>
                  <a:gd name="connsiteX10" fmla="*/ 63457 w 122340"/>
                  <a:gd name="connsiteY10" fmla="*/ 35861 h 133260"/>
                  <a:gd name="connsiteX11" fmla="*/ 61391 w 122340"/>
                  <a:gd name="connsiteY11" fmla="*/ 23907 h 133260"/>
                  <a:gd name="connsiteX12" fmla="*/ 60654 w 122340"/>
                  <a:gd name="connsiteY12" fmla="*/ 23907 h 133260"/>
                  <a:gd name="connsiteX13" fmla="*/ 58440 w 122340"/>
                  <a:gd name="connsiteY13" fmla="*/ 35566 h 133260"/>
                  <a:gd name="connsiteX14" fmla="*/ 45011 w 122340"/>
                  <a:gd name="connsiteY14" fmla="*/ 80724 h 133260"/>
                  <a:gd name="connsiteX15" fmla="*/ 76739 w 122340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40" h="133260">
                    <a:moveTo>
                      <a:pt x="122340" y="133261"/>
                    </a:moveTo>
                    <a:lnTo>
                      <a:pt x="91940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7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1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DDDCE6B0-9E2E-4925-958E-4F47A6CC127E}"/>
                  </a:ext>
                </a:extLst>
              </p:cNvPr>
              <p:cNvSpPr/>
              <p:nvPr userDrawn="1"/>
            </p:nvSpPr>
            <p:spPr>
              <a:xfrm>
                <a:off x="4931577" y="1322102"/>
                <a:ext cx="37018" cy="66855"/>
              </a:xfrm>
              <a:custGeom>
                <a:avLst/>
                <a:gdLst>
                  <a:gd name="connsiteX0" fmla="*/ 73788 w 73787"/>
                  <a:gd name="connsiteY0" fmla="*/ 133261 h 133260"/>
                  <a:gd name="connsiteX1" fmla="*/ 0 w 73787"/>
                  <a:gd name="connsiteY1" fmla="*/ 133261 h 133260"/>
                  <a:gd name="connsiteX2" fmla="*/ 0 w 73787"/>
                  <a:gd name="connsiteY2" fmla="*/ 0 h 133260"/>
                  <a:gd name="connsiteX3" fmla="*/ 27892 w 73787"/>
                  <a:gd name="connsiteY3" fmla="*/ 0 h 133260"/>
                  <a:gd name="connsiteX4" fmla="*/ 27892 w 73787"/>
                  <a:gd name="connsiteY4" fmla="*/ 108911 h 133260"/>
                  <a:gd name="connsiteX5" fmla="*/ 73788 w 73787"/>
                  <a:gd name="connsiteY5" fmla="*/ 108911 h 133260"/>
                  <a:gd name="connsiteX6" fmla="*/ 73788 w 73787"/>
                  <a:gd name="connsiteY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787" h="133260">
                    <a:moveTo>
                      <a:pt x="73788" y="133261"/>
                    </a:moveTo>
                    <a:lnTo>
                      <a:pt x="0" y="133261"/>
                    </a:lnTo>
                    <a:lnTo>
                      <a:pt x="0" y="0"/>
                    </a:lnTo>
                    <a:lnTo>
                      <a:pt x="27892" y="0"/>
                    </a:lnTo>
                    <a:lnTo>
                      <a:pt x="27892" y="108911"/>
                    </a:lnTo>
                    <a:lnTo>
                      <a:pt x="73788" y="108911"/>
                    </a:lnTo>
                    <a:lnTo>
                      <a:pt x="73788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8196B1C9-F8A2-4E2A-832C-068A5A35E7E3}"/>
                  </a:ext>
                </a:extLst>
              </p:cNvPr>
              <p:cNvSpPr/>
              <p:nvPr userDrawn="1"/>
            </p:nvSpPr>
            <p:spPr>
              <a:xfrm>
                <a:off x="5026863" y="1321066"/>
                <a:ext cx="48568" cy="69076"/>
              </a:xfrm>
              <a:custGeom>
                <a:avLst/>
                <a:gdLst>
                  <a:gd name="connsiteX0" fmla="*/ 96662 w 96809"/>
                  <a:gd name="connsiteY0" fmla="*/ 130604 h 137687"/>
                  <a:gd name="connsiteX1" fmla="*/ 61244 w 96809"/>
                  <a:gd name="connsiteY1" fmla="*/ 137688 h 137687"/>
                  <a:gd name="connsiteX2" fmla="*/ 16381 w 96809"/>
                  <a:gd name="connsiteY2" fmla="*/ 119684 h 137687"/>
                  <a:gd name="connsiteX3" fmla="*/ 0 w 96809"/>
                  <a:gd name="connsiteY3" fmla="*/ 71722 h 137687"/>
                  <a:gd name="connsiteX4" fmla="*/ 18447 w 96809"/>
                  <a:gd name="connsiteY4" fmla="*/ 19923 h 137687"/>
                  <a:gd name="connsiteX5" fmla="*/ 66114 w 96809"/>
                  <a:gd name="connsiteY5" fmla="*/ 0 h 137687"/>
                  <a:gd name="connsiteX6" fmla="*/ 96662 w 96809"/>
                  <a:gd name="connsiteY6" fmla="*/ 4870 h 137687"/>
                  <a:gd name="connsiteX7" fmla="*/ 96662 w 96809"/>
                  <a:gd name="connsiteY7" fmla="*/ 33795 h 137687"/>
                  <a:gd name="connsiteX8" fmla="*/ 68328 w 96809"/>
                  <a:gd name="connsiteY8" fmla="*/ 25826 h 137687"/>
                  <a:gd name="connsiteX9" fmla="*/ 40141 w 96809"/>
                  <a:gd name="connsiteY9" fmla="*/ 37632 h 137687"/>
                  <a:gd name="connsiteX10" fmla="*/ 29368 w 96809"/>
                  <a:gd name="connsiteY10" fmla="*/ 69656 h 137687"/>
                  <a:gd name="connsiteX11" fmla="*/ 39550 w 96809"/>
                  <a:gd name="connsiteY11" fmla="*/ 100499 h 137687"/>
                  <a:gd name="connsiteX12" fmla="*/ 66852 w 96809"/>
                  <a:gd name="connsiteY12" fmla="*/ 112010 h 137687"/>
                  <a:gd name="connsiteX13" fmla="*/ 96810 w 96809"/>
                  <a:gd name="connsiteY13" fmla="*/ 103450 h 137687"/>
                  <a:gd name="connsiteX14" fmla="*/ 96810 w 96809"/>
                  <a:gd name="connsiteY14" fmla="*/ 130900 h 137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6809" h="137687">
                    <a:moveTo>
                      <a:pt x="96662" y="130604"/>
                    </a:moveTo>
                    <a:cubicBezTo>
                      <a:pt x="87660" y="135327"/>
                      <a:pt x="75854" y="137688"/>
                      <a:pt x="61244" y="137688"/>
                    </a:cubicBezTo>
                    <a:cubicBezTo>
                      <a:pt x="42207" y="137688"/>
                      <a:pt x="27301" y="131637"/>
                      <a:pt x="16381" y="119684"/>
                    </a:cubicBezTo>
                    <a:cubicBezTo>
                      <a:pt x="5460" y="107730"/>
                      <a:pt x="0" y="91644"/>
                      <a:pt x="0" y="71722"/>
                    </a:cubicBezTo>
                    <a:cubicBezTo>
                      <a:pt x="0" y="50471"/>
                      <a:pt x="6198" y="33205"/>
                      <a:pt x="18447" y="19923"/>
                    </a:cubicBezTo>
                    <a:cubicBezTo>
                      <a:pt x="30696" y="6641"/>
                      <a:pt x="46634" y="0"/>
                      <a:pt x="66114" y="0"/>
                    </a:cubicBezTo>
                    <a:cubicBezTo>
                      <a:pt x="78215" y="0"/>
                      <a:pt x="88398" y="1623"/>
                      <a:pt x="96662" y="4870"/>
                    </a:cubicBezTo>
                    <a:lnTo>
                      <a:pt x="96662" y="33795"/>
                    </a:lnTo>
                    <a:cubicBezTo>
                      <a:pt x="88398" y="28482"/>
                      <a:pt x="78953" y="25826"/>
                      <a:pt x="68328" y="25826"/>
                    </a:cubicBezTo>
                    <a:cubicBezTo>
                      <a:pt x="56669" y="25826"/>
                      <a:pt x="47224" y="29810"/>
                      <a:pt x="40141" y="37632"/>
                    </a:cubicBezTo>
                    <a:cubicBezTo>
                      <a:pt x="33057" y="45453"/>
                      <a:pt x="29368" y="56079"/>
                      <a:pt x="29368" y="69656"/>
                    </a:cubicBezTo>
                    <a:cubicBezTo>
                      <a:pt x="29368" y="83233"/>
                      <a:pt x="32762" y="92825"/>
                      <a:pt x="39550" y="100499"/>
                    </a:cubicBezTo>
                    <a:cubicBezTo>
                      <a:pt x="46339" y="108173"/>
                      <a:pt x="55341" y="112010"/>
                      <a:pt x="66852" y="112010"/>
                    </a:cubicBezTo>
                    <a:cubicBezTo>
                      <a:pt x="78363" y="112010"/>
                      <a:pt x="87660" y="109206"/>
                      <a:pt x="96810" y="103450"/>
                    </a:cubicBezTo>
                    <a:lnTo>
                      <a:pt x="96810" y="130900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00366F7-E29C-4ECC-961B-AE2A055C2753}"/>
                  </a:ext>
                </a:extLst>
              </p:cNvPr>
              <p:cNvSpPr/>
              <p:nvPr userDrawn="1"/>
            </p:nvSpPr>
            <p:spPr>
              <a:xfrm>
                <a:off x="5095865" y="1321065"/>
                <a:ext cx="60932" cy="69150"/>
              </a:xfrm>
              <a:custGeom>
                <a:avLst/>
                <a:gdLst>
                  <a:gd name="connsiteX0" fmla="*/ 60211 w 121454"/>
                  <a:gd name="connsiteY0" fmla="*/ 137688 h 137835"/>
                  <a:gd name="connsiteX1" fmla="*/ 16824 w 121454"/>
                  <a:gd name="connsiteY1" fmla="*/ 119093 h 137835"/>
                  <a:gd name="connsiteX2" fmla="*/ 0 w 121454"/>
                  <a:gd name="connsiteY2" fmla="*/ 70541 h 137835"/>
                  <a:gd name="connsiteX3" fmla="*/ 16971 w 121454"/>
                  <a:gd name="connsiteY3" fmla="*/ 19480 h 137835"/>
                  <a:gd name="connsiteX4" fmla="*/ 62129 w 121454"/>
                  <a:gd name="connsiteY4" fmla="*/ 0 h 137835"/>
                  <a:gd name="connsiteX5" fmla="*/ 105074 w 121454"/>
                  <a:gd name="connsiteY5" fmla="*/ 18742 h 137835"/>
                  <a:gd name="connsiteX6" fmla="*/ 121455 w 121454"/>
                  <a:gd name="connsiteY6" fmla="*/ 68032 h 137835"/>
                  <a:gd name="connsiteX7" fmla="*/ 104483 w 121454"/>
                  <a:gd name="connsiteY7" fmla="*/ 118651 h 137835"/>
                  <a:gd name="connsiteX8" fmla="*/ 60211 w 121454"/>
                  <a:gd name="connsiteY8" fmla="*/ 137836 h 137835"/>
                  <a:gd name="connsiteX9" fmla="*/ 61391 w 121454"/>
                  <a:gd name="connsiteY9" fmla="*/ 25678 h 137835"/>
                  <a:gd name="connsiteX10" fmla="*/ 38075 w 121454"/>
                  <a:gd name="connsiteY10" fmla="*/ 37484 h 137835"/>
                  <a:gd name="connsiteX11" fmla="*/ 29368 w 121454"/>
                  <a:gd name="connsiteY11" fmla="*/ 68770 h 137835"/>
                  <a:gd name="connsiteX12" fmla="*/ 38075 w 121454"/>
                  <a:gd name="connsiteY12" fmla="*/ 100056 h 137835"/>
                  <a:gd name="connsiteX13" fmla="*/ 60801 w 121454"/>
                  <a:gd name="connsiteY13" fmla="*/ 111567 h 137835"/>
                  <a:gd name="connsiteX14" fmla="*/ 83675 w 121454"/>
                  <a:gd name="connsiteY14" fmla="*/ 100351 h 137835"/>
                  <a:gd name="connsiteX15" fmla="*/ 92087 w 121454"/>
                  <a:gd name="connsiteY15" fmla="*/ 69213 h 137835"/>
                  <a:gd name="connsiteX16" fmla="*/ 83823 w 121454"/>
                  <a:gd name="connsiteY16" fmla="*/ 37041 h 137835"/>
                  <a:gd name="connsiteX17" fmla="*/ 61391 w 121454"/>
                  <a:gd name="connsiteY17" fmla="*/ 25531 h 1378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21454" h="137835">
                    <a:moveTo>
                      <a:pt x="60211" y="137688"/>
                    </a:moveTo>
                    <a:cubicBezTo>
                      <a:pt x="42502" y="137688"/>
                      <a:pt x="28039" y="131490"/>
                      <a:pt x="16824" y="119093"/>
                    </a:cubicBezTo>
                    <a:cubicBezTo>
                      <a:pt x="5608" y="106697"/>
                      <a:pt x="0" y="90464"/>
                      <a:pt x="0" y="70541"/>
                    </a:cubicBezTo>
                    <a:cubicBezTo>
                      <a:pt x="0" y="49438"/>
                      <a:pt x="5608" y="32467"/>
                      <a:pt x="16971" y="19480"/>
                    </a:cubicBezTo>
                    <a:cubicBezTo>
                      <a:pt x="28335" y="6493"/>
                      <a:pt x="43387" y="0"/>
                      <a:pt x="62129" y="0"/>
                    </a:cubicBezTo>
                    <a:cubicBezTo>
                      <a:pt x="79838" y="0"/>
                      <a:pt x="94153" y="6198"/>
                      <a:pt x="105074" y="18742"/>
                    </a:cubicBezTo>
                    <a:cubicBezTo>
                      <a:pt x="115994" y="31286"/>
                      <a:pt x="121455" y="47667"/>
                      <a:pt x="121455" y="68032"/>
                    </a:cubicBezTo>
                    <a:cubicBezTo>
                      <a:pt x="121455" y="88398"/>
                      <a:pt x="115847" y="105812"/>
                      <a:pt x="104483" y="118651"/>
                    </a:cubicBezTo>
                    <a:cubicBezTo>
                      <a:pt x="93120" y="131490"/>
                      <a:pt x="78363" y="137836"/>
                      <a:pt x="60211" y="137836"/>
                    </a:cubicBezTo>
                    <a:close/>
                    <a:moveTo>
                      <a:pt x="61391" y="25678"/>
                    </a:moveTo>
                    <a:cubicBezTo>
                      <a:pt x="51651" y="25678"/>
                      <a:pt x="43830" y="29663"/>
                      <a:pt x="38075" y="37484"/>
                    </a:cubicBezTo>
                    <a:cubicBezTo>
                      <a:pt x="32319" y="45306"/>
                      <a:pt x="29368" y="55784"/>
                      <a:pt x="29368" y="68770"/>
                    </a:cubicBezTo>
                    <a:cubicBezTo>
                      <a:pt x="29368" y="81757"/>
                      <a:pt x="32319" y="92382"/>
                      <a:pt x="38075" y="100056"/>
                    </a:cubicBezTo>
                    <a:cubicBezTo>
                      <a:pt x="43830" y="107730"/>
                      <a:pt x="51356" y="111567"/>
                      <a:pt x="60801" y="111567"/>
                    </a:cubicBezTo>
                    <a:cubicBezTo>
                      <a:pt x="70246" y="111567"/>
                      <a:pt x="78067" y="107878"/>
                      <a:pt x="83675" y="100351"/>
                    </a:cubicBezTo>
                    <a:cubicBezTo>
                      <a:pt x="89283" y="92825"/>
                      <a:pt x="92087" y="82495"/>
                      <a:pt x="92087" y="69213"/>
                    </a:cubicBezTo>
                    <a:cubicBezTo>
                      <a:pt x="92087" y="55931"/>
                      <a:pt x="89283" y="44715"/>
                      <a:pt x="83823" y="37041"/>
                    </a:cubicBezTo>
                    <a:cubicBezTo>
                      <a:pt x="78363" y="29368"/>
                      <a:pt x="70836" y="25531"/>
                      <a:pt x="61391" y="25531"/>
                    </a:cubicBez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085D898F-7A30-42D4-81F8-EA6A92C960A5}"/>
                  </a:ext>
                </a:extLst>
              </p:cNvPr>
              <p:cNvSpPr/>
              <p:nvPr userDrawn="1"/>
            </p:nvSpPr>
            <p:spPr>
              <a:xfrm>
                <a:off x="5181821" y="1322101"/>
                <a:ext cx="70927" cy="66929"/>
              </a:xfrm>
              <a:custGeom>
                <a:avLst/>
                <a:gdLst>
                  <a:gd name="connsiteX0" fmla="*/ 141230 w 141377"/>
                  <a:gd name="connsiteY0" fmla="*/ 133261 h 133408"/>
                  <a:gd name="connsiteX1" fmla="*/ 113633 w 141377"/>
                  <a:gd name="connsiteY1" fmla="*/ 133261 h 133408"/>
                  <a:gd name="connsiteX2" fmla="*/ 113633 w 141377"/>
                  <a:gd name="connsiteY2" fmla="*/ 53570 h 133408"/>
                  <a:gd name="connsiteX3" fmla="*/ 114666 w 141377"/>
                  <a:gd name="connsiteY3" fmla="*/ 25088 h 133408"/>
                  <a:gd name="connsiteX4" fmla="*/ 113928 w 141377"/>
                  <a:gd name="connsiteY4" fmla="*/ 25088 h 133408"/>
                  <a:gd name="connsiteX5" fmla="*/ 110091 w 141377"/>
                  <a:gd name="connsiteY5" fmla="*/ 42797 h 133408"/>
                  <a:gd name="connsiteX6" fmla="*/ 81019 w 141377"/>
                  <a:gd name="connsiteY6" fmla="*/ 133408 h 133408"/>
                  <a:gd name="connsiteX7" fmla="*/ 58145 w 141377"/>
                  <a:gd name="connsiteY7" fmla="*/ 133408 h 133408"/>
                  <a:gd name="connsiteX8" fmla="*/ 28630 w 141377"/>
                  <a:gd name="connsiteY8" fmla="*/ 43830 h 133408"/>
                  <a:gd name="connsiteX9" fmla="*/ 24793 w 141377"/>
                  <a:gd name="connsiteY9" fmla="*/ 25235 h 133408"/>
                  <a:gd name="connsiteX10" fmla="*/ 24055 w 141377"/>
                  <a:gd name="connsiteY10" fmla="*/ 25235 h 133408"/>
                  <a:gd name="connsiteX11" fmla="*/ 25235 w 141377"/>
                  <a:gd name="connsiteY11" fmla="*/ 59768 h 133408"/>
                  <a:gd name="connsiteX12" fmla="*/ 25235 w 141377"/>
                  <a:gd name="connsiteY12" fmla="*/ 133408 h 133408"/>
                  <a:gd name="connsiteX13" fmla="*/ 0 w 141377"/>
                  <a:gd name="connsiteY13" fmla="*/ 133408 h 133408"/>
                  <a:gd name="connsiteX14" fmla="*/ 0 w 141377"/>
                  <a:gd name="connsiteY14" fmla="*/ 0 h 133408"/>
                  <a:gd name="connsiteX15" fmla="*/ 40878 w 141377"/>
                  <a:gd name="connsiteY15" fmla="*/ 0 h 133408"/>
                  <a:gd name="connsiteX16" fmla="*/ 66261 w 141377"/>
                  <a:gd name="connsiteY16" fmla="*/ 78953 h 133408"/>
                  <a:gd name="connsiteX17" fmla="*/ 70689 w 141377"/>
                  <a:gd name="connsiteY17" fmla="*/ 97990 h 133408"/>
                  <a:gd name="connsiteX18" fmla="*/ 71279 w 141377"/>
                  <a:gd name="connsiteY18" fmla="*/ 97990 h 133408"/>
                  <a:gd name="connsiteX19" fmla="*/ 76149 w 141377"/>
                  <a:gd name="connsiteY19" fmla="*/ 78805 h 133408"/>
                  <a:gd name="connsiteX20" fmla="*/ 101532 w 141377"/>
                  <a:gd name="connsiteY20" fmla="*/ 0 h 133408"/>
                  <a:gd name="connsiteX21" fmla="*/ 141377 w 141377"/>
                  <a:gd name="connsiteY21" fmla="*/ 0 h 133408"/>
                  <a:gd name="connsiteX22" fmla="*/ 141377 w 141377"/>
                  <a:gd name="connsiteY22" fmla="*/ 133261 h 1334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141377" h="133408">
                    <a:moveTo>
                      <a:pt x="141230" y="133261"/>
                    </a:moveTo>
                    <a:lnTo>
                      <a:pt x="113633" y="133261"/>
                    </a:lnTo>
                    <a:lnTo>
                      <a:pt x="113633" y="53570"/>
                    </a:lnTo>
                    <a:cubicBezTo>
                      <a:pt x="113633" y="45011"/>
                      <a:pt x="113928" y="35418"/>
                      <a:pt x="114666" y="25088"/>
                    </a:cubicBezTo>
                    <a:lnTo>
                      <a:pt x="113928" y="25088"/>
                    </a:lnTo>
                    <a:cubicBezTo>
                      <a:pt x="112453" y="33205"/>
                      <a:pt x="111124" y="39108"/>
                      <a:pt x="110091" y="42797"/>
                    </a:cubicBezTo>
                    <a:lnTo>
                      <a:pt x="81019" y="133408"/>
                    </a:lnTo>
                    <a:lnTo>
                      <a:pt x="58145" y="133408"/>
                    </a:lnTo>
                    <a:lnTo>
                      <a:pt x="28630" y="43830"/>
                    </a:lnTo>
                    <a:cubicBezTo>
                      <a:pt x="27892" y="41469"/>
                      <a:pt x="26564" y="35271"/>
                      <a:pt x="24793" y="25235"/>
                    </a:cubicBezTo>
                    <a:lnTo>
                      <a:pt x="24055" y="25235"/>
                    </a:lnTo>
                    <a:cubicBezTo>
                      <a:pt x="24793" y="38370"/>
                      <a:pt x="25235" y="49881"/>
                      <a:pt x="25235" y="59768"/>
                    </a:cubicBezTo>
                    <a:lnTo>
                      <a:pt x="25235" y="133408"/>
                    </a:lnTo>
                    <a:lnTo>
                      <a:pt x="0" y="133408"/>
                    </a:lnTo>
                    <a:lnTo>
                      <a:pt x="0" y="0"/>
                    </a:lnTo>
                    <a:lnTo>
                      <a:pt x="40878" y="0"/>
                    </a:lnTo>
                    <a:lnTo>
                      <a:pt x="66261" y="78953"/>
                    </a:lnTo>
                    <a:cubicBezTo>
                      <a:pt x="68328" y="85299"/>
                      <a:pt x="69803" y="91644"/>
                      <a:pt x="70689" y="97990"/>
                    </a:cubicBezTo>
                    <a:lnTo>
                      <a:pt x="71279" y="97990"/>
                    </a:lnTo>
                    <a:cubicBezTo>
                      <a:pt x="72902" y="90611"/>
                      <a:pt x="74526" y="84266"/>
                      <a:pt x="76149" y="78805"/>
                    </a:cubicBezTo>
                    <a:lnTo>
                      <a:pt x="101532" y="0"/>
                    </a:lnTo>
                    <a:lnTo>
                      <a:pt x="141377" y="0"/>
                    </a:lnTo>
                    <a:lnTo>
                      <a:pt x="141377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F3B807B1-1F44-4622-BBB9-98C7BFA7328A}"/>
                  </a:ext>
                </a:extLst>
              </p:cNvPr>
              <p:cNvSpPr/>
              <p:nvPr userDrawn="1"/>
            </p:nvSpPr>
            <p:spPr>
              <a:xfrm>
                <a:off x="5281550" y="1322101"/>
                <a:ext cx="45459" cy="66855"/>
              </a:xfrm>
              <a:custGeom>
                <a:avLst/>
                <a:gdLst>
                  <a:gd name="connsiteX0" fmla="*/ 27892 w 90611"/>
                  <a:gd name="connsiteY0" fmla="*/ 87365 h 133260"/>
                  <a:gd name="connsiteX1" fmla="*/ 27892 w 90611"/>
                  <a:gd name="connsiteY1" fmla="*/ 133261 h 133260"/>
                  <a:gd name="connsiteX2" fmla="*/ 0 w 90611"/>
                  <a:gd name="connsiteY2" fmla="*/ 133261 h 133260"/>
                  <a:gd name="connsiteX3" fmla="*/ 0 w 90611"/>
                  <a:gd name="connsiteY3" fmla="*/ 0 h 133260"/>
                  <a:gd name="connsiteX4" fmla="*/ 43682 w 90611"/>
                  <a:gd name="connsiteY4" fmla="*/ 0 h 133260"/>
                  <a:gd name="connsiteX5" fmla="*/ 90611 w 90611"/>
                  <a:gd name="connsiteY5" fmla="*/ 42502 h 133260"/>
                  <a:gd name="connsiteX6" fmla="*/ 77182 w 90611"/>
                  <a:gd name="connsiteY6" fmla="*/ 74968 h 133260"/>
                  <a:gd name="connsiteX7" fmla="*/ 41321 w 90611"/>
                  <a:gd name="connsiteY7" fmla="*/ 87365 h 133260"/>
                  <a:gd name="connsiteX8" fmla="*/ 28039 w 90611"/>
                  <a:gd name="connsiteY8" fmla="*/ 87365 h 133260"/>
                  <a:gd name="connsiteX9" fmla="*/ 27892 w 90611"/>
                  <a:gd name="connsiteY9" fmla="*/ 23022 h 133260"/>
                  <a:gd name="connsiteX10" fmla="*/ 27892 w 90611"/>
                  <a:gd name="connsiteY10" fmla="*/ 64491 h 133260"/>
                  <a:gd name="connsiteX11" fmla="*/ 38812 w 90611"/>
                  <a:gd name="connsiteY11" fmla="*/ 64491 h 133260"/>
                  <a:gd name="connsiteX12" fmla="*/ 61096 w 90611"/>
                  <a:gd name="connsiteY12" fmla="*/ 43535 h 133260"/>
                  <a:gd name="connsiteX13" fmla="*/ 38812 w 90611"/>
                  <a:gd name="connsiteY13" fmla="*/ 23022 h 133260"/>
                  <a:gd name="connsiteX14" fmla="*/ 27892 w 90611"/>
                  <a:gd name="connsiteY14" fmla="*/ 23022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0611" h="133260">
                    <a:moveTo>
                      <a:pt x="27892" y="87365"/>
                    </a:moveTo>
                    <a:lnTo>
                      <a:pt x="27892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43682" y="0"/>
                    </a:lnTo>
                    <a:cubicBezTo>
                      <a:pt x="74968" y="0"/>
                      <a:pt x="90611" y="14167"/>
                      <a:pt x="90611" y="42502"/>
                    </a:cubicBezTo>
                    <a:cubicBezTo>
                      <a:pt x="90611" y="55931"/>
                      <a:pt x="86184" y="66704"/>
                      <a:pt x="77182" y="74968"/>
                    </a:cubicBezTo>
                    <a:cubicBezTo>
                      <a:pt x="68180" y="83233"/>
                      <a:pt x="56226" y="87365"/>
                      <a:pt x="41321" y="87365"/>
                    </a:cubicBezTo>
                    <a:lnTo>
                      <a:pt x="28039" y="87365"/>
                    </a:lnTo>
                    <a:close/>
                    <a:moveTo>
                      <a:pt x="27892" y="23022"/>
                    </a:moveTo>
                    <a:lnTo>
                      <a:pt x="27892" y="64491"/>
                    </a:lnTo>
                    <a:lnTo>
                      <a:pt x="38812" y="64491"/>
                    </a:lnTo>
                    <a:cubicBezTo>
                      <a:pt x="53717" y="64491"/>
                      <a:pt x="61096" y="57554"/>
                      <a:pt x="61096" y="43535"/>
                    </a:cubicBezTo>
                    <a:cubicBezTo>
                      <a:pt x="61096" y="29515"/>
                      <a:pt x="53717" y="23022"/>
                      <a:pt x="38812" y="23022"/>
                    </a:cubicBezTo>
                    <a:lnTo>
                      <a:pt x="27892" y="23022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943A04CF-B567-439F-BEA9-6EA0044F1C85}"/>
                  </a:ext>
                </a:extLst>
              </p:cNvPr>
              <p:cNvSpPr/>
              <p:nvPr userDrawn="1"/>
            </p:nvSpPr>
            <p:spPr>
              <a:xfrm>
                <a:off x="5338780" y="1322102"/>
                <a:ext cx="61376" cy="66855"/>
              </a:xfrm>
              <a:custGeom>
                <a:avLst/>
                <a:gdLst>
                  <a:gd name="connsiteX0" fmla="*/ 122340 w 122339"/>
                  <a:gd name="connsiteY0" fmla="*/ 133261 h 133260"/>
                  <a:gd name="connsiteX1" fmla="*/ 91939 w 122339"/>
                  <a:gd name="connsiteY1" fmla="*/ 133261 h 133260"/>
                  <a:gd name="connsiteX2" fmla="*/ 83085 w 122339"/>
                  <a:gd name="connsiteY2" fmla="*/ 103598 h 133260"/>
                  <a:gd name="connsiteX3" fmla="*/ 38960 w 122339"/>
                  <a:gd name="connsiteY3" fmla="*/ 103598 h 133260"/>
                  <a:gd name="connsiteX4" fmla="*/ 30253 w 122339"/>
                  <a:gd name="connsiteY4" fmla="*/ 133261 h 133260"/>
                  <a:gd name="connsiteX5" fmla="*/ 0 w 122339"/>
                  <a:gd name="connsiteY5" fmla="*/ 133261 h 133260"/>
                  <a:gd name="connsiteX6" fmla="*/ 45158 w 122339"/>
                  <a:gd name="connsiteY6" fmla="*/ 0 h 133260"/>
                  <a:gd name="connsiteX7" fmla="*/ 78215 w 122339"/>
                  <a:gd name="connsiteY7" fmla="*/ 0 h 133260"/>
                  <a:gd name="connsiteX8" fmla="*/ 122340 w 122339"/>
                  <a:gd name="connsiteY8" fmla="*/ 133261 h 133260"/>
                  <a:gd name="connsiteX9" fmla="*/ 76739 w 122339"/>
                  <a:gd name="connsiteY9" fmla="*/ 80576 h 133260"/>
                  <a:gd name="connsiteX10" fmla="*/ 63458 w 122339"/>
                  <a:gd name="connsiteY10" fmla="*/ 35861 h 133260"/>
                  <a:gd name="connsiteX11" fmla="*/ 61391 w 122339"/>
                  <a:gd name="connsiteY11" fmla="*/ 23907 h 133260"/>
                  <a:gd name="connsiteX12" fmla="*/ 60654 w 122339"/>
                  <a:gd name="connsiteY12" fmla="*/ 23907 h 133260"/>
                  <a:gd name="connsiteX13" fmla="*/ 58440 w 122339"/>
                  <a:gd name="connsiteY13" fmla="*/ 35566 h 133260"/>
                  <a:gd name="connsiteX14" fmla="*/ 45010 w 122339"/>
                  <a:gd name="connsiteY14" fmla="*/ 80724 h 133260"/>
                  <a:gd name="connsiteX15" fmla="*/ 76739 w 122339"/>
                  <a:gd name="connsiteY15" fmla="*/ 80724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22339" h="133260">
                    <a:moveTo>
                      <a:pt x="122340" y="133261"/>
                    </a:moveTo>
                    <a:lnTo>
                      <a:pt x="91939" y="133261"/>
                    </a:lnTo>
                    <a:lnTo>
                      <a:pt x="83085" y="103598"/>
                    </a:lnTo>
                    <a:lnTo>
                      <a:pt x="38960" y="103598"/>
                    </a:lnTo>
                    <a:lnTo>
                      <a:pt x="30253" y="133261"/>
                    </a:lnTo>
                    <a:lnTo>
                      <a:pt x="0" y="133261"/>
                    </a:lnTo>
                    <a:lnTo>
                      <a:pt x="45158" y="0"/>
                    </a:lnTo>
                    <a:lnTo>
                      <a:pt x="78215" y="0"/>
                    </a:lnTo>
                    <a:lnTo>
                      <a:pt x="122340" y="133261"/>
                    </a:lnTo>
                    <a:close/>
                    <a:moveTo>
                      <a:pt x="76739" y="80576"/>
                    </a:moveTo>
                    <a:lnTo>
                      <a:pt x="63458" y="35861"/>
                    </a:lnTo>
                    <a:cubicBezTo>
                      <a:pt x="62424" y="32467"/>
                      <a:pt x="61834" y="28482"/>
                      <a:pt x="61391" y="23907"/>
                    </a:cubicBezTo>
                    <a:lnTo>
                      <a:pt x="60654" y="23907"/>
                    </a:lnTo>
                    <a:cubicBezTo>
                      <a:pt x="60358" y="27744"/>
                      <a:pt x="59620" y="31729"/>
                      <a:pt x="58440" y="35566"/>
                    </a:cubicBezTo>
                    <a:lnTo>
                      <a:pt x="45010" y="80724"/>
                    </a:lnTo>
                    <a:lnTo>
                      <a:pt x="76739" y="80724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89F7C2D0-10F6-46DF-A7D8-CF4A4563113A}"/>
                  </a:ext>
                </a:extLst>
              </p:cNvPr>
              <p:cNvSpPr/>
              <p:nvPr userDrawn="1"/>
            </p:nvSpPr>
            <p:spPr>
              <a:xfrm>
                <a:off x="5422664" y="1322102"/>
                <a:ext cx="55898" cy="66855"/>
              </a:xfrm>
              <a:custGeom>
                <a:avLst/>
                <a:gdLst>
                  <a:gd name="connsiteX0" fmla="*/ 111419 w 111419"/>
                  <a:gd name="connsiteY0" fmla="*/ 133261 h 133260"/>
                  <a:gd name="connsiteX1" fmla="*/ 83233 w 111419"/>
                  <a:gd name="connsiteY1" fmla="*/ 133261 h 133260"/>
                  <a:gd name="connsiteX2" fmla="*/ 32171 w 111419"/>
                  <a:gd name="connsiteY2" fmla="*/ 49585 h 133260"/>
                  <a:gd name="connsiteX3" fmla="*/ 25973 w 111419"/>
                  <a:gd name="connsiteY3" fmla="*/ 38517 h 133260"/>
                  <a:gd name="connsiteX4" fmla="*/ 25678 w 111419"/>
                  <a:gd name="connsiteY4" fmla="*/ 38517 h 133260"/>
                  <a:gd name="connsiteX5" fmla="*/ 26416 w 111419"/>
                  <a:gd name="connsiteY5" fmla="*/ 60063 h 133260"/>
                  <a:gd name="connsiteX6" fmla="*/ 26416 w 111419"/>
                  <a:gd name="connsiteY6" fmla="*/ 133261 h 133260"/>
                  <a:gd name="connsiteX7" fmla="*/ 0 w 111419"/>
                  <a:gd name="connsiteY7" fmla="*/ 133261 h 133260"/>
                  <a:gd name="connsiteX8" fmla="*/ 0 w 111419"/>
                  <a:gd name="connsiteY8" fmla="*/ 0 h 133260"/>
                  <a:gd name="connsiteX9" fmla="*/ 30105 w 111419"/>
                  <a:gd name="connsiteY9" fmla="*/ 0 h 133260"/>
                  <a:gd name="connsiteX10" fmla="*/ 79248 w 111419"/>
                  <a:gd name="connsiteY10" fmla="*/ 81167 h 133260"/>
                  <a:gd name="connsiteX11" fmla="*/ 85446 w 111419"/>
                  <a:gd name="connsiteY11" fmla="*/ 92087 h 133260"/>
                  <a:gd name="connsiteX12" fmla="*/ 85741 w 111419"/>
                  <a:gd name="connsiteY12" fmla="*/ 92087 h 133260"/>
                  <a:gd name="connsiteX13" fmla="*/ 85003 w 111419"/>
                  <a:gd name="connsiteY13" fmla="*/ 73788 h 133260"/>
                  <a:gd name="connsiteX14" fmla="*/ 85003 w 111419"/>
                  <a:gd name="connsiteY14" fmla="*/ 0 h 133260"/>
                  <a:gd name="connsiteX15" fmla="*/ 111419 w 111419"/>
                  <a:gd name="connsiteY15" fmla="*/ 0 h 133260"/>
                  <a:gd name="connsiteX16" fmla="*/ 111419 w 111419"/>
                  <a:gd name="connsiteY16" fmla="*/ 133261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111419" h="133260">
                    <a:moveTo>
                      <a:pt x="111419" y="133261"/>
                    </a:moveTo>
                    <a:lnTo>
                      <a:pt x="83233" y="133261"/>
                    </a:lnTo>
                    <a:lnTo>
                      <a:pt x="32171" y="49585"/>
                    </a:lnTo>
                    <a:cubicBezTo>
                      <a:pt x="29220" y="44715"/>
                      <a:pt x="27154" y="41026"/>
                      <a:pt x="25973" y="38517"/>
                    </a:cubicBezTo>
                    <a:lnTo>
                      <a:pt x="25678" y="38517"/>
                    </a:lnTo>
                    <a:cubicBezTo>
                      <a:pt x="26121" y="43240"/>
                      <a:pt x="26416" y="50471"/>
                      <a:pt x="26416" y="60063"/>
                    </a:cubicBezTo>
                    <a:lnTo>
                      <a:pt x="26416" y="133261"/>
                    </a:lnTo>
                    <a:lnTo>
                      <a:pt x="0" y="133261"/>
                    </a:lnTo>
                    <a:lnTo>
                      <a:pt x="0" y="0"/>
                    </a:lnTo>
                    <a:lnTo>
                      <a:pt x="30105" y="0"/>
                    </a:lnTo>
                    <a:lnTo>
                      <a:pt x="79248" y="81167"/>
                    </a:lnTo>
                    <a:cubicBezTo>
                      <a:pt x="81462" y="84856"/>
                      <a:pt x="83528" y="88398"/>
                      <a:pt x="85446" y="92087"/>
                    </a:cubicBezTo>
                    <a:lnTo>
                      <a:pt x="85741" y="92087"/>
                    </a:lnTo>
                    <a:cubicBezTo>
                      <a:pt x="85299" y="88988"/>
                      <a:pt x="85003" y="82937"/>
                      <a:pt x="85003" y="73788"/>
                    </a:cubicBezTo>
                    <a:lnTo>
                      <a:pt x="85003" y="0"/>
                    </a:lnTo>
                    <a:lnTo>
                      <a:pt x="111419" y="0"/>
                    </a:lnTo>
                    <a:lnTo>
                      <a:pt x="111419" y="133261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AE4379ED-105A-4704-8B71-E323949112CA}"/>
                  </a:ext>
                </a:extLst>
              </p:cNvPr>
              <p:cNvSpPr/>
              <p:nvPr userDrawn="1"/>
            </p:nvSpPr>
            <p:spPr>
              <a:xfrm>
                <a:off x="5500321" y="1322101"/>
                <a:ext cx="54046" cy="66855"/>
              </a:xfrm>
              <a:custGeom>
                <a:avLst/>
                <a:gdLst>
                  <a:gd name="connsiteX0" fmla="*/ 107730 w 107730"/>
                  <a:gd name="connsiteY0" fmla="*/ 0 h 133260"/>
                  <a:gd name="connsiteX1" fmla="*/ 67294 w 107730"/>
                  <a:gd name="connsiteY1" fmla="*/ 85889 h 133260"/>
                  <a:gd name="connsiteX2" fmla="*/ 67294 w 107730"/>
                  <a:gd name="connsiteY2" fmla="*/ 133261 h 133260"/>
                  <a:gd name="connsiteX3" fmla="*/ 39403 w 107730"/>
                  <a:gd name="connsiteY3" fmla="*/ 133261 h 133260"/>
                  <a:gd name="connsiteX4" fmla="*/ 39403 w 107730"/>
                  <a:gd name="connsiteY4" fmla="*/ 86479 h 133260"/>
                  <a:gd name="connsiteX5" fmla="*/ 0 w 107730"/>
                  <a:gd name="connsiteY5" fmla="*/ 148 h 133260"/>
                  <a:gd name="connsiteX6" fmla="*/ 31876 w 107730"/>
                  <a:gd name="connsiteY6" fmla="*/ 148 h 133260"/>
                  <a:gd name="connsiteX7" fmla="*/ 51799 w 107730"/>
                  <a:gd name="connsiteY7" fmla="*/ 49881 h 133260"/>
                  <a:gd name="connsiteX8" fmla="*/ 54603 w 107730"/>
                  <a:gd name="connsiteY8" fmla="*/ 60801 h 133260"/>
                  <a:gd name="connsiteX9" fmla="*/ 54898 w 107730"/>
                  <a:gd name="connsiteY9" fmla="*/ 60801 h 133260"/>
                  <a:gd name="connsiteX10" fmla="*/ 57555 w 107730"/>
                  <a:gd name="connsiteY10" fmla="*/ 50323 h 133260"/>
                  <a:gd name="connsiteX11" fmla="*/ 77920 w 107730"/>
                  <a:gd name="connsiteY11" fmla="*/ 295 h 133260"/>
                  <a:gd name="connsiteX12" fmla="*/ 107435 w 107730"/>
                  <a:gd name="connsiteY12" fmla="*/ 295 h 1332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7730" h="133260">
                    <a:moveTo>
                      <a:pt x="107730" y="0"/>
                    </a:moveTo>
                    <a:lnTo>
                      <a:pt x="67294" y="85889"/>
                    </a:lnTo>
                    <a:lnTo>
                      <a:pt x="67294" y="133261"/>
                    </a:lnTo>
                    <a:lnTo>
                      <a:pt x="39403" y="133261"/>
                    </a:lnTo>
                    <a:lnTo>
                      <a:pt x="39403" y="86479"/>
                    </a:lnTo>
                    <a:lnTo>
                      <a:pt x="0" y="148"/>
                    </a:lnTo>
                    <a:lnTo>
                      <a:pt x="31876" y="148"/>
                    </a:lnTo>
                    <a:lnTo>
                      <a:pt x="51799" y="49881"/>
                    </a:lnTo>
                    <a:cubicBezTo>
                      <a:pt x="52094" y="50766"/>
                      <a:pt x="53127" y="54455"/>
                      <a:pt x="54603" y="60801"/>
                    </a:cubicBezTo>
                    <a:lnTo>
                      <a:pt x="54898" y="60801"/>
                    </a:lnTo>
                    <a:cubicBezTo>
                      <a:pt x="55636" y="56374"/>
                      <a:pt x="56521" y="52832"/>
                      <a:pt x="57555" y="50323"/>
                    </a:cubicBezTo>
                    <a:lnTo>
                      <a:pt x="77920" y="295"/>
                    </a:lnTo>
                    <a:lnTo>
                      <a:pt x="107435" y="295"/>
                    </a:lnTo>
                    <a:close/>
                  </a:path>
                </a:pathLst>
              </a:custGeom>
              <a:grpFill/>
              <a:ln w="1475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759363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269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DE8BEE8F-B804-4318-B369-BF50EA2797B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8624BC-0F97-4771-B482-7412327D19DF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D71EA7-2198-4C8F-BEF8-3321898B5AF0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29E9D-DDCD-4FBF-B886-EF7803D98D9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0B57A6C-F947-4D55-BF57-95CCD43BFB98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4A8927-23FD-475D-ABC6-A1F90A175019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75A3FF4-D72B-469E-898B-A80DD035A93D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F665471-CFE0-4D35-ADD8-D8FD0099A220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C43EC23-0339-4590-BC83-2EF9BB804650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3791D6B-D23C-4983-9094-3553FD8CEE9E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C465DA-3FCB-4CCB-8981-9ADDA8C1CC96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34112D-B3FC-4E5F-A221-BF86E9899252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D9D1214-3DEE-4E9C-81BE-D8769734ECD5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DB21E08-7510-479D-9407-955E7CDB572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6F2C78C-0EAC-4DB0-99EC-2931BEC57C6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C90D316B-15AC-4D1D-9A99-D563FB9E95A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927561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6477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3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96443EA-E82A-4837-87C9-4C0F89FDAD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Background">
            <a:extLst>
              <a:ext uri="{FF2B5EF4-FFF2-40B4-BE49-F238E27FC236}">
                <a16:creationId xmlns:a16="http://schemas.microsoft.com/office/drawing/2014/main" id="{A81F35A5-4D0A-4211-952D-705B47E2F45F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89884" cy="6858928"/>
          </a:xfrm>
          <a:prstGeom prst="rect">
            <a:avLst/>
          </a:prstGeom>
          <a:gradFill flip="none" rotWithShape="1">
            <a:gsLst>
              <a:gs pos="6000">
                <a:srgbClr val="00F8F9"/>
              </a:gs>
              <a:gs pos="100000">
                <a:srgbClr val="3D4AFB"/>
              </a:gs>
              <a:gs pos="64000">
                <a:srgbClr val="3A7FEF"/>
              </a:gs>
              <a:gs pos="40000">
                <a:schemeClr val="accent3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D8F389D-A080-415F-AF12-6B61A5EE37F3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>
            <a:outerShdw blurRad="317500" sx="102000" sy="102000" algn="ctr" rotWithShape="0">
              <a:schemeClr val="accent2">
                <a:alpha val="65000"/>
              </a:schemeClr>
            </a:outerShdw>
          </a:effectLst>
        </p:grpSpPr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A00A076C-7AD0-48D7-90EA-0B2F1D96C794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D9BA422F-EE92-417C-8903-8BACF144B2BF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FE4229C-93FF-4550-B856-A1FA5D41E9DF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6F90E35-217A-4F46-9E8A-9DA84BDD4ED8}"/>
              </a:ext>
            </a:extLst>
          </p:cNvPr>
          <p:cNvSpPr/>
          <p:nvPr userDrawn="1"/>
        </p:nvSpPr>
        <p:spPr>
          <a:xfrm flipH="1">
            <a:off x="6521244" y="-11335"/>
            <a:ext cx="5670758" cy="5694316"/>
          </a:xfrm>
          <a:custGeom>
            <a:avLst/>
            <a:gdLst>
              <a:gd name="connsiteX0" fmla="*/ 2558530 w 3379656"/>
              <a:gd name="connsiteY0" fmla="*/ 0 h 3393696"/>
              <a:gd name="connsiteX1" fmla="*/ 0 w 3379656"/>
              <a:gd name="connsiteY1" fmla="*/ 0 h 3393696"/>
              <a:gd name="connsiteX2" fmla="*/ 0 w 3379656"/>
              <a:gd name="connsiteY2" fmla="*/ 2581232 h 3393696"/>
              <a:gd name="connsiteX3" fmla="*/ 35059 w 3379656"/>
              <a:gd name="connsiteY3" fmla="*/ 2549981 h 3393696"/>
              <a:gd name="connsiteX4" fmla="*/ 112335 w 3379656"/>
              <a:gd name="connsiteY4" fmla="*/ 2190533 h 3393696"/>
              <a:gd name="connsiteX5" fmla="*/ 423342 w 3379656"/>
              <a:gd name="connsiteY5" fmla="*/ 1957331 h 3393696"/>
              <a:gd name="connsiteX6" fmla="*/ 79450 w 3379656"/>
              <a:gd name="connsiteY6" fmla="*/ 1692319 h 3393696"/>
              <a:gd name="connsiteX7" fmla="*/ 728762 w 3379656"/>
              <a:gd name="connsiteY7" fmla="*/ 1633858 h 3393696"/>
              <a:gd name="connsiteX8" fmla="*/ 420118 w 3379656"/>
              <a:gd name="connsiteY8" fmla="*/ 1213880 h 3393696"/>
              <a:gd name="connsiteX9" fmla="*/ 154461 w 3379656"/>
              <a:gd name="connsiteY9" fmla="*/ 1192385 h 3393696"/>
              <a:gd name="connsiteX10" fmla="*/ 302335 w 3379656"/>
              <a:gd name="connsiteY10" fmla="*/ 972724 h 3393696"/>
              <a:gd name="connsiteX11" fmla="*/ 156181 w 3379656"/>
              <a:gd name="connsiteY11" fmla="*/ 433029 h 3393696"/>
              <a:gd name="connsiteX12" fmla="*/ 525219 w 3379656"/>
              <a:gd name="connsiteY12" fmla="*/ 978958 h 3393696"/>
              <a:gd name="connsiteX13" fmla="*/ 986036 w 3379656"/>
              <a:gd name="connsiteY13" fmla="*/ 1376154 h 3393696"/>
              <a:gd name="connsiteX14" fmla="*/ 1250833 w 3379656"/>
              <a:gd name="connsiteY14" fmla="*/ 1454605 h 3393696"/>
              <a:gd name="connsiteX15" fmla="*/ 1015482 w 3379656"/>
              <a:gd name="connsiteY15" fmla="*/ 1577116 h 3393696"/>
              <a:gd name="connsiteX16" fmla="*/ 1090279 w 3379656"/>
              <a:gd name="connsiteY16" fmla="*/ 2022671 h 3393696"/>
              <a:gd name="connsiteX17" fmla="*/ 1663289 w 3379656"/>
              <a:gd name="connsiteY17" fmla="*/ 1831166 h 3393696"/>
              <a:gd name="connsiteX18" fmla="*/ 1586989 w 3379656"/>
              <a:gd name="connsiteY18" fmla="*/ 2438781 h 3393696"/>
              <a:gd name="connsiteX19" fmla="*/ 1442123 w 3379656"/>
              <a:gd name="connsiteY19" fmla="*/ 2233950 h 3393696"/>
              <a:gd name="connsiteX20" fmla="*/ 1579250 w 3379656"/>
              <a:gd name="connsiteY20" fmla="*/ 2243836 h 3393696"/>
              <a:gd name="connsiteX21" fmla="*/ 1183129 w 3379656"/>
              <a:gd name="connsiteY21" fmla="*/ 2335829 h 3393696"/>
              <a:gd name="connsiteX22" fmla="*/ 124156 w 3379656"/>
              <a:gd name="connsiteY22" fmla="*/ 3134303 h 3393696"/>
              <a:gd name="connsiteX23" fmla="*/ 593353 w 3379656"/>
              <a:gd name="connsiteY23" fmla="*/ 3390287 h 3393696"/>
              <a:gd name="connsiteX24" fmla="*/ 1350561 w 3379656"/>
              <a:gd name="connsiteY24" fmla="*/ 3120118 h 3393696"/>
              <a:gd name="connsiteX25" fmla="*/ 894261 w 3379656"/>
              <a:gd name="connsiteY25" fmla="*/ 2888420 h 3393696"/>
              <a:gd name="connsiteX26" fmla="*/ 523501 w 3379656"/>
              <a:gd name="connsiteY26" fmla="*/ 2888420 h 3393696"/>
              <a:gd name="connsiteX27" fmla="*/ 555526 w 3379656"/>
              <a:gd name="connsiteY27" fmla="*/ 3088092 h 3393696"/>
              <a:gd name="connsiteX28" fmla="*/ 387018 w 3379656"/>
              <a:gd name="connsiteY28" fmla="*/ 2934846 h 3393696"/>
              <a:gd name="connsiteX29" fmla="*/ 793671 w 3379656"/>
              <a:gd name="connsiteY29" fmla="*/ 2556350 h 3393696"/>
              <a:gd name="connsiteX30" fmla="*/ 1587847 w 3379656"/>
              <a:gd name="connsiteY30" fmla="*/ 2698419 h 3393696"/>
              <a:gd name="connsiteX31" fmla="*/ 2087782 w 3379656"/>
              <a:gd name="connsiteY31" fmla="*/ 2308532 h 3393696"/>
              <a:gd name="connsiteX32" fmla="*/ 2431673 w 3379656"/>
              <a:gd name="connsiteY32" fmla="*/ 2446303 h 3393696"/>
              <a:gd name="connsiteX33" fmla="*/ 2294117 w 3379656"/>
              <a:gd name="connsiteY33" fmla="*/ 2102411 h 3393696"/>
              <a:gd name="connsiteX34" fmla="*/ 2684004 w 3379656"/>
              <a:gd name="connsiteY34" fmla="*/ 1602477 h 3393696"/>
              <a:gd name="connsiteX35" fmla="*/ 2541719 w 3379656"/>
              <a:gd name="connsiteY35" fmla="*/ 808301 h 3393696"/>
              <a:gd name="connsiteX36" fmla="*/ 2920431 w 3379656"/>
              <a:gd name="connsiteY36" fmla="*/ 401649 h 3393696"/>
              <a:gd name="connsiteX37" fmla="*/ 3073464 w 3379656"/>
              <a:gd name="connsiteY37" fmla="*/ 570157 h 3393696"/>
              <a:gd name="connsiteX38" fmla="*/ 2873789 w 3379656"/>
              <a:gd name="connsiteY38" fmla="*/ 538130 h 3393696"/>
              <a:gd name="connsiteX39" fmla="*/ 2873789 w 3379656"/>
              <a:gd name="connsiteY39" fmla="*/ 908889 h 3393696"/>
              <a:gd name="connsiteX40" fmla="*/ 3105703 w 3379656"/>
              <a:gd name="connsiteY40" fmla="*/ 1365192 h 3393696"/>
              <a:gd name="connsiteX41" fmla="*/ 3375873 w 3379656"/>
              <a:gd name="connsiteY41" fmla="*/ 607984 h 3393696"/>
              <a:gd name="connsiteX42" fmla="*/ 3121177 w 3379656"/>
              <a:gd name="connsiteY42" fmla="*/ 138357 h 3393696"/>
              <a:gd name="connsiteX43" fmla="*/ 2322703 w 3379656"/>
              <a:gd name="connsiteY43" fmla="*/ 1197329 h 3393696"/>
              <a:gd name="connsiteX44" fmla="*/ 2230712 w 3379656"/>
              <a:gd name="connsiteY44" fmla="*/ 1593450 h 3393696"/>
              <a:gd name="connsiteX45" fmla="*/ 2220825 w 3379656"/>
              <a:gd name="connsiteY45" fmla="*/ 1456323 h 3393696"/>
              <a:gd name="connsiteX46" fmla="*/ 2425655 w 3379656"/>
              <a:gd name="connsiteY46" fmla="*/ 1601188 h 3393696"/>
              <a:gd name="connsiteX47" fmla="*/ 1818471 w 3379656"/>
              <a:gd name="connsiteY47" fmla="*/ 1676845 h 3393696"/>
              <a:gd name="connsiteX48" fmla="*/ 2009760 w 3379656"/>
              <a:gd name="connsiteY48" fmla="*/ 1103834 h 3393696"/>
              <a:gd name="connsiteX49" fmla="*/ 1564206 w 3379656"/>
              <a:gd name="connsiteY49" fmla="*/ 1029037 h 3393696"/>
              <a:gd name="connsiteX50" fmla="*/ 1441909 w 3379656"/>
              <a:gd name="connsiteY50" fmla="*/ 1264389 h 3393696"/>
              <a:gd name="connsiteX51" fmla="*/ 1363457 w 3379656"/>
              <a:gd name="connsiteY51" fmla="*/ 999807 h 3393696"/>
              <a:gd name="connsiteX52" fmla="*/ 966263 w 3379656"/>
              <a:gd name="connsiteY52" fmla="*/ 538776 h 3393696"/>
              <a:gd name="connsiteX53" fmla="*/ 420333 w 3379656"/>
              <a:gd name="connsiteY53" fmla="*/ 169736 h 3393696"/>
              <a:gd name="connsiteX54" fmla="*/ 959814 w 3379656"/>
              <a:gd name="connsiteY54" fmla="*/ 316106 h 3393696"/>
              <a:gd name="connsiteX55" fmla="*/ 1179690 w 3379656"/>
              <a:gd name="connsiteY55" fmla="*/ 168016 h 3393696"/>
              <a:gd name="connsiteX56" fmla="*/ 1201183 w 3379656"/>
              <a:gd name="connsiteY56" fmla="*/ 433674 h 3393696"/>
              <a:gd name="connsiteX57" fmla="*/ 1621377 w 3379656"/>
              <a:gd name="connsiteY57" fmla="*/ 742531 h 3393696"/>
              <a:gd name="connsiteX58" fmla="*/ 1679838 w 3379656"/>
              <a:gd name="connsiteY58" fmla="*/ 93005 h 3393696"/>
              <a:gd name="connsiteX59" fmla="*/ 1944637 w 3379656"/>
              <a:gd name="connsiteY59" fmla="*/ 436897 h 3393696"/>
              <a:gd name="connsiteX60" fmla="*/ 2177837 w 3379656"/>
              <a:gd name="connsiteY60" fmla="*/ 125889 h 3393696"/>
              <a:gd name="connsiteX61" fmla="*/ 2570735 w 3379656"/>
              <a:gd name="connsiteY61" fmla="*/ 11330 h 3393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3379656" h="3393696">
                <a:moveTo>
                  <a:pt x="2558530" y="0"/>
                </a:moveTo>
                <a:lnTo>
                  <a:pt x="0" y="0"/>
                </a:lnTo>
                <a:lnTo>
                  <a:pt x="0" y="2581232"/>
                </a:lnTo>
                <a:lnTo>
                  <a:pt x="35059" y="2549981"/>
                </a:lnTo>
                <a:cubicBezTo>
                  <a:pt x="116589" y="2461842"/>
                  <a:pt x="157658" y="2304878"/>
                  <a:pt x="112335" y="2190533"/>
                </a:cubicBezTo>
                <a:cubicBezTo>
                  <a:pt x="269880" y="2245771"/>
                  <a:pt x="438601" y="2104560"/>
                  <a:pt x="423342" y="1957331"/>
                </a:cubicBezTo>
                <a:cubicBezTo>
                  <a:pt x="259134" y="1957331"/>
                  <a:pt x="103737" y="1857818"/>
                  <a:pt x="79450" y="1692319"/>
                </a:cubicBezTo>
                <a:cubicBezTo>
                  <a:pt x="443331" y="1893281"/>
                  <a:pt x="646871" y="1760668"/>
                  <a:pt x="728762" y="1633858"/>
                </a:cubicBezTo>
                <a:cubicBezTo>
                  <a:pt x="855787" y="1437624"/>
                  <a:pt x="679542" y="1097816"/>
                  <a:pt x="420118" y="1213880"/>
                </a:cubicBezTo>
                <a:cubicBezTo>
                  <a:pt x="557675" y="1574966"/>
                  <a:pt x="16474" y="1573892"/>
                  <a:pt x="154461" y="1192385"/>
                </a:cubicBezTo>
                <a:cubicBezTo>
                  <a:pt x="187583" y="1109487"/>
                  <a:pt x="238005" y="1034604"/>
                  <a:pt x="302335" y="972724"/>
                </a:cubicBezTo>
                <a:cubicBezTo>
                  <a:pt x="153603" y="827431"/>
                  <a:pt x="-14047" y="635925"/>
                  <a:pt x="156181" y="433029"/>
                </a:cubicBezTo>
                <a:cubicBezTo>
                  <a:pt x="435594" y="650111"/>
                  <a:pt x="545853" y="765959"/>
                  <a:pt x="525219" y="978958"/>
                </a:cubicBezTo>
                <a:cubicBezTo>
                  <a:pt x="712211" y="978958"/>
                  <a:pt x="967121" y="1104478"/>
                  <a:pt x="986036" y="1376154"/>
                </a:cubicBezTo>
                <a:cubicBezTo>
                  <a:pt x="1082971" y="1353157"/>
                  <a:pt x="1186783" y="1343914"/>
                  <a:pt x="1250833" y="1454605"/>
                </a:cubicBezTo>
                <a:cubicBezTo>
                  <a:pt x="1170083" y="1490842"/>
                  <a:pt x="1091483" y="1531742"/>
                  <a:pt x="1015482" y="1577116"/>
                </a:cubicBezTo>
                <a:cubicBezTo>
                  <a:pt x="833219" y="1689956"/>
                  <a:pt x="804203" y="2021166"/>
                  <a:pt x="1090279" y="2022671"/>
                </a:cubicBezTo>
                <a:cubicBezTo>
                  <a:pt x="1033105" y="1796346"/>
                  <a:pt x="1419126" y="1609355"/>
                  <a:pt x="1663289" y="1831166"/>
                </a:cubicBezTo>
                <a:cubicBezTo>
                  <a:pt x="1869839" y="2018803"/>
                  <a:pt x="1858233" y="2385477"/>
                  <a:pt x="1586989" y="2438781"/>
                </a:cubicBezTo>
                <a:cubicBezTo>
                  <a:pt x="1374635" y="2480478"/>
                  <a:pt x="1350561" y="2278012"/>
                  <a:pt x="1442123" y="2233950"/>
                </a:cubicBezTo>
                <a:cubicBezTo>
                  <a:pt x="1533685" y="2189888"/>
                  <a:pt x="1579250" y="2243836"/>
                  <a:pt x="1579250" y="2243836"/>
                </a:cubicBezTo>
                <a:cubicBezTo>
                  <a:pt x="1678549" y="1931109"/>
                  <a:pt x="1157123" y="1865985"/>
                  <a:pt x="1183129" y="2335829"/>
                </a:cubicBezTo>
                <a:cubicBezTo>
                  <a:pt x="481589" y="2099402"/>
                  <a:pt x="-91852" y="2542809"/>
                  <a:pt x="124156" y="3134303"/>
                </a:cubicBezTo>
                <a:cubicBezTo>
                  <a:pt x="196373" y="3332255"/>
                  <a:pt x="410877" y="3411780"/>
                  <a:pt x="593353" y="3390287"/>
                </a:cubicBezTo>
                <a:cubicBezTo>
                  <a:pt x="814520" y="3364496"/>
                  <a:pt x="948207" y="3050694"/>
                  <a:pt x="1350561" y="3120118"/>
                </a:cubicBezTo>
                <a:cubicBezTo>
                  <a:pt x="1373131" y="2927967"/>
                  <a:pt x="1138639" y="2720342"/>
                  <a:pt x="894261" y="2888420"/>
                </a:cubicBezTo>
                <a:cubicBezTo>
                  <a:pt x="815164" y="2685093"/>
                  <a:pt x="578524" y="2724856"/>
                  <a:pt x="523501" y="2888420"/>
                </a:cubicBezTo>
                <a:cubicBezTo>
                  <a:pt x="626454" y="2905614"/>
                  <a:pt x="690289" y="3038873"/>
                  <a:pt x="555526" y="3088092"/>
                </a:cubicBezTo>
                <a:cubicBezTo>
                  <a:pt x="488467" y="3112810"/>
                  <a:pt x="393252" y="3054132"/>
                  <a:pt x="387018" y="2934846"/>
                </a:cubicBezTo>
                <a:cubicBezTo>
                  <a:pt x="373477" y="2683804"/>
                  <a:pt x="572934" y="2529052"/>
                  <a:pt x="793671" y="2556350"/>
                </a:cubicBezTo>
                <a:cubicBezTo>
                  <a:pt x="1083831" y="2592027"/>
                  <a:pt x="1339385" y="2728296"/>
                  <a:pt x="1587847" y="2698419"/>
                </a:cubicBezTo>
                <a:cubicBezTo>
                  <a:pt x="1753775" y="2679076"/>
                  <a:pt x="1917125" y="2579776"/>
                  <a:pt x="2087782" y="2308532"/>
                </a:cubicBezTo>
                <a:cubicBezTo>
                  <a:pt x="2147532" y="2495738"/>
                  <a:pt x="2264885" y="2500897"/>
                  <a:pt x="2431673" y="2446303"/>
                </a:cubicBezTo>
                <a:cubicBezTo>
                  <a:pt x="2486266" y="2279086"/>
                  <a:pt x="2481323" y="2161733"/>
                  <a:pt x="2294117" y="2102411"/>
                </a:cubicBezTo>
                <a:cubicBezTo>
                  <a:pt x="2565363" y="1931970"/>
                  <a:pt x="2664661" y="1768406"/>
                  <a:pt x="2684004" y="1602477"/>
                </a:cubicBezTo>
                <a:cubicBezTo>
                  <a:pt x="2713020" y="1354016"/>
                  <a:pt x="2577613" y="1098460"/>
                  <a:pt x="2541719" y="808301"/>
                </a:cubicBezTo>
                <a:cubicBezTo>
                  <a:pt x="2514639" y="587566"/>
                  <a:pt x="2669390" y="388323"/>
                  <a:pt x="2920431" y="401649"/>
                </a:cubicBezTo>
                <a:cubicBezTo>
                  <a:pt x="3039503" y="408096"/>
                  <a:pt x="3098395" y="503097"/>
                  <a:pt x="3073464" y="570157"/>
                </a:cubicBezTo>
                <a:cubicBezTo>
                  <a:pt x="3023814" y="704918"/>
                  <a:pt x="2890984" y="641083"/>
                  <a:pt x="2873789" y="538130"/>
                </a:cubicBezTo>
                <a:cubicBezTo>
                  <a:pt x="2710226" y="593153"/>
                  <a:pt x="2670679" y="829795"/>
                  <a:pt x="2873789" y="908889"/>
                </a:cubicBezTo>
                <a:cubicBezTo>
                  <a:pt x="2705929" y="1153483"/>
                  <a:pt x="2913338" y="1387759"/>
                  <a:pt x="3105703" y="1365192"/>
                </a:cubicBezTo>
                <a:cubicBezTo>
                  <a:pt x="3036279" y="962838"/>
                  <a:pt x="3350081" y="829150"/>
                  <a:pt x="3375873" y="607984"/>
                </a:cubicBezTo>
                <a:cubicBezTo>
                  <a:pt x="3398657" y="425077"/>
                  <a:pt x="3319131" y="210573"/>
                  <a:pt x="3121177" y="138357"/>
                </a:cubicBezTo>
                <a:cubicBezTo>
                  <a:pt x="2529467" y="-76577"/>
                  <a:pt x="2086921" y="496004"/>
                  <a:pt x="2322703" y="1197329"/>
                </a:cubicBezTo>
                <a:cubicBezTo>
                  <a:pt x="1852645" y="1171322"/>
                  <a:pt x="1917985" y="1692965"/>
                  <a:pt x="2230712" y="1593450"/>
                </a:cubicBezTo>
                <a:cubicBezTo>
                  <a:pt x="2230712" y="1593450"/>
                  <a:pt x="2176763" y="1547885"/>
                  <a:pt x="2220825" y="1456323"/>
                </a:cubicBezTo>
                <a:cubicBezTo>
                  <a:pt x="2264885" y="1364763"/>
                  <a:pt x="2467352" y="1388835"/>
                  <a:pt x="2425655" y="1601188"/>
                </a:cubicBezTo>
                <a:cubicBezTo>
                  <a:pt x="2372137" y="1872433"/>
                  <a:pt x="2005677" y="1884040"/>
                  <a:pt x="1818471" y="1676845"/>
                </a:cubicBezTo>
                <a:cubicBezTo>
                  <a:pt x="1596660" y="1432682"/>
                  <a:pt x="1783651" y="1046661"/>
                  <a:pt x="2009760" y="1103834"/>
                </a:cubicBezTo>
                <a:cubicBezTo>
                  <a:pt x="2008471" y="817758"/>
                  <a:pt x="1677045" y="846988"/>
                  <a:pt x="1564206" y="1029037"/>
                </a:cubicBezTo>
                <a:cubicBezTo>
                  <a:pt x="1519005" y="1105102"/>
                  <a:pt x="1478189" y="1183682"/>
                  <a:pt x="1441909" y="1264389"/>
                </a:cubicBezTo>
                <a:cubicBezTo>
                  <a:pt x="1331217" y="1199908"/>
                  <a:pt x="1340245" y="1096526"/>
                  <a:pt x="1363457" y="999807"/>
                </a:cubicBezTo>
                <a:cubicBezTo>
                  <a:pt x="1091783" y="980678"/>
                  <a:pt x="966263" y="725767"/>
                  <a:pt x="966263" y="538776"/>
                </a:cubicBezTo>
                <a:cubicBezTo>
                  <a:pt x="753264" y="560269"/>
                  <a:pt x="637415" y="448934"/>
                  <a:pt x="420333" y="169736"/>
                </a:cubicBezTo>
                <a:cubicBezTo>
                  <a:pt x="623230" y="-490"/>
                  <a:pt x="814520" y="167157"/>
                  <a:pt x="959814" y="316106"/>
                </a:cubicBezTo>
                <a:cubicBezTo>
                  <a:pt x="1021759" y="251690"/>
                  <a:pt x="1096727" y="201223"/>
                  <a:pt x="1179690" y="168016"/>
                </a:cubicBezTo>
                <a:cubicBezTo>
                  <a:pt x="1562056" y="30244"/>
                  <a:pt x="1562915" y="571231"/>
                  <a:pt x="1201183" y="433674"/>
                </a:cubicBezTo>
                <a:cubicBezTo>
                  <a:pt x="1085121" y="693098"/>
                  <a:pt x="1425144" y="869557"/>
                  <a:pt x="1621377" y="742531"/>
                </a:cubicBezTo>
                <a:cubicBezTo>
                  <a:pt x="1748187" y="660212"/>
                  <a:pt x="1880801" y="456887"/>
                  <a:pt x="1679838" y="93005"/>
                </a:cubicBezTo>
                <a:cubicBezTo>
                  <a:pt x="1845337" y="116648"/>
                  <a:pt x="1944637" y="272259"/>
                  <a:pt x="1944637" y="436897"/>
                </a:cubicBezTo>
                <a:cubicBezTo>
                  <a:pt x="2092081" y="452373"/>
                  <a:pt x="2233291" y="283436"/>
                  <a:pt x="2177837" y="125889"/>
                </a:cubicBezTo>
                <a:cubicBezTo>
                  <a:pt x="2308732" y="177903"/>
                  <a:pt x="2494863" y="116648"/>
                  <a:pt x="2570735" y="11330"/>
                </a:cubicBezTo>
                <a:close/>
              </a:path>
            </a:pathLst>
          </a:custGeom>
          <a:solidFill>
            <a:srgbClr val="02BAF6">
              <a:alpha val="18000"/>
            </a:srgbClr>
          </a:solidFill>
          <a:ln w="6218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/>
            <a:endParaRPr lang="ru-RU"/>
          </a:p>
        </p:txBody>
      </p:sp>
      <p:sp>
        <p:nvSpPr>
          <p:cNvPr id="14" name="Documenttype">
            <a:extLst>
              <a:ext uri="{FF2B5EF4-FFF2-40B4-BE49-F238E27FC236}">
                <a16:creationId xmlns:a16="http://schemas.microsoft.com/office/drawing/2014/main" id="{7B98A3CB-5C9F-4C0E-B821-5C3F342ABBC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buClr>
                <a:schemeClr val="tx1"/>
              </a:buCl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07117FD7-2908-4E00-815F-4220EFC1AE97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buClr>
                <a:schemeClr val="tx1"/>
              </a:buCl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id="{30559B8B-4F21-4892-A321-47C0C472884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buClr>
                <a:schemeClr val="tx1"/>
              </a:buCl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20C5CD72-137D-4A5F-88F0-84489D6F816D}"/>
              </a:ext>
            </a:extLst>
          </p:cNvPr>
          <p:cNvGrpSpPr/>
          <p:nvPr userDrawn="1"/>
        </p:nvGrpSpPr>
        <p:grpSpPr>
          <a:xfrm>
            <a:off x="4078575" y="896125"/>
            <a:ext cx="2163446" cy="520674"/>
            <a:chOff x="4078575" y="896125"/>
            <a:chExt cx="2163446" cy="520674"/>
          </a:xfrm>
        </p:grpSpPr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CD62BC78-B429-4FBD-866D-5ECEDF8B4833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35F2F25A-7778-4002-91C3-89EE114DCE2D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140348E6-88AD-4018-9E8E-BECFAC9BADF7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4E424A3A-1430-4B76-BA4C-25CBA4C88807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solidFill>
                <a:srgbClr val="90E7F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</p:grp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06A9E5AC-4F55-43B2-BC81-02B8AC23F73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E5EC4B45-2391-4FB4-83AB-B4EE417B644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EB00A7-50F0-471F-8A90-1B38E16C5344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78794AA-AAD9-405C-B832-3EC3BB8C9D35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9F0CE02-D112-40DA-B89B-26E5C260E6A0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2220296C-5AE5-4BF1-AED8-1CC3CCF65F40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2F8F3094-64F9-4B89-874E-BCD2AE99C9F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D18357D-3184-475A-8DC7-9D88A2C617F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0B608E1-2F4C-4C63-9BA9-FEC4F62ABFA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CF5C1E4C-4F6D-4149-BC93-662171E19BD0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518452C7-BD89-4735-A400-D4D7FFF84E49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4319CC93-BBBD-4F54-AF67-FE07B7FB595D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7E5B750-1817-4BCE-BD7D-4D251EC718F9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62BA0F33-EF4B-4FB7-8635-2416DA17C237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323C0653-09FD-4171-A666-360056795C31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343BE9BC-C5CA-4F83-BFFE-B9D1C47ABEDD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0BB2FDAE-21DC-453A-8FC2-72937E3C0904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DFCD6E06-08E6-4D5D-8685-C79B5882A725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2C50236-AD16-417F-98AF-BDED66C8627F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EACD7D41-634C-4ED4-B3F2-78A2663D66F1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6766DBB4-988C-4730-A839-69E49F29CC8A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5CE37D97-E89E-474D-A366-CCB808DB7779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ACEA2A67-27F1-41DA-AF60-6E30548EEFCA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214D08C6-0D53-45B5-9AC2-E6839161A823}"/>
              </a:ext>
            </a:extLst>
          </p:cNvPr>
          <p:cNvGrpSpPr/>
          <p:nvPr userDrawn="1"/>
        </p:nvGrpSpPr>
        <p:grpSpPr>
          <a:xfrm>
            <a:off x="53849" y="1929744"/>
            <a:ext cx="12084394" cy="4928256"/>
            <a:chOff x="53849" y="1915463"/>
            <a:chExt cx="12084394" cy="4928256"/>
          </a:xfrm>
          <a:gradFill>
            <a:gsLst>
              <a:gs pos="0">
                <a:schemeClr val="accent2">
                  <a:alpha val="0"/>
                </a:schemeClr>
              </a:gs>
              <a:gs pos="100000">
                <a:srgbClr val="3D4AFB">
                  <a:alpha val="0"/>
                </a:srgbClr>
              </a:gs>
              <a:gs pos="23000">
                <a:schemeClr val="accent3">
                  <a:alpha val="10000"/>
                </a:schemeClr>
              </a:gs>
            </a:gsLst>
            <a:lin ang="15000000" scaled="0"/>
          </a:gradFill>
        </p:grpSpPr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51E2CEF8-D8EF-44C1-84AB-87D63018A293}"/>
                </a:ext>
              </a:extLst>
            </p:cNvPr>
            <p:cNvSpPr/>
            <p:nvPr/>
          </p:nvSpPr>
          <p:spPr>
            <a:xfrm>
              <a:off x="187598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EF87F3B-9373-4916-8FB5-E6836F235671}"/>
                </a:ext>
              </a:extLst>
            </p:cNvPr>
            <p:cNvSpPr/>
            <p:nvPr/>
          </p:nvSpPr>
          <p:spPr>
            <a:xfrm>
              <a:off x="201765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794FD80B-EC25-42D9-A2AF-76AD3C44CAAC}"/>
                </a:ext>
              </a:extLst>
            </p:cNvPr>
            <p:cNvSpPr/>
            <p:nvPr/>
          </p:nvSpPr>
          <p:spPr>
            <a:xfrm>
              <a:off x="699664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FD9E2763-4687-4A03-8F7A-4725E8128C6D}"/>
                </a:ext>
              </a:extLst>
            </p:cNvPr>
            <p:cNvSpPr/>
            <p:nvPr/>
          </p:nvSpPr>
          <p:spPr>
            <a:xfrm>
              <a:off x="713831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3089A1C-5A70-47BE-B14C-07A6AD270448}"/>
                </a:ext>
              </a:extLst>
            </p:cNvPr>
            <p:cNvSpPr/>
            <p:nvPr/>
          </p:nvSpPr>
          <p:spPr>
            <a:xfrm>
              <a:off x="1211541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719024A9-D4BE-4FA3-82D5-5FFE6083E3CC}"/>
                </a:ext>
              </a:extLst>
            </p:cNvPr>
            <p:cNvSpPr/>
            <p:nvPr/>
          </p:nvSpPr>
          <p:spPr>
            <a:xfrm>
              <a:off x="1225708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CEB9335-F4F1-4956-A111-F8002D0FEC44}"/>
                </a:ext>
              </a:extLst>
            </p:cNvPr>
            <p:cNvSpPr/>
            <p:nvPr/>
          </p:nvSpPr>
          <p:spPr>
            <a:xfrm>
              <a:off x="172360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6CE6AAA5-0B9E-479E-A077-B74CFA7716E1}"/>
                </a:ext>
              </a:extLst>
            </p:cNvPr>
            <p:cNvSpPr/>
            <p:nvPr/>
          </p:nvSpPr>
          <p:spPr>
            <a:xfrm>
              <a:off x="1737774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B4AEC8C5-C8D9-4407-B8C3-1BE52B4601C2}"/>
                </a:ext>
              </a:extLst>
            </p:cNvPr>
            <p:cNvSpPr/>
            <p:nvPr/>
          </p:nvSpPr>
          <p:spPr>
            <a:xfrm>
              <a:off x="2235484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10B3BD35-1FD4-4384-8268-FAF5E189F58B}"/>
                </a:ext>
              </a:extLst>
            </p:cNvPr>
            <p:cNvSpPr/>
            <p:nvPr/>
          </p:nvSpPr>
          <p:spPr>
            <a:xfrm>
              <a:off x="2249651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76415F28-597E-4510-9E3A-E939F0474A61}"/>
                </a:ext>
              </a:extLst>
            </p:cNvPr>
            <p:cNvSpPr/>
            <p:nvPr/>
          </p:nvSpPr>
          <p:spPr>
            <a:xfrm>
              <a:off x="2747550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4D109826-4E8A-4B17-AB88-98B03E60886B}"/>
                </a:ext>
              </a:extLst>
            </p:cNvPr>
            <p:cNvSpPr/>
            <p:nvPr/>
          </p:nvSpPr>
          <p:spPr>
            <a:xfrm>
              <a:off x="2761717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B5EFD038-EBBD-4806-968C-C4F761C2A465}"/>
                </a:ext>
              </a:extLst>
            </p:cNvPr>
            <p:cNvSpPr/>
            <p:nvPr/>
          </p:nvSpPr>
          <p:spPr>
            <a:xfrm>
              <a:off x="325942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48238C1E-21AD-48B5-B243-1671C0B6F805}"/>
                </a:ext>
              </a:extLst>
            </p:cNvPr>
            <p:cNvSpPr/>
            <p:nvPr/>
          </p:nvSpPr>
          <p:spPr>
            <a:xfrm>
              <a:off x="3273594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CDC9E656-A105-4363-B715-3982DA5734B0}"/>
                </a:ext>
              </a:extLst>
            </p:cNvPr>
            <p:cNvSpPr/>
            <p:nvPr/>
          </p:nvSpPr>
          <p:spPr>
            <a:xfrm>
              <a:off x="3771493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3223B22-1DC0-492C-B5C9-615FB4982200}"/>
                </a:ext>
              </a:extLst>
            </p:cNvPr>
            <p:cNvSpPr/>
            <p:nvPr/>
          </p:nvSpPr>
          <p:spPr>
            <a:xfrm>
              <a:off x="3785660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C16B53B1-02D3-4492-A9DA-8BE828C30415}"/>
                </a:ext>
              </a:extLst>
            </p:cNvPr>
            <p:cNvSpPr/>
            <p:nvPr/>
          </p:nvSpPr>
          <p:spPr>
            <a:xfrm>
              <a:off x="4283559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6CC7B00D-B417-4B3C-B457-F62F57E0DEB5}"/>
                </a:ext>
              </a:extLst>
            </p:cNvPr>
            <p:cNvSpPr/>
            <p:nvPr/>
          </p:nvSpPr>
          <p:spPr>
            <a:xfrm>
              <a:off x="4297726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52F67938-D6E5-4A36-8446-FEAAA97C9BB9}"/>
                </a:ext>
              </a:extLst>
            </p:cNvPr>
            <p:cNvSpPr/>
            <p:nvPr/>
          </p:nvSpPr>
          <p:spPr>
            <a:xfrm>
              <a:off x="4795436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98C13B45-DBA2-4800-B81A-642BDE34A3FB}"/>
                </a:ext>
              </a:extLst>
            </p:cNvPr>
            <p:cNvSpPr/>
            <p:nvPr/>
          </p:nvSpPr>
          <p:spPr>
            <a:xfrm>
              <a:off x="480960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6" y="12844"/>
                    <a:pt x="0" y="9969"/>
                    <a:pt x="0" y="6422"/>
                  </a:cubicBezTo>
                  <a:cubicBezTo>
                    <a:pt x="0" y="2875"/>
                    <a:pt x="2876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85457B78-56E8-48E9-BE14-9506EE2651F8}"/>
                </a:ext>
              </a:extLst>
            </p:cNvPr>
            <p:cNvSpPr/>
            <p:nvPr/>
          </p:nvSpPr>
          <p:spPr>
            <a:xfrm>
              <a:off x="5307502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4A386244-7C98-4070-81A5-92A6F0695468}"/>
                </a:ext>
              </a:extLst>
            </p:cNvPr>
            <p:cNvSpPr/>
            <p:nvPr/>
          </p:nvSpPr>
          <p:spPr>
            <a:xfrm>
              <a:off x="5321669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F2C05541-B5FC-4E86-9C2A-1BC99197DDD5}"/>
                </a:ext>
              </a:extLst>
            </p:cNvPr>
            <p:cNvSpPr/>
            <p:nvPr/>
          </p:nvSpPr>
          <p:spPr>
            <a:xfrm>
              <a:off x="5819568" y="2355186"/>
              <a:ext cx="41177" cy="41176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8 w 41177"/>
                <a:gd name="connsiteY1" fmla="*/ 41177 h 41176"/>
                <a:gd name="connsiteX2" fmla="*/ 0 w 41177"/>
                <a:gd name="connsiteY2" fmla="*/ 20588 h 41176"/>
                <a:gd name="connsiteX3" fmla="*/ 20588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B7CC0C7F-0823-43BB-A164-96B2D8BCD43E}"/>
                </a:ext>
              </a:extLst>
            </p:cNvPr>
            <p:cNvSpPr/>
            <p:nvPr/>
          </p:nvSpPr>
          <p:spPr>
            <a:xfrm>
              <a:off x="5833546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47E5A108-C28A-49A2-82DE-03AD0E6A9F42}"/>
                </a:ext>
              </a:extLst>
            </p:cNvPr>
            <p:cNvSpPr/>
            <p:nvPr/>
          </p:nvSpPr>
          <p:spPr>
            <a:xfrm>
              <a:off x="6331445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1BAD056-6F16-4831-A5F6-D6AAAEA4EC94}"/>
                </a:ext>
              </a:extLst>
            </p:cNvPr>
            <p:cNvSpPr/>
            <p:nvPr/>
          </p:nvSpPr>
          <p:spPr>
            <a:xfrm>
              <a:off x="6345612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36F0F3E-4F76-4A7C-8216-FAEC05AFE575}"/>
                </a:ext>
              </a:extLst>
            </p:cNvPr>
            <p:cNvSpPr/>
            <p:nvPr/>
          </p:nvSpPr>
          <p:spPr>
            <a:xfrm>
              <a:off x="6843511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1ACCC568-4A2E-400F-BC6D-FB46EFFE5D14}"/>
                </a:ext>
              </a:extLst>
            </p:cNvPr>
            <p:cNvSpPr/>
            <p:nvPr/>
          </p:nvSpPr>
          <p:spPr>
            <a:xfrm>
              <a:off x="6857489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1F72BD6-2B69-41D5-9A08-6EDCD88C7ED6}"/>
                </a:ext>
              </a:extLst>
            </p:cNvPr>
            <p:cNvSpPr/>
            <p:nvPr/>
          </p:nvSpPr>
          <p:spPr>
            <a:xfrm>
              <a:off x="7355388" y="2355186"/>
              <a:ext cx="41177" cy="41176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B35CCD9F-F60D-4D3B-862E-CEF04D0816C0}"/>
                </a:ext>
              </a:extLst>
            </p:cNvPr>
            <p:cNvSpPr/>
            <p:nvPr/>
          </p:nvSpPr>
          <p:spPr>
            <a:xfrm>
              <a:off x="7369554" y="1915463"/>
              <a:ext cx="12844" cy="12844"/>
            </a:xfrm>
            <a:custGeom>
              <a:avLst/>
              <a:gdLst>
                <a:gd name="connsiteX0" fmla="*/ 12845 w 12844"/>
                <a:gd name="connsiteY0" fmla="*/ 6422 h 12844"/>
                <a:gd name="connsiteX1" fmla="*/ 6423 w 12844"/>
                <a:gd name="connsiteY1" fmla="*/ 12844 h 12844"/>
                <a:gd name="connsiteX2" fmla="*/ 0 w 12844"/>
                <a:gd name="connsiteY2" fmla="*/ 6422 h 12844"/>
                <a:gd name="connsiteX3" fmla="*/ 6423 w 12844"/>
                <a:gd name="connsiteY3" fmla="*/ 0 h 12844"/>
                <a:gd name="connsiteX4" fmla="*/ 12845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5" y="6422"/>
                  </a:moveTo>
                  <a:cubicBezTo>
                    <a:pt x="12845" y="10011"/>
                    <a:pt x="10011" y="12844"/>
                    <a:pt x="6423" y="12844"/>
                  </a:cubicBezTo>
                  <a:cubicBezTo>
                    <a:pt x="2834" y="12844"/>
                    <a:pt x="0" y="10011"/>
                    <a:pt x="0" y="6422"/>
                  </a:cubicBezTo>
                  <a:cubicBezTo>
                    <a:pt x="0" y="2833"/>
                    <a:pt x="2834" y="0"/>
                    <a:pt x="6423" y="0"/>
                  </a:cubicBezTo>
                  <a:cubicBezTo>
                    <a:pt x="10011" y="0"/>
                    <a:pt x="12845" y="2833"/>
                    <a:pt x="12845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8BDAA56-4EA1-4EEE-8DFF-2956EC702157}"/>
                </a:ext>
              </a:extLst>
            </p:cNvPr>
            <p:cNvSpPr/>
            <p:nvPr/>
          </p:nvSpPr>
          <p:spPr>
            <a:xfrm>
              <a:off x="7867454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8494901-4C96-424B-AE4D-B309E8448025}"/>
                </a:ext>
              </a:extLst>
            </p:cNvPr>
            <p:cNvSpPr/>
            <p:nvPr/>
          </p:nvSpPr>
          <p:spPr>
            <a:xfrm>
              <a:off x="7881432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6C81CD78-DAA8-4633-8EBD-F658B58F1B54}"/>
                </a:ext>
              </a:extLst>
            </p:cNvPr>
            <p:cNvSpPr/>
            <p:nvPr/>
          </p:nvSpPr>
          <p:spPr>
            <a:xfrm>
              <a:off x="8379331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CEA9CB0-B236-49F0-B2A4-B203648DC57A}"/>
                </a:ext>
              </a:extLst>
            </p:cNvPr>
            <p:cNvSpPr/>
            <p:nvPr/>
          </p:nvSpPr>
          <p:spPr>
            <a:xfrm>
              <a:off x="8393498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3EE090D1-8D8A-4415-B200-6333F47E928D}"/>
                </a:ext>
              </a:extLst>
            </p:cNvPr>
            <p:cNvSpPr/>
            <p:nvPr/>
          </p:nvSpPr>
          <p:spPr>
            <a:xfrm>
              <a:off x="889139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4A2B386D-FFED-4CF5-81C3-6C2609257F83}"/>
                </a:ext>
              </a:extLst>
            </p:cNvPr>
            <p:cNvSpPr/>
            <p:nvPr/>
          </p:nvSpPr>
          <p:spPr>
            <a:xfrm>
              <a:off x="890556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88830ACA-55A5-4265-AC25-C31271FD26D0}"/>
                </a:ext>
              </a:extLst>
            </p:cNvPr>
            <p:cNvSpPr/>
            <p:nvPr/>
          </p:nvSpPr>
          <p:spPr>
            <a:xfrm>
              <a:off x="9403463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43AF8763-32A8-49B7-8827-01F157568B8A}"/>
                </a:ext>
              </a:extLst>
            </p:cNvPr>
            <p:cNvSpPr/>
            <p:nvPr/>
          </p:nvSpPr>
          <p:spPr>
            <a:xfrm>
              <a:off x="9417441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6C38DD8-75E1-4E30-A25F-3733FC1EC711}"/>
                </a:ext>
              </a:extLst>
            </p:cNvPr>
            <p:cNvSpPr/>
            <p:nvPr/>
          </p:nvSpPr>
          <p:spPr>
            <a:xfrm>
              <a:off x="9915340" y="2355186"/>
              <a:ext cx="41176" cy="41176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7E834EA7-E7A5-4DDD-A89A-443F6FB3F4FA}"/>
                </a:ext>
              </a:extLst>
            </p:cNvPr>
            <p:cNvSpPr/>
            <p:nvPr/>
          </p:nvSpPr>
          <p:spPr>
            <a:xfrm>
              <a:off x="9929506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A6231B2C-7F86-41B6-AAC3-786EC4B3C35A}"/>
                </a:ext>
              </a:extLst>
            </p:cNvPr>
            <p:cNvSpPr/>
            <p:nvPr/>
          </p:nvSpPr>
          <p:spPr>
            <a:xfrm>
              <a:off x="10427406" y="2355186"/>
              <a:ext cx="41177" cy="41176"/>
            </a:xfrm>
            <a:custGeom>
              <a:avLst/>
              <a:gdLst>
                <a:gd name="connsiteX0" fmla="*/ 41178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8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8" y="20588"/>
                  </a:moveTo>
                  <a:cubicBezTo>
                    <a:pt x="41178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8" y="9255"/>
                    <a:pt x="41178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D00253C-83F3-4215-8FF0-CD7840CF1F5B}"/>
                </a:ext>
              </a:extLst>
            </p:cNvPr>
            <p:cNvSpPr/>
            <p:nvPr/>
          </p:nvSpPr>
          <p:spPr>
            <a:xfrm>
              <a:off x="10441384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2AA57E2A-28E1-4DF4-8013-B6DCAB29B0F5}"/>
                </a:ext>
              </a:extLst>
            </p:cNvPr>
            <p:cNvSpPr/>
            <p:nvPr/>
          </p:nvSpPr>
          <p:spPr>
            <a:xfrm>
              <a:off x="10939283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DE75D34-8A24-4C2E-AB98-3E42409BF6F0}"/>
                </a:ext>
              </a:extLst>
            </p:cNvPr>
            <p:cNvSpPr/>
            <p:nvPr/>
          </p:nvSpPr>
          <p:spPr>
            <a:xfrm>
              <a:off x="10953450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5499DBE2-5F68-4576-B814-28046C17A879}"/>
                </a:ext>
              </a:extLst>
            </p:cNvPr>
            <p:cNvSpPr/>
            <p:nvPr/>
          </p:nvSpPr>
          <p:spPr>
            <a:xfrm>
              <a:off x="11451160" y="2355186"/>
              <a:ext cx="41176" cy="41176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0B5FBAB4-3299-4FBB-BC9E-F7CC8F637BF1}"/>
                </a:ext>
              </a:extLst>
            </p:cNvPr>
            <p:cNvSpPr/>
            <p:nvPr/>
          </p:nvSpPr>
          <p:spPr>
            <a:xfrm>
              <a:off x="11465327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8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8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C798CB9E-C8F7-4A11-AA4E-4A89EDDE06B1}"/>
                </a:ext>
              </a:extLst>
            </p:cNvPr>
            <p:cNvSpPr/>
            <p:nvPr/>
          </p:nvSpPr>
          <p:spPr>
            <a:xfrm flipH="1">
              <a:off x="53849" y="2765879"/>
              <a:ext cx="12084394" cy="4077840"/>
            </a:xfrm>
            <a:custGeom>
              <a:avLst/>
              <a:gdLst>
                <a:gd name="connsiteX0" fmla="*/ 11929965 w 12084394"/>
                <a:gd name="connsiteY0" fmla="*/ 3958074 h 4077840"/>
                <a:gd name="connsiteX1" fmla="*/ 12080337 w 12084394"/>
                <a:gd name="connsiteY1" fmla="*/ 4057748 h 4077840"/>
                <a:gd name="connsiteX2" fmla="*/ 12084394 w 12084394"/>
                <a:gd name="connsiteY2" fmla="*/ 4077840 h 4077840"/>
                <a:gd name="connsiteX3" fmla="*/ 11775537 w 12084394"/>
                <a:gd name="connsiteY3" fmla="*/ 4077840 h 4077840"/>
                <a:gd name="connsiteX4" fmla="*/ 11779594 w 12084394"/>
                <a:gd name="connsiteY4" fmla="*/ 4057748 h 4077840"/>
                <a:gd name="connsiteX5" fmla="*/ 11929965 w 12084394"/>
                <a:gd name="connsiteY5" fmla="*/ 3958074 h 4077840"/>
                <a:gd name="connsiteX6" fmla="*/ 11417899 w 12084394"/>
                <a:gd name="connsiteY6" fmla="*/ 3958074 h 4077840"/>
                <a:gd name="connsiteX7" fmla="*/ 11568271 w 12084394"/>
                <a:gd name="connsiteY7" fmla="*/ 4057748 h 4077840"/>
                <a:gd name="connsiteX8" fmla="*/ 11572328 w 12084394"/>
                <a:gd name="connsiteY8" fmla="*/ 4077840 h 4077840"/>
                <a:gd name="connsiteX9" fmla="*/ 11263471 w 12084394"/>
                <a:gd name="connsiteY9" fmla="*/ 4077840 h 4077840"/>
                <a:gd name="connsiteX10" fmla="*/ 11267528 w 12084394"/>
                <a:gd name="connsiteY10" fmla="*/ 4057748 h 4077840"/>
                <a:gd name="connsiteX11" fmla="*/ 11417899 w 12084394"/>
                <a:gd name="connsiteY11" fmla="*/ 3958074 h 4077840"/>
                <a:gd name="connsiteX12" fmla="*/ 10906022 w 12084394"/>
                <a:gd name="connsiteY12" fmla="*/ 3958074 h 4077840"/>
                <a:gd name="connsiteX13" fmla="*/ 11056393 w 12084394"/>
                <a:gd name="connsiteY13" fmla="*/ 4057748 h 4077840"/>
                <a:gd name="connsiteX14" fmla="*/ 11060450 w 12084394"/>
                <a:gd name="connsiteY14" fmla="*/ 4077840 h 4077840"/>
                <a:gd name="connsiteX15" fmla="*/ 10751593 w 12084394"/>
                <a:gd name="connsiteY15" fmla="*/ 4077840 h 4077840"/>
                <a:gd name="connsiteX16" fmla="*/ 10755650 w 12084394"/>
                <a:gd name="connsiteY16" fmla="*/ 4057748 h 4077840"/>
                <a:gd name="connsiteX17" fmla="*/ 10906022 w 12084394"/>
                <a:gd name="connsiteY17" fmla="*/ 3958074 h 4077840"/>
                <a:gd name="connsiteX18" fmla="*/ 10393956 w 12084394"/>
                <a:gd name="connsiteY18" fmla="*/ 3958074 h 4077840"/>
                <a:gd name="connsiteX19" fmla="*/ 10544328 w 12084394"/>
                <a:gd name="connsiteY19" fmla="*/ 4057748 h 4077840"/>
                <a:gd name="connsiteX20" fmla="*/ 10548385 w 12084394"/>
                <a:gd name="connsiteY20" fmla="*/ 4077840 h 4077840"/>
                <a:gd name="connsiteX21" fmla="*/ 10239527 w 12084394"/>
                <a:gd name="connsiteY21" fmla="*/ 4077840 h 4077840"/>
                <a:gd name="connsiteX22" fmla="*/ 10243584 w 12084394"/>
                <a:gd name="connsiteY22" fmla="*/ 4057748 h 4077840"/>
                <a:gd name="connsiteX23" fmla="*/ 10393956 w 12084394"/>
                <a:gd name="connsiteY23" fmla="*/ 3958074 h 4077840"/>
                <a:gd name="connsiteX24" fmla="*/ 9882079 w 12084394"/>
                <a:gd name="connsiteY24" fmla="*/ 3958074 h 4077840"/>
                <a:gd name="connsiteX25" fmla="*/ 10032451 w 12084394"/>
                <a:gd name="connsiteY25" fmla="*/ 4057748 h 4077840"/>
                <a:gd name="connsiteX26" fmla="*/ 10036508 w 12084394"/>
                <a:gd name="connsiteY26" fmla="*/ 4077840 h 4077840"/>
                <a:gd name="connsiteX27" fmla="*/ 9727651 w 12084394"/>
                <a:gd name="connsiteY27" fmla="*/ 4077840 h 4077840"/>
                <a:gd name="connsiteX28" fmla="*/ 9731708 w 12084394"/>
                <a:gd name="connsiteY28" fmla="*/ 4057748 h 4077840"/>
                <a:gd name="connsiteX29" fmla="*/ 9882079 w 12084394"/>
                <a:gd name="connsiteY29" fmla="*/ 3958074 h 4077840"/>
                <a:gd name="connsiteX30" fmla="*/ 9370013 w 12084394"/>
                <a:gd name="connsiteY30" fmla="*/ 3958074 h 4077840"/>
                <a:gd name="connsiteX31" fmla="*/ 9520384 w 12084394"/>
                <a:gd name="connsiteY31" fmla="*/ 4057748 h 4077840"/>
                <a:gd name="connsiteX32" fmla="*/ 9524441 w 12084394"/>
                <a:gd name="connsiteY32" fmla="*/ 4077840 h 4077840"/>
                <a:gd name="connsiteX33" fmla="*/ 9215584 w 12084394"/>
                <a:gd name="connsiteY33" fmla="*/ 4077840 h 4077840"/>
                <a:gd name="connsiteX34" fmla="*/ 9219641 w 12084394"/>
                <a:gd name="connsiteY34" fmla="*/ 4057748 h 4077840"/>
                <a:gd name="connsiteX35" fmla="*/ 9370013 w 12084394"/>
                <a:gd name="connsiteY35" fmla="*/ 3958074 h 4077840"/>
                <a:gd name="connsiteX36" fmla="*/ 8858136 w 12084394"/>
                <a:gd name="connsiteY36" fmla="*/ 3958074 h 4077840"/>
                <a:gd name="connsiteX37" fmla="*/ 9008508 w 12084394"/>
                <a:gd name="connsiteY37" fmla="*/ 4057748 h 4077840"/>
                <a:gd name="connsiteX38" fmla="*/ 9012565 w 12084394"/>
                <a:gd name="connsiteY38" fmla="*/ 4077840 h 4077840"/>
                <a:gd name="connsiteX39" fmla="*/ 8703708 w 12084394"/>
                <a:gd name="connsiteY39" fmla="*/ 4077840 h 4077840"/>
                <a:gd name="connsiteX40" fmla="*/ 8707765 w 12084394"/>
                <a:gd name="connsiteY40" fmla="*/ 4057748 h 4077840"/>
                <a:gd name="connsiteX41" fmla="*/ 8858136 w 12084394"/>
                <a:gd name="connsiteY41" fmla="*/ 3958074 h 4077840"/>
                <a:gd name="connsiteX42" fmla="*/ 8346070 w 12084394"/>
                <a:gd name="connsiteY42" fmla="*/ 3958074 h 4077840"/>
                <a:gd name="connsiteX43" fmla="*/ 8496441 w 12084394"/>
                <a:gd name="connsiteY43" fmla="*/ 4057748 h 4077840"/>
                <a:gd name="connsiteX44" fmla="*/ 8500498 w 12084394"/>
                <a:gd name="connsiteY44" fmla="*/ 4077840 h 4077840"/>
                <a:gd name="connsiteX45" fmla="*/ 8191642 w 12084394"/>
                <a:gd name="connsiteY45" fmla="*/ 4077840 h 4077840"/>
                <a:gd name="connsiteX46" fmla="*/ 8195698 w 12084394"/>
                <a:gd name="connsiteY46" fmla="*/ 4057748 h 4077840"/>
                <a:gd name="connsiteX47" fmla="*/ 8346070 w 12084394"/>
                <a:gd name="connsiteY47" fmla="*/ 3958074 h 4077840"/>
                <a:gd name="connsiteX48" fmla="*/ 7834193 w 12084394"/>
                <a:gd name="connsiteY48" fmla="*/ 3958074 h 4077840"/>
                <a:gd name="connsiteX49" fmla="*/ 7984565 w 12084394"/>
                <a:gd name="connsiteY49" fmla="*/ 4057748 h 4077840"/>
                <a:gd name="connsiteX50" fmla="*/ 7988622 w 12084394"/>
                <a:gd name="connsiteY50" fmla="*/ 4077840 h 4077840"/>
                <a:gd name="connsiteX51" fmla="*/ 7679765 w 12084394"/>
                <a:gd name="connsiteY51" fmla="*/ 4077840 h 4077840"/>
                <a:gd name="connsiteX52" fmla="*/ 7683822 w 12084394"/>
                <a:gd name="connsiteY52" fmla="*/ 4057748 h 4077840"/>
                <a:gd name="connsiteX53" fmla="*/ 7834193 w 12084394"/>
                <a:gd name="connsiteY53" fmla="*/ 3958074 h 4077840"/>
                <a:gd name="connsiteX54" fmla="*/ 7322127 w 12084394"/>
                <a:gd name="connsiteY54" fmla="*/ 3958074 h 4077840"/>
                <a:gd name="connsiteX55" fmla="*/ 7472498 w 12084394"/>
                <a:gd name="connsiteY55" fmla="*/ 4057748 h 4077840"/>
                <a:gd name="connsiteX56" fmla="*/ 7476555 w 12084394"/>
                <a:gd name="connsiteY56" fmla="*/ 4077840 h 4077840"/>
                <a:gd name="connsiteX57" fmla="*/ 7167699 w 12084394"/>
                <a:gd name="connsiteY57" fmla="*/ 4077840 h 4077840"/>
                <a:gd name="connsiteX58" fmla="*/ 7171755 w 12084394"/>
                <a:gd name="connsiteY58" fmla="*/ 4057748 h 4077840"/>
                <a:gd name="connsiteX59" fmla="*/ 7322127 w 12084394"/>
                <a:gd name="connsiteY59" fmla="*/ 3958074 h 4077840"/>
                <a:gd name="connsiteX60" fmla="*/ 6810062 w 12084394"/>
                <a:gd name="connsiteY60" fmla="*/ 3958074 h 4077840"/>
                <a:gd name="connsiteX61" fmla="*/ 6960434 w 12084394"/>
                <a:gd name="connsiteY61" fmla="*/ 4057748 h 4077840"/>
                <a:gd name="connsiteX62" fmla="*/ 6964491 w 12084394"/>
                <a:gd name="connsiteY62" fmla="*/ 4077840 h 4077840"/>
                <a:gd name="connsiteX63" fmla="*/ 6655635 w 12084394"/>
                <a:gd name="connsiteY63" fmla="*/ 4077840 h 4077840"/>
                <a:gd name="connsiteX64" fmla="*/ 6659691 w 12084394"/>
                <a:gd name="connsiteY64" fmla="*/ 4057748 h 4077840"/>
                <a:gd name="connsiteX65" fmla="*/ 6810062 w 12084394"/>
                <a:gd name="connsiteY65" fmla="*/ 3958074 h 4077840"/>
                <a:gd name="connsiteX66" fmla="*/ 6298184 w 12084394"/>
                <a:gd name="connsiteY66" fmla="*/ 3958074 h 4077840"/>
                <a:gd name="connsiteX67" fmla="*/ 6448557 w 12084394"/>
                <a:gd name="connsiteY67" fmla="*/ 4057748 h 4077840"/>
                <a:gd name="connsiteX68" fmla="*/ 6452613 w 12084394"/>
                <a:gd name="connsiteY68" fmla="*/ 4077840 h 4077840"/>
                <a:gd name="connsiteX69" fmla="*/ 6143757 w 12084394"/>
                <a:gd name="connsiteY69" fmla="*/ 4077840 h 4077840"/>
                <a:gd name="connsiteX70" fmla="*/ 6147813 w 12084394"/>
                <a:gd name="connsiteY70" fmla="*/ 4057748 h 4077840"/>
                <a:gd name="connsiteX71" fmla="*/ 6298184 w 12084394"/>
                <a:gd name="connsiteY71" fmla="*/ 3958074 h 4077840"/>
                <a:gd name="connsiteX72" fmla="*/ 5786126 w 12084394"/>
                <a:gd name="connsiteY72" fmla="*/ 3958074 h 4077840"/>
                <a:gd name="connsiteX73" fmla="*/ 5936491 w 12084394"/>
                <a:gd name="connsiteY73" fmla="*/ 4057748 h 4077840"/>
                <a:gd name="connsiteX74" fmla="*/ 5940548 w 12084394"/>
                <a:gd name="connsiteY74" fmla="*/ 4077840 h 4077840"/>
                <a:gd name="connsiteX75" fmla="*/ 5631705 w 12084394"/>
                <a:gd name="connsiteY75" fmla="*/ 4077840 h 4077840"/>
                <a:gd name="connsiteX76" fmla="*/ 5635761 w 12084394"/>
                <a:gd name="connsiteY76" fmla="*/ 4057748 h 4077840"/>
                <a:gd name="connsiteX77" fmla="*/ 5786126 w 12084394"/>
                <a:gd name="connsiteY77" fmla="*/ 3958074 h 4077840"/>
                <a:gd name="connsiteX78" fmla="*/ 5274270 w 12084394"/>
                <a:gd name="connsiteY78" fmla="*/ 3958074 h 4077840"/>
                <a:gd name="connsiteX79" fmla="*/ 5424637 w 12084394"/>
                <a:gd name="connsiteY79" fmla="*/ 4057748 h 4077840"/>
                <a:gd name="connsiteX80" fmla="*/ 5428693 w 12084394"/>
                <a:gd name="connsiteY80" fmla="*/ 4077840 h 4077840"/>
                <a:gd name="connsiteX81" fmla="*/ 5119842 w 12084394"/>
                <a:gd name="connsiteY81" fmla="*/ 4077840 h 4077840"/>
                <a:gd name="connsiteX82" fmla="*/ 5123898 w 12084394"/>
                <a:gd name="connsiteY82" fmla="*/ 4057748 h 4077840"/>
                <a:gd name="connsiteX83" fmla="*/ 5274270 w 12084394"/>
                <a:gd name="connsiteY83" fmla="*/ 3958074 h 4077840"/>
                <a:gd name="connsiteX84" fmla="*/ 4762180 w 12084394"/>
                <a:gd name="connsiteY84" fmla="*/ 3958074 h 4077840"/>
                <a:gd name="connsiteX85" fmla="*/ 4912588 w 12084394"/>
                <a:gd name="connsiteY85" fmla="*/ 4057748 h 4077840"/>
                <a:gd name="connsiteX86" fmla="*/ 4916645 w 12084394"/>
                <a:gd name="connsiteY86" fmla="*/ 4077840 h 4077840"/>
                <a:gd name="connsiteX87" fmla="*/ 4607771 w 12084394"/>
                <a:gd name="connsiteY87" fmla="*/ 4077840 h 4077840"/>
                <a:gd name="connsiteX88" fmla="*/ 4611827 w 12084394"/>
                <a:gd name="connsiteY88" fmla="*/ 4057748 h 4077840"/>
                <a:gd name="connsiteX89" fmla="*/ 4762180 w 12084394"/>
                <a:gd name="connsiteY89" fmla="*/ 3958074 h 4077840"/>
                <a:gd name="connsiteX90" fmla="*/ 4250316 w 12084394"/>
                <a:gd name="connsiteY90" fmla="*/ 3958074 h 4077840"/>
                <a:gd name="connsiteX91" fmla="*/ 4400696 w 12084394"/>
                <a:gd name="connsiteY91" fmla="*/ 4057748 h 4077840"/>
                <a:gd name="connsiteX92" fmla="*/ 4404753 w 12084394"/>
                <a:gd name="connsiteY92" fmla="*/ 4077840 h 4077840"/>
                <a:gd name="connsiteX93" fmla="*/ 4095930 w 12084394"/>
                <a:gd name="connsiteY93" fmla="*/ 4077840 h 4077840"/>
                <a:gd name="connsiteX94" fmla="*/ 4099984 w 12084394"/>
                <a:gd name="connsiteY94" fmla="*/ 4057748 h 4077840"/>
                <a:gd name="connsiteX95" fmla="*/ 4250316 w 12084394"/>
                <a:gd name="connsiteY95" fmla="*/ 3958074 h 4077840"/>
                <a:gd name="connsiteX96" fmla="*/ 3738289 w 12084394"/>
                <a:gd name="connsiteY96" fmla="*/ 3958074 h 4077840"/>
                <a:gd name="connsiteX97" fmla="*/ 3888663 w 12084394"/>
                <a:gd name="connsiteY97" fmla="*/ 4057748 h 4077840"/>
                <a:gd name="connsiteX98" fmla="*/ 3892720 w 12084394"/>
                <a:gd name="connsiteY98" fmla="*/ 4077840 h 4077840"/>
                <a:gd name="connsiteX99" fmla="*/ 3583860 w 12084394"/>
                <a:gd name="connsiteY99" fmla="*/ 4077840 h 4077840"/>
                <a:gd name="connsiteX100" fmla="*/ 3587916 w 12084394"/>
                <a:gd name="connsiteY100" fmla="*/ 4057748 h 4077840"/>
                <a:gd name="connsiteX101" fmla="*/ 3738289 w 12084394"/>
                <a:gd name="connsiteY101" fmla="*/ 3958074 h 4077840"/>
                <a:gd name="connsiteX102" fmla="*/ 3226242 w 12084394"/>
                <a:gd name="connsiteY102" fmla="*/ 3958074 h 4077840"/>
                <a:gd name="connsiteX103" fmla="*/ 3376624 w 12084394"/>
                <a:gd name="connsiteY103" fmla="*/ 4057748 h 4077840"/>
                <a:gd name="connsiteX104" fmla="*/ 3380681 w 12084394"/>
                <a:gd name="connsiteY104" fmla="*/ 4077840 h 4077840"/>
                <a:gd name="connsiteX105" fmla="*/ 3071812 w 12084394"/>
                <a:gd name="connsiteY105" fmla="*/ 4077840 h 4077840"/>
                <a:gd name="connsiteX106" fmla="*/ 3075868 w 12084394"/>
                <a:gd name="connsiteY106" fmla="*/ 4057748 h 4077840"/>
                <a:gd name="connsiteX107" fmla="*/ 3226242 w 12084394"/>
                <a:gd name="connsiteY107" fmla="*/ 3958074 h 4077840"/>
                <a:gd name="connsiteX108" fmla="*/ 2714363 w 12084394"/>
                <a:gd name="connsiteY108" fmla="*/ 3958074 h 4077840"/>
                <a:gd name="connsiteX109" fmla="*/ 2864736 w 12084394"/>
                <a:gd name="connsiteY109" fmla="*/ 4057748 h 4077840"/>
                <a:gd name="connsiteX110" fmla="*/ 2868792 w 12084394"/>
                <a:gd name="connsiteY110" fmla="*/ 4077840 h 4077840"/>
                <a:gd name="connsiteX111" fmla="*/ 2559936 w 12084394"/>
                <a:gd name="connsiteY111" fmla="*/ 4077840 h 4077840"/>
                <a:gd name="connsiteX112" fmla="*/ 2563993 w 12084394"/>
                <a:gd name="connsiteY112" fmla="*/ 4057748 h 4077840"/>
                <a:gd name="connsiteX113" fmla="*/ 2714363 w 12084394"/>
                <a:gd name="connsiteY113" fmla="*/ 3958074 h 4077840"/>
                <a:gd name="connsiteX114" fmla="*/ 2202307 w 12084394"/>
                <a:gd name="connsiteY114" fmla="*/ 3958074 h 4077840"/>
                <a:gd name="connsiteX115" fmla="*/ 2352676 w 12084394"/>
                <a:gd name="connsiteY115" fmla="*/ 4057748 h 4077840"/>
                <a:gd name="connsiteX116" fmla="*/ 2356732 w 12084394"/>
                <a:gd name="connsiteY116" fmla="*/ 4077840 h 4077840"/>
                <a:gd name="connsiteX117" fmla="*/ 2047866 w 12084394"/>
                <a:gd name="connsiteY117" fmla="*/ 4077840 h 4077840"/>
                <a:gd name="connsiteX118" fmla="*/ 2051924 w 12084394"/>
                <a:gd name="connsiteY118" fmla="*/ 4057748 h 4077840"/>
                <a:gd name="connsiteX119" fmla="*/ 2202307 w 12084394"/>
                <a:gd name="connsiteY119" fmla="*/ 3958074 h 4077840"/>
                <a:gd name="connsiteX120" fmla="*/ 1690413 w 12084394"/>
                <a:gd name="connsiteY120" fmla="*/ 3958074 h 4077840"/>
                <a:gd name="connsiteX121" fmla="*/ 1840785 w 12084394"/>
                <a:gd name="connsiteY121" fmla="*/ 4057748 h 4077840"/>
                <a:gd name="connsiteX122" fmla="*/ 1844841 w 12084394"/>
                <a:gd name="connsiteY122" fmla="*/ 4077840 h 4077840"/>
                <a:gd name="connsiteX123" fmla="*/ 1535987 w 12084394"/>
                <a:gd name="connsiteY123" fmla="*/ 4077840 h 4077840"/>
                <a:gd name="connsiteX124" fmla="*/ 1540043 w 12084394"/>
                <a:gd name="connsiteY124" fmla="*/ 4057748 h 4077840"/>
                <a:gd name="connsiteX125" fmla="*/ 1690413 w 12084394"/>
                <a:gd name="connsiteY125" fmla="*/ 3958074 h 4077840"/>
                <a:gd name="connsiteX126" fmla="*/ 1178354 w 12084394"/>
                <a:gd name="connsiteY126" fmla="*/ 3958074 h 4077840"/>
                <a:gd name="connsiteX127" fmla="*/ 1328724 w 12084394"/>
                <a:gd name="connsiteY127" fmla="*/ 4057748 h 4077840"/>
                <a:gd name="connsiteX128" fmla="*/ 1332781 w 12084394"/>
                <a:gd name="connsiteY128" fmla="*/ 4077840 h 4077840"/>
                <a:gd name="connsiteX129" fmla="*/ 1023928 w 12084394"/>
                <a:gd name="connsiteY129" fmla="*/ 4077840 h 4077840"/>
                <a:gd name="connsiteX130" fmla="*/ 1027984 w 12084394"/>
                <a:gd name="connsiteY130" fmla="*/ 4057748 h 4077840"/>
                <a:gd name="connsiteX131" fmla="*/ 1178354 w 12084394"/>
                <a:gd name="connsiteY131" fmla="*/ 3958074 h 4077840"/>
                <a:gd name="connsiteX132" fmla="*/ 666484 w 12084394"/>
                <a:gd name="connsiteY132" fmla="*/ 3958074 h 4077840"/>
                <a:gd name="connsiteX133" fmla="*/ 816855 w 12084394"/>
                <a:gd name="connsiteY133" fmla="*/ 4057748 h 4077840"/>
                <a:gd name="connsiteX134" fmla="*/ 820911 w 12084394"/>
                <a:gd name="connsiteY134" fmla="*/ 4077840 h 4077840"/>
                <a:gd name="connsiteX135" fmla="*/ 512057 w 12084394"/>
                <a:gd name="connsiteY135" fmla="*/ 4077840 h 4077840"/>
                <a:gd name="connsiteX136" fmla="*/ 516114 w 12084394"/>
                <a:gd name="connsiteY136" fmla="*/ 4057748 h 4077840"/>
                <a:gd name="connsiteX137" fmla="*/ 666484 w 12084394"/>
                <a:gd name="connsiteY137" fmla="*/ 3958074 h 4077840"/>
                <a:gd name="connsiteX138" fmla="*/ 154426 w 12084394"/>
                <a:gd name="connsiteY138" fmla="*/ 3958074 h 4077840"/>
                <a:gd name="connsiteX139" fmla="*/ 304797 w 12084394"/>
                <a:gd name="connsiteY139" fmla="*/ 4057748 h 4077840"/>
                <a:gd name="connsiteX140" fmla="*/ 308853 w 12084394"/>
                <a:gd name="connsiteY140" fmla="*/ 4077840 h 4077840"/>
                <a:gd name="connsiteX141" fmla="*/ 0 w 12084394"/>
                <a:gd name="connsiteY141" fmla="*/ 4077840 h 4077840"/>
                <a:gd name="connsiteX142" fmla="*/ 4057 w 12084394"/>
                <a:gd name="connsiteY142" fmla="*/ 4057748 h 4077840"/>
                <a:gd name="connsiteX143" fmla="*/ 154426 w 12084394"/>
                <a:gd name="connsiteY143" fmla="*/ 3958074 h 4077840"/>
                <a:gd name="connsiteX144" fmla="*/ 11929966 w 12084394"/>
                <a:gd name="connsiteY144" fmla="*/ 3518352 h 4077840"/>
                <a:gd name="connsiteX145" fmla="*/ 12078996 w 12084394"/>
                <a:gd name="connsiteY145" fmla="*/ 3667382 h 4077840"/>
                <a:gd name="connsiteX146" fmla="*/ 11929966 w 12084394"/>
                <a:gd name="connsiteY146" fmla="*/ 3816412 h 4077840"/>
                <a:gd name="connsiteX147" fmla="*/ 11780936 w 12084394"/>
                <a:gd name="connsiteY147" fmla="*/ 3667382 h 4077840"/>
                <a:gd name="connsiteX148" fmla="*/ 11929966 w 12084394"/>
                <a:gd name="connsiteY148" fmla="*/ 3518352 h 4077840"/>
                <a:gd name="connsiteX149" fmla="*/ 11417900 w 12084394"/>
                <a:gd name="connsiteY149" fmla="*/ 3518352 h 4077840"/>
                <a:gd name="connsiteX150" fmla="*/ 11566930 w 12084394"/>
                <a:gd name="connsiteY150" fmla="*/ 3667382 h 4077840"/>
                <a:gd name="connsiteX151" fmla="*/ 11417900 w 12084394"/>
                <a:gd name="connsiteY151" fmla="*/ 3816412 h 4077840"/>
                <a:gd name="connsiteX152" fmla="*/ 11268870 w 12084394"/>
                <a:gd name="connsiteY152" fmla="*/ 3667382 h 4077840"/>
                <a:gd name="connsiteX153" fmla="*/ 11417900 w 12084394"/>
                <a:gd name="connsiteY153" fmla="*/ 3518352 h 4077840"/>
                <a:gd name="connsiteX154" fmla="*/ 10906022 w 12084394"/>
                <a:gd name="connsiteY154" fmla="*/ 3518352 h 4077840"/>
                <a:gd name="connsiteX155" fmla="*/ 11055053 w 12084394"/>
                <a:gd name="connsiteY155" fmla="*/ 3667382 h 4077840"/>
                <a:gd name="connsiteX156" fmla="*/ 10906022 w 12084394"/>
                <a:gd name="connsiteY156" fmla="*/ 3816412 h 4077840"/>
                <a:gd name="connsiteX157" fmla="*/ 10756992 w 12084394"/>
                <a:gd name="connsiteY157" fmla="*/ 3667382 h 4077840"/>
                <a:gd name="connsiteX158" fmla="*/ 10906022 w 12084394"/>
                <a:gd name="connsiteY158" fmla="*/ 3518352 h 4077840"/>
                <a:gd name="connsiteX159" fmla="*/ 10393957 w 12084394"/>
                <a:gd name="connsiteY159" fmla="*/ 3518352 h 4077840"/>
                <a:gd name="connsiteX160" fmla="*/ 10542987 w 12084394"/>
                <a:gd name="connsiteY160" fmla="*/ 3667382 h 4077840"/>
                <a:gd name="connsiteX161" fmla="*/ 10393957 w 12084394"/>
                <a:gd name="connsiteY161" fmla="*/ 3816412 h 4077840"/>
                <a:gd name="connsiteX162" fmla="*/ 10244926 w 12084394"/>
                <a:gd name="connsiteY162" fmla="*/ 3667382 h 4077840"/>
                <a:gd name="connsiteX163" fmla="*/ 10393957 w 12084394"/>
                <a:gd name="connsiteY163" fmla="*/ 3518352 h 4077840"/>
                <a:gd name="connsiteX164" fmla="*/ 9882080 w 12084394"/>
                <a:gd name="connsiteY164" fmla="*/ 3518352 h 4077840"/>
                <a:gd name="connsiteX165" fmla="*/ 10031110 w 12084394"/>
                <a:gd name="connsiteY165" fmla="*/ 3667382 h 4077840"/>
                <a:gd name="connsiteX166" fmla="*/ 9882080 w 12084394"/>
                <a:gd name="connsiteY166" fmla="*/ 3816412 h 4077840"/>
                <a:gd name="connsiteX167" fmla="*/ 9733050 w 12084394"/>
                <a:gd name="connsiteY167" fmla="*/ 3667382 h 4077840"/>
                <a:gd name="connsiteX168" fmla="*/ 9882080 w 12084394"/>
                <a:gd name="connsiteY168" fmla="*/ 3518352 h 4077840"/>
                <a:gd name="connsiteX169" fmla="*/ 9370013 w 12084394"/>
                <a:gd name="connsiteY169" fmla="*/ 3518352 h 4077840"/>
                <a:gd name="connsiteX170" fmla="*/ 9519043 w 12084394"/>
                <a:gd name="connsiteY170" fmla="*/ 3667382 h 4077840"/>
                <a:gd name="connsiteX171" fmla="*/ 9370013 w 12084394"/>
                <a:gd name="connsiteY171" fmla="*/ 3816412 h 4077840"/>
                <a:gd name="connsiteX172" fmla="*/ 9220983 w 12084394"/>
                <a:gd name="connsiteY172" fmla="*/ 3667382 h 4077840"/>
                <a:gd name="connsiteX173" fmla="*/ 9370013 w 12084394"/>
                <a:gd name="connsiteY173" fmla="*/ 3518352 h 4077840"/>
                <a:gd name="connsiteX174" fmla="*/ 8858137 w 12084394"/>
                <a:gd name="connsiteY174" fmla="*/ 3518352 h 4077840"/>
                <a:gd name="connsiteX175" fmla="*/ 9007167 w 12084394"/>
                <a:gd name="connsiteY175" fmla="*/ 3667382 h 4077840"/>
                <a:gd name="connsiteX176" fmla="*/ 8858137 w 12084394"/>
                <a:gd name="connsiteY176" fmla="*/ 3816412 h 4077840"/>
                <a:gd name="connsiteX177" fmla="*/ 8709107 w 12084394"/>
                <a:gd name="connsiteY177" fmla="*/ 3667382 h 4077840"/>
                <a:gd name="connsiteX178" fmla="*/ 8858137 w 12084394"/>
                <a:gd name="connsiteY178" fmla="*/ 3518352 h 4077840"/>
                <a:gd name="connsiteX179" fmla="*/ 8346070 w 12084394"/>
                <a:gd name="connsiteY179" fmla="*/ 3518352 h 4077840"/>
                <a:gd name="connsiteX180" fmla="*/ 8495101 w 12084394"/>
                <a:gd name="connsiteY180" fmla="*/ 3667382 h 4077840"/>
                <a:gd name="connsiteX181" fmla="*/ 8346070 w 12084394"/>
                <a:gd name="connsiteY181" fmla="*/ 3816412 h 4077840"/>
                <a:gd name="connsiteX182" fmla="*/ 8197040 w 12084394"/>
                <a:gd name="connsiteY182" fmla="*/ 3667382 h 4077840"/>
                <a:gd name="connsiteX183" fmla="*/ 8346070 w 12084394"/>
                <a:gd name="connsiteY183" fmla="*/ 3518352 h 4077840"/>
                <a:gd name="connsiteX184" fmla="*/ 7834194 w 12084394"/>
                <a:gd name="connsiteY184" fmla="*/ 3518352 h 4077840"/>
                <a:gd name="connsiteX185" fmla="*/ 7983224 w 12084394"/>
                <a:gd name="connsiteY185" fmla="*/ 3667382 h 4077840"/>
                <a:gd name="connsiteX186" fmla="*/ 7834194 w 12084394"/>
                <a:gd name="connsiteY186" fmla="*/ 3816412 h 4077840"/>
                <a:gd name="connsiteX187" fmla="*/ 7685164 w 12084394"/>
                <a:gd name="connsiteY187" fmla="*/ 3667382 h 4077840"/>
                <a:gd name="connsiteX188" fmla="*/ 7834194 w 12084394"/>
                <a:gd name="connsiteY188" fmla="*/ 3518352 h 4077840"/>
                <a:gd name="connsiteX189" fmla="*/ 7322128 w 12084394"/>
                <a:gd name="connsiteY189" fmla="*/ 3518352 h 4077840"/>
                <a:gd name="connsiteX190" fmla="*/ 7471158 w 12084394"/>
                <a:gd name="connsiteY190" fmla="*/ 3667382 h 4077840"/>
                <a:gd name="connsiteX191" fmla="*/ 7322128 w 12084394"/>
                <a:gd name="connsiteY191" fmla="*/ 3816412 h 4077840"/>
                <a:gd name="connsiteX192" fmla="*/ 7173097 w 12084394"/>
                <a:gd name="connsiteY192" fmla="*/ 3667382 h 4077840"/>
                <a:gd name="connsiteX193" fmla="*/ 7322128 w 12084394"/>
                <a:gd name="connsiteY193" fmla="*/ 3518352 h 4077840"/>
                <a:gd name="connsiteX194" fmla="*/ 6810062 w 12084394"/>
                <a:gd name="connsiteY194" fmla="*/ 3518352 h 4077840"/>
                <a:gd name="connsiteX195" fmla="*/ 6959092 w 12084394"/>
                <a:gd name="connsiteY195" fmla="*/ 3667382 h 4077840"/>
                <a:gd name="connsiteX196" fmla="*/ 6810062 w 12084394"/>
                <a:gd name="connsiteY196" fmla="*/ 3816412 h 4077840"/>
                <a:gd name="connsiteX197" fmla="*/ 6661032 w 12084394"/>
                <a:gd name="connsiteY197" fmla="*/ 3667382 h 4077840"/>
                <a:gd name="connsiteX198" fmla="*/ 6810062 w 12084394"/>
                <a:gd name="connsiteY198" fmla="*/ 3518352 h 4077840"/>
                <a:gd name="connsiteX199" fmla="*/ 6298186 w 12084394"/>
                <a:gd name="connsiteY199" fmla="*/ 3518352 h 4077840"/>
                <a:gd name="connsiteX200" fmla="*/ 6447215 w 12084394"/>
                <a:gd name="connsiteY200" fmla="*/ 3667382 h 4077840"/>
                <a:gd name="connsiteX201" fmla="*/ 6298186 w 12084394"/>
                <a:gd name="connsiteY201" fmla="*/ 3816412 h 4077840"/>
                <a:gd name="connsiteX202" fmla="*/ 6149155 w 12084394"/>
                <a:gd name="connsiteY202" fmla="*/ 3667382 h 4077840"/>
                <a:gd name="connsiteX203" fmla="*/ 6298186 w 12084394"/>
                <a:gd name="connsiteY203" fmla="*/ 3518352 h 4077840"/>
                <a:gd name="connsiteX204" fmla="*/ 5786126 w 12084394"/>
                <a:gd name="connsiteY204" fmla="*/ 3518352 h 4077840"/>
                <a:gd name="connsiteX205" fmla="*/ 5935149 w 12084394"/>
                <a:gd name="connsiteY205" fmla="*/ 3667382 h 4077840"/>
                <a:gd name="connsiteX206" fmla="*/ 5786126 w 12084394"/>
                <a:gd name="connsiteY206" fmla="*/ 3816412 h 4077840"/>
                <a:gd name="connsiteX207" fmla="*/ 5637102 w 12084394"/>
                <a:gd name="connsiteY207" fmla="*/ 3667382 h 4077840"/>
                <a:gd name="connsiteX208" fmla="*/ 5786126 w 12084394"/>
                <a:gd name="connsiteY208" fmla="*/ 3518352 h 4077840"/>
                <a:gd name="connsiteX209" fmla="*/ 5274270 w 12084394"/>
                <a:gd name="connsiteY209" fmla="*/ 3518352 h 4077840"/>
                <a:gd name="connsiteX210" fmla="*/ 5423296 w 12084394"/>
                <a:gd name="connsiteY210" fmla="*/ 3667382 h 4077840"/>
                <a:gd name="connsiteX211" fmla="*/ 5274270 w 12084394"/>
                <a:gd name="connsiteY211" fmla="*/ 3816412 h 4077840"/>
                <a:gd name="connsiteX212" fmla="*/ 5125232 w 12084394"/>
                <a:gd name="connsiteY212" fmla="*/ 3667382 h 4077840"/>
                <a:gd name="connsiteX213" fmla="*/ 5274270 w 12084394"/>
                <a:gd name="connsiteY213" fmla="*/ 3518352 h 4077840"/>
                <a:gd name="connsiteX214" fmla="*/ 4762180 w 12084394"/>
                <a:gd name="connsiteY214" fmla="*/ 3518352 h 4077840"/>
                <a:gd name="connsiteX215" fmla="*/ 4911249 w 12084394"/>
                <a:gd name="connsiteY215" fmla="*/ 3667382 h 4077840"/>
                <a:gd name="connsiteX216" fmla="*/ 4762180 w 12084394"/>
                <a:gd name="connsiteY216" fmla="*/ 3816412 h 4077840"/>
                <a:gd name="connsiteX217" fmla="*/ 4613169 w 12084394"/>
                <a:gd name="connsiteY217" fmla="*/ 3667382 h 4077840"/>
                <a:gd name="connsiteX218" fmla="*/ 4762180 w 12084394"/>
                <a:gd name="connsiteY218" fmla="*/ 3518352 h 4077840"/>
                <a:gd name="connsiteX219" fmla="*/ 4250316 w 12084394"/>
                <a:gd name="connsiteY219" fmla="*/ 3518352 h 4077840"/>
                <a:gd name="connsiteX220" fmla="*/ 4399355 w 12084394"/>
                <a:gd name="connsiteY220" fmla="*/ 3667382 h 4077840"/>
                <a:gd name="connsiteX221" fmla="*/ 4250316 w 12084394"/>
                <a:gd name="connsiteY221" fmla="*/ 3816412 h 4077840"/>
                <a:gd name="connsiteX222" fmla="*/ 4101334 w 12084394"/>
                <a:gd name="connsiteY222" fmla="*/ 3667382 h 4077840"/>
                <a:gd name="connsiteX223" fmla="*/ 4250316 w 12084394"/>
                <a:gd name="connsiteY223" fmla="*/ 3518352 h 4077840"/>
                <a:gd name="connsiteX224" fmla="*/ 3738289 w 12084394"/>
                <a:gd name="connsiteY224" fmla="*/ 3518352 h 4077840"/>
                <a:gd name="connsiteX225" fmla="*/ 3887320 w 12084394"/>
                <a:gd name="connsiteY225" fmla="*/ 3667382 h 4077840"/>
                <a:gd name="connsiteX226" fmla="*/ 3738289 w 12084394"/>
                <a:gd name="connsiteY226" fmla="*/ 3816412 h 4077840"/>
                <a:gd name="connsiteX227" fmla="*/ 3589256 w 12084394"/>
                <a:gd name="connsiteY227" fmla="*/ 3667382 h 4077840"/>
                <a:gd name="connsiteX228" fmla="*/ 3738289 w 12084394"/>
                <a:gd name="connsiteY228" fmla="*/ 3518352 h 4077840"/>
                <a:gd name="connsiteX229" fmla="*/ 3226242 w 12084394"/>
                <a:gd name="connsiteY229" fmla="*/ 3518352 h 4077840"/>
                <a:gd name="connsiteX230" fmla="*/ 3375284 w 12084394"/>
                <a:gd name="connsiteY230" fmla="*/ 3667382 h 4077840"/>
                <a:gd name="connsiteX231" fmla="*/ 3226242 w 12084394"/>
                <a:gd name="connsiteY231" fmla="*/ 3816412 h 4077840"/>
                <a:gd name="connsiteX232" fmla="*/ 3077210 w 12084394"/>
                <a:gd name="connsiteY232" fmla="*/ 3667382 h 4077840"/>
                <a:gd name="connsiteX233" fmla="*/ 3226242 w 12084394"/>
                <a:gd name="connsiteY233" fmla="*/ 3518352 h 4077840"/>
                <a:gd name="connsiteX234" fmla="*/ 2714363 w 12084394"/>
                <a:gd name="connsiteY234" fmla="*/ 3518352 h 4077840"/>
                <a:gd name="connsiteX235" fmla="*/ 2863399 w 12084394"/>
                <a:gd name="connsiteY235" fmla="*/ 3667382 h 4077840"/>
                <a:gd name="connsiteX236" fmla="*/ 2714363 w 12084394"/>
                <a:gd name="connsiteY236" fmla="*/ 3816412 h 4077840"/>
                <a:gd name="connsiteX237" fmla="*/ 2565335 w 12084394"/>
                <a:gd name="connsiteY237" fmla="*/ 3667382 h 4077840"/>
                <a:gd name="connsiteX238" fmla="*/ 2714363 w 12084394"/>
                <a:gd name="connsiteY238" fmla="*/ 3518352 h 4077840"/>
                <a:gd name="connsiteX239" fmla="*/ 2202307 w 12084394"/>
                <a:gd name="connsiteY239" fmla="*/ 3518352 h 4077840"/>
                <a:gd name="connsiteX240" fmla="*/ 2351334 w 12084394"/>
                <a:gd name="connsiteY240" fmla="*/ 3667382 h 4077840"/>
                <a:gd name="connsiteX241" fmla="*/ 2202307 w 12084394"/>
                <a:gd name="connsiteY241" fmla="*/ 3816412 h 4077840"/>
                <a:gd name="connsiteX242" fmla="*/ 2053277 w 12084394"/>
                <a:gd name="connsiteY242" fmla="*/ 3667382 h 4077840"/>
                <a:gd name="connsiteX243" fmla="*/ 2202307 w 12084394"/>
                <a:gd name="connsiteY243" fmla="*/ 3518352 h 4077840"/>
                <a:gd name="connsiteX244" fmla="*/ 1690413 w 12084394"/>
                <a:gd name="connsiteY244" fmla="*/ 3518352 h 4077840"/>
                <a:gd name="connsiteX245" fmla="*/ 1839443 w 12084394"/>
                <a:gd name="connsiteY245" fmla="*/ 3667382 h 4077840"/>
                <a:gd name="connsiteX246" fmla="*/ 1690413 w 12084394"/>
                <a:gd name="connsiteY246" fmla="*/ 3816412 h 4077840"/>
                <a:gd name="connsiteX247" fmla="*/ 1541384 w 12084394"/>
                <a:gd name="connsiteY247" fmla="*/ 3667382 h 4077840"/>
                <a:gd name="connsiteX248" fmla="*/ 1690413 w 12084394"/>
                <a:gd name="connsiteY248" fmla="*/ 3518352 h 4077840"/>
                <a:gd name="connsiteX249" fmla="*/ 1178354 w 12084394"/>
                <a:gd name="connsiteY249" fmla="*/ 3518352 h 4077840"/>
                <a:gd name="connsiteX250" fmla="*/ 1327383 w 12084394"/>
                <a:gd name="connsiteY250" fmla="*/ 3667382 h 4077840"/>
                <a:gd name="connsiteX251" fmla="*/ 1178354 w 12084394"/>
                <a:gd name="connsiteY251" fmla="*/ 3816412 h 4077840"/>
                <a:gd name="connsiteX252" fmla="*/ 1029325 w 12084394"/>
                <a:gd name="connsiteY252" fmla="*/ 3667382 h 4077840"/>
                <a:gd name="connsiteX253" fmla="*/ 1178354 w 12084394"/>
                <a:gd name="connsiteY253" fmla="*/ 3518352 h 4077840"/>
                <a:gd name="connsiteX254" fmla="*/ 666484 w 12084394"/>
                <a:gd name="connsiteY254" fmla="*/ 3518352 h 4077840"/>
                <a:gd name="connsiteX255" fmla="*/ 815513 w 12084394"/>
                <a:gd name="connsiteY255" fmla="*/ 3667382 h 4077840"/>
                <a:gd name="connsiteX256" fmla="*/ 666484 w 12084394"/>
                <a:gd name="connsiteY256" fmla="*/ 3816412 h 4077840"/>
                <a:gd name="connsiteX257" fmla="*/ 517455 w 12084394"/>
                <a:gd name="connsiteY257" fmla="*/ 3667382 h 4077840"/>
                <a:gd name="connsiteX258" fmla="*/ 666484 w 12084394"/>
                <a:gd name="connsiteY258" fmla="*/ 3518352 h 4077840"/>
                <a:gd name="connsiteX259" fmla="*/ 154426 w 12084394"/>
                <a:gd name="connsiteY259" fmla="*/ 3518352 h 4077840"/>
                <a:gd name="connsiteX260" fmla="*/ 303455 w 12084394"/>
                <a:gd name="connsiteY260" fmla="*/ 3667382 h 4077840"/>
                <a:gd name="connsiteX261" fmla="*/ 154426 w 12084394"/>
                <a:gd name="connsiteY261" fmla="*/ 3816412 h 4077840"/>
                <a:gd name="connsiteX262" fmla="*/ 5397 w 12084394"/>
                <a:gd name="connsiteY262" fmla="*/ 3667382 h 4077840"/>
                <a:gd name="connsiteX263" fmla="*/ 154426 w 12084394"/>
                <a:gd name="connsiteY263" fmla="*/ 3518352 h 4077840"/>
                <a:gd name="connsiteX264" fmla="*/ 11929966 w 12084394"/>
                <a:gd name="connsiteY264" fmla="*/ 3078629 h 4077840"/>
                <a:gd name="connsiteX265" fmla="*/ 12064640 w 12084394"/>
                <a:gd name="connsiteY265" fmla="*/ 3213304 h 4077840"/>
                <a:gd name="connsiteX266" fmla="*/ 11929966 w 12084394"/>
                <a:gd name="connsiteY266" fmla="*/ 3347979 h 4077840"/>
                <a:gd name="connsiteX267" fmla="*/ 11795291 w 12084394"/>
                <a:gd name="connsiteY267" fmla="*/ 3213304 h 4077840"/>
                <a:gd name="connsiteX268" fmla="*/ 11929966 w 12084394"/>
                <a:gd name="connsiteY268" fmla="*/ 3078629 h 4077840"/>
                <a:gd name="connsiteX269" fmla="*/ 11417900 w 12084394"/>
                <a:gd name="connsiteY269" fmla="*/ 3078629 h 4077840"/>
                <a:gd name="connsiteX270" fmla="*/ 11552575 w 12084394"/>
                <a:gd name="connsiteY270" fmla="*/ 3213304 h 4077840"/>
                <a:gd name="connsiteX271" fmla="*/ 11417900 w 12084394"/>
                <a:gd name="connsiteY271" fmla="*/ 3347979 h 4077840"/>
                <a:gd name="connsiteX272" fmla="*/ 11283225 w 12084394"/>
                <a:gd name="connsiteY272" fmla="*/ 3213304 h 4077840"/>
                <a:gd name="connsiteX273" fmla="*/ 11417900 w 12084394"/>
                <a:gd name="connsiteY273" fmla="*/ 3078629 h 4077840"/>
                <a:gd name="connsiteX274" fmla="*/ 10906022 w 12084394"/>
                <a:gd name="connsiteY274" fmla="*/ 3078629 h 4077840"/>
                <a:gd name="connsiteX275" fmla="*/ 11040697 w 12084394"/>
                <a:gd name="connsiteY275" fmla="*/ 3213304 h 4077840"/>
                <a:gd name="connsiteX276" fmla="*/ 10906022 w 12084394"/>
                <a:gd name="connsiteY276" fmla="*/ 3347979 h 4077840"/>
                <a:gd name="connsiteX277" fmla="*/ 10771347 w 12084394"/>
                <a:gd name="connsiteY277" fmla="*/ 3213304 h 4077840"/>
                <a:gd name="connsiteX278" fmla="*/ 10906022 w 12084394"/>
                <a:gd name="connsiteY278" fmla="*/ 3078629 h 4077840"/>
                <a:gd name="connsiteX279" fmla="*/ 10393956 w 12084394"/>
                <a:gd name="connsiteY279" fmla="*/ 3078629 h 4077840"/>
                <a:gd name="connsiteX280" fmla="*/ 10528631 w 12084394"/>
                <a:gd name="connsiteY280" fmla="*/ 3213304 h 4077840"/>
                <a:gd name="connsiteX281" fmla="*/ 10393956 w 12084394"/>
                <a:gd name="connsiteY281" fmla="*/ 3347979 h 4077840"/>
                <a:gd name="connsiteX282" fmla="*/ 10259282 w 12084394"/>
                <a:gd name="connsiteY282" fmla="*/ 3213304 h 4077840"/>
                <a:gd name="connsiteX283" fmla="*/ 10393956 w 12084394"/>
                <a:gd name="connsiteY283" fmla="*/ 3078629 h 4077840"/>
                <a:gd name="connsiteX284" fmla="*/ 9882080 w 12084394"/>
                <a:gd name="connsiteY284" fmla="*/ 3078629 h 4077840"/>
                <a:gd name="connsiteX285" fmla="*/ 10016755 w 12084394"/>
                <a:gd name="connsiteY285" fmla="*/ 3213304 h 4077840"/>
                <a:gd name="connsiteX286" fmla="*/ 9882080 w 12084394"/>
                <a:gd name="connsiteY286" fmla="*/ 3347979 h 4077840"/>
                <a:gd name="connsiteX287" fmla="*/ 9747405 w 12084394"/>
                <a:gd name="connsiteY287" fmla="*/ 3213304 h 4077840"/>
                <a:gd name="connsiteX288" fmla="*/ 9882080 w 12084394"/>
                <a:gd name="connsiteY288" fmla="*/ 3078629 h 4077840"/>
                <a:gd name="connsiteX289" fmla="*/ 9370014 w 12084394"/>
                <a:gd name="connsiteY289" fmla="*/ 3078629 h 4077840"/>
                <a:gd name="connsiteX290" fmla="*/ 9504688 w 12084394"/>
                <a:gd name="connsiteY290" fmla="*/ 3213304 h 4077840"/>
                <a:gd name="connsiteX291" fmla="*/ 9370014 w 12084394"/>
                <a:gd name="connsiteY291" fmla="*/ 3347979 h 4077840"/>
                <a:gd name="connsiteX292" fmla="*/ 9235339 w 12084394"/>
                <a:gd name="connsiteY292" fmla="*/ 3213304 h 4077840"/>
                <a:gd name="connsiteX293" fmla="*/ 9370014 w 12084394"/>
                <a:gd name="connsiteY293" fmla="*/ 3078629 h 4077840"/>
                <a:gd name="connsiteX294" fmla="*/ 8858136 w 12084394"/>
                <a:gd name="connsiteY294" fmla="*/ 3078629 h 4077840"/>
                <a:gd name="connsiteX295" fmla="*/ 8992811 w 12084394"/>
                <a:gd name="connsiteY295" fmla="*/ 3213304 h 4077840"/>
                <a:gd name="connsiteX296" fmla="*/ 8858136 w 12084394"/>
                <a:gd name="connsiteY296" fmla="*/ 3347979 h 4077840"/>
                <a:gd name="connsiteX297" fmla="*/ 8723462 w 12084394"/>
                <a:gd name="connsiteY297" fmla="*/ 3213304 h 4077840"/>
                <a:gd name="connsiteX298" fmla="*/ 8858136 w 12084394"/>
                <a:gd name="connsiteY298" fmla="*/ 3078629 h 4077840"/>
                <a:gd name="connsiteX299" fmla="*/ 8346071 w 12084394"/>
                <a:gd name="connsiteY299" fmla="*/ 3078629 h 4077840"/>
                <a:gd name="connsiteX300" fmla="*/ 8480746 w 12084394"/>
                <a:gd name="connsiteY300" fmla="*/ 3213304 h 4077840"/>
                <a:gd name="connsiteX301" fmla="*/ 8346071 w 12084394"/>
                <a:gd name="connsiteY301" fmla="*/ 3347979 h 4077840"/>
                <a:gd name="connsiteX302" fmla="*/ 8211396 w 12084394"/>
                <a:gd name="connsiteY302" fmla="*/ 3213304 h 4077840"/>
                <a:gd name="connsiteX303" fmla="*/ 8346071 w 12084394"/>
                <a:gd name="connsiteY303" fmla="*/ 3078629 h 4077840"/>
                <a:gd name="connsiteX304" fmla="*/ 7834194 w 12084394"/>
                <a:gd name="connsiteY304" fmla="*/ 3078629 h 4077840"/>
                <a:gd name="connsiteX305" fmla="*/ 7968868 w 12084394"/>
                <a:gd name="connsiteY305" fmla="*/ 3213304 h 4077840"/>
                <a:gd name="connsiteX306" fmla="*/ 7834194 w 12084394"/>
                <a:gd name="connsiteY306" fmla="*/ 3347979 h 4077840"/>
                <a:gd name="connsiteX307" fmla="*/ 7699519 w 12084394"/>
                <a:gd name="connsiteY307" fmla="*/ 3213304 h 4077840"/>
                <a:gd name="connsiteX308" fmla="*/ 7834194 w 12084394"/>
                <a:gd name="connsiteY308" fmla="*/ 3078629 h 4077840"/>
                <a:gd name="connsiteX309" fmla="*/ 7322127 w 12084394"/>
                <a:gd name="connsiteY309" fmla="*/ 3078629 h 4077840"/>
                <a:gd name="connsiteX310" fmla="*/ 7456802 w 12084394"/>
                <a:gd name="connsiteY310" fmla="*/ 3213304 h 4077840"/>
                <a:gd name="connsiteX311" fmla="*/ 7322127 w 12084394"/>
                <a:gd name="connsiteY311" fmla="*/ 3347979 h 4077840"/>
                <a:gd name="connsiteX312" fmla="*/ 7187453 w 12084394"/>
                <a:gd name="connsiteY312" fmla="*/ 3213304 h 4077840"/>
                <a:gd name="connsiteX313" fmla="*/ 7322127 w 12084394"/>
                <a:gd name="connsiteY313" fmla="*/ 3078629 h 4077840"/>
                <a:gd name="connsiteX314" fmla="*/ 6810062 w 12084394"/>
                <a:gd name="connsiteY314" fmla="*/ 3078629 h 4077840"/>
                <a:gd name="connsiteX315" fmla="*/ 6944736 w 12084394"/>
                <a:gd name="connsiteY315" fmla="*/ 3213304 h 4077840"/>
                <a:gd name="connsiteX316" fmla="*/ 6810062 w 12084394"/>
                <a:gd name="connsiteY316" fmla="*/ 3347979 h 4077840"/>
                <a:gd name="connsiteX317" fmla="*/ 6675387 w 12084394"/>
                <a:gd name="connsiteY317" fmla="*/ 3213304 h 4077840"/>
                <a:gd name="connsiteX318" fmla="*/ 6810062 w 12084394"/>
                <a:gd name="connsiteY318" fmla="*/ 3078629 h 4077840"/>
                <a:gd name="connsiteX319" fmla="*/ 6298186 w 12084394"/>
                <a:gd name="connsiteY319" fmla="*/ 3078629 h 4077840"/>
                <a:gd name="connsiteX320" fmla="*/ 6432860 w 12084394"/>
                <a:gd name="connsiteY320" fmla="*/ 3213304 h 4077840"/>
                <a:gd name="connsiteX321" fmla="*/ 6298186 w 12084394"/>
                <a:gd name="connsiteY321" fmla="*/ 3347979 h 4077840"/>
                <a:gd name="connsiteX322" fmla="*/ 6163510 w 12084394"/>
                <a:gd name="connsiteY322" fmla="*/ 3213304 h 4077840"/>
                <a:gd name="connsiteX323" fmla="*/ 6298186 w 12084394"/>
                <a:gd name="connsiteY323" fmla="*/ 3078629 h 4077840"/>
                <a:gd name="connsiteX324" fmla="*/ 5786126 w 12084394"/>
                <a:gd name="connsiteY324" fmla="*/ 3078629 h 4077840"/>
                <a:gd name="connsiteX325" fmla="*/ 5920794 w 12084394"/>
                <a:gd name="connsiteY325" fmla="*/ 3213304 h 4077840"/>
                <a:gd name="connsiteX326" fmla="*/ 5786126 w 12084394"/>
                <a:gd name="connsiteY326" fmla="*/ 3347979 h 4077840"/>
                <a:gd name="connsiteX327" fmla="*/ 5651456 w 12084394"/>
                <a:gd name="connsiteY327" fmla="*/ 3213304 h 4077840"/>
                <a:gd name="connsiteX328" fmla="*/ 5786126 w 12084394"/>
                <a:gd name="connsiteY328" fmla="*/ 3078629 h 4077840"/>
                <a:gd name="connsiteX329" fmla="*/ 5274270 w 12084394"/>
                <a:gd name="connsiteY329" fmla="*/ 3078629 h 4077840"/>
                <a:gd name="connsiteX330" fmla="*/ 5408941 w 12084394"/>
                <a:gd name="connsiteY330" fmla="*/ 3213304 h 4077840"/>
                <a:gd name="connsiteX331" fmla="*/ 5274270 w 12084394"/>
                <a:gd name="connsiteY331" fmla="*/ 3347979 h 4077840"/>
                <a:gd name="connsiteX332" fmla="*/ 5139595 w 12084394"/>
                <a:gd name="connsiteY332" fmla="*/ 3213304 h 4077840"/>
                <a:gd name="connsiteX333" fmla="*/ 5274270 w 12084394"/>
                <a:gd name="connsiteY333" fmla="*/ 3078629 h 4077840"/>
                <a:gd name="connsiteX334" fmla="*/ 4762180 w 12084394"/>
                <a:gd name="connsiteY334" fmla="*/ 3078629 h 4077840"/>
                <a:gd name="connsiteX335" fmla="*/ 4896897 w 12084394"/>
                <a:gd name="connsiteY335" fmla="*/ 3213304 h 4077840"/>
                <a:gd name="connsiteX336" fmla="*/ 4762180 w 12084394"/>
                <a:gd name="connsiteY336" fmla="*/ 3347979 h 4077840"/>
                <a:gd name="connsiteX337" fmla="*/ 4627526 w 12084394"/>
                <a:gd name="connsiteY337" fmla="*/ 3213304 h 4077840"/>
                <a:gd name="connsiteX338" fmla="*/ 4762180 w 12084394"/>
                <a:gd name="connsiteY338" fmla="*/ 3078629 h 4077840"/>
                <a:gd name="connsiteX339" fmla="*/ 4250316 w 12084394"/>
                <a:gd name="connsiteY339" fmla="*/ 3078629 h 4077840"/>
                <a:gd name="connsiteX340" fmla="*/ 4385000 w 12084394"/>
                <a:gd name="connsiteY340" fmla="*/ 3213304 h 4077840"/>
                <a:gd name="connsiteX341" fmla="*/ 4250316 w 12084394"/>
                <a:gd name="connsiteY341" fmla="*/ 3347979 h 4077840"/>
                <a:gd name="connsiteX342" fmla="*/ 4115689 w 12084394"/>
                <a:gd name="connsiteY342" fmla="*/ 3213304 h 4077840"/>
                <a:gd name="connsiteX343" fmla="*/ 4250316 w 12084394"/>
                <a:gd name="connsiteY343" fmla="*/ 3078629 h 4077840"/>
                <a:gd name="connsiteX344" fmla="*/ 3738289 w 12084394"/>
                <a:gd name="connsiteY344" fmla="*/ 3078629 h 4077840"/>
                <a:gd name="connsiteX345" fmla="*/ 3872963 w 12084394"/>
                <a:gd name="connsiteY345" fmla="*/ 3213304 h 4077840"/>
                <a:gd name="connsiteX346" fmla="*/ 3738289 w 12084394"/>
                <a:gd name="connsiteY346" fmla="*/ 3347979 h 4077840"/>
                <a:gd name="connsiteX347" fmla="*/ 3603609 w 12084394"/>
                <a:gd name="connsiteY347" fmla="*/ 3213304 h 4077840"/>
                <a:gd name="connsiteX348" fmla="*/ 3738289 w 12084394"/>
                <a:gd name="connsiteY348" fmla="*/ 3078629 h 4077840"/>
                <a:gd name="connsiteX349" fmla="*/ 3226242 w 12084394"/>
                <a:gd name="connsiteY349" fmla="*/ 3078629 h 4077840"/>
                <a:gd name="connsiteX350" fmla="*/ 3360931 w 12084394"/>
                <a:gd name="connsiteY350" fmla="*/ 3213304 h 4077840"/>
                <a:gd name="connsiteX351" fmla="*/ 3226242 w 12084394"/>
                <a:gd name="connsiteY351" fmla="*/ 3347979 h 4077840"/>
                <a:gd name="connsiteX352" fmla="*/ 3091565 w 12084394"/>
                <a:gd name="connsiteY352" fmla="*/ 3213304 h 4077840"/>
                <a:gd name="connsiteX353" fmla="*/ 3226242 w 12084394"/>
                <a:gd name="connsiteY353" fmla="*/ 3078629 h 4077840"/>
                <a:gd name="connsiteX354" fmla="*/ 2714363 w 12084394"/>
                <a:gd name="connsiteY354" fmla="*/ 3078629 h 4077840"/>
                <a:gd name="connsiteX355" fmla="*/ 2849039 w 12084394"/>
                <a:gd name="connsiteY355" fmla="*/ 3213304 h 4077840"/>
                <a:gd name="connsiteX356" fmla="*/ 2714363 w 12084394"/>
                <a:gd name="connsiteY356" fmla="*/ 3347979 h 4077840"/>
                <a:gd name="connsiteX357" fmla="*/ 2579687 w 12084394"/>
                <a:gd name="connsiteY357" fmla="*/ 3213304 h 4077840"/>
                <a:gd name="connsiteX358" fmla="*/ 2714363 w 12084394"/>
                <a:gd name="connsiteY358" fmla="*/ 3078629 h 4077840"/>
                <a:gd name="connsiteX359" fmla="*/ 2202306 w 12084394"/>
                <a:gd name="connsiteY359" fmla="*/ 3078629 h 4077840"/>
                <a:gd name="connsiteX360" fmla="*/ 2336978 w 12084394"/>
                <a:gd name="connsiteY360" fmla="*/ 3213304 h 4077840"/>
                <a:gd name="connsiteX361" fmla="*/ 2202306 w 12084394"/>
                <a:gd name="connsiteY361" fmla="*/ 3347979 h 4077840"/>
                <a:gd name="connsiteX362" fmla="*/ 2067631 w 12084394"/>
                <a:gd name="connsiteY362" fmla="*/ 3213304 h 4077840"/>
                <a:gd name="connsiteX363" fmla="*/ 2202306 w 12084394"/>
                <a:gd name="connsiteY363" fmla="*/ 3078629 h 4077840"/>
                <a:gd name="connsiteX364" fmla="*/ 1690413 w 12084394"/>
                <a:gd name="connsiteY364" fmla="*/ 3078629 h 4077840"/>
                <a:gd name="connsiteX365" fmla="*/ 1825086 w 12084394"/>
                <a:gd name="connsiteY365" fmla="*/ 3213304 h 4077840"/>
                <a:gd name="connsiteX366" fmla="*/ 1690413 w 12084394"/>
                <a:gd name="connsiteY366" fmla="*/ 3347979 h 4077840"/>
                <a:gd name="connsiteX367" fmla="*/ 1555739 w 12084394"/>
                <a:gd name="connsiteY367" fmla="*/ 3213304 h 4077840"/>
                <a:gd name="connsiteX368" fmla="*/ 1690413 w 12084394"/>
                <a:gd name="connsiteY368" fmla="*/ 3078629 h 4077840"/>
                <a:gd name="connsiteX369" fmla="*/ 1178354 w 12084394"/>
                <a:gd name="connsiteY369" fmla="*/ 3078629 h 4077840"/>
                <a:gd name="connsiteX370" fmla="*/ 1313027 w 12084394"/>
                <a:gd name="connsiteY370" fmla="*/ 3213304 h 4077840"/>
                <a:gd name="connsiteX371" fmla="*/ 1178354 w 12084394"/>
                <a:gd name="connsiteY371" fmla="*/ 3347979 h 4077840"/>
                <a:gd name="connsiteX372" fmla="*/ 1043680 w 12084394"/>
                <a:gd name="connsiteY372" fmla="*/ 3213304 h 4077840"/>
                <a:gd name="connsiteX373" fmla="*/ 1178354 w 12084394"/>
                <a:gd name="connsiteY373" fmla="*/ 3078629 h 4077840"/>
                <a:gd name="connsiteX374" fmla="*/ 666484 w 12084394"/>
                <a:gd name="connsiteY374" fmla="*/ 3078629 h 4077840"/>
                <a:gd name="connsiteX375" fmla="*/ 801157 w 12084394"/>
                <a:gd name="connsiteY375" fmla="*/ 3213304 h 4077840"/>
                <a:gd name="connsiteX376" fmla="*/ 666484 w 12084394"/>
                <a:gd name="connsiteY376" fmla="*/ 3347979 h 4077840"/>
                <a:gd name="connsiteX377" fmla="*/ 531810 w 12084394"/>
                <a:gd name="connsiteY377" fmla="*/ 3213304 h 4077840"/>
                <a:gd name="connsiteX378" fmla="*/ 666484 w 12084394"/>
                <a:gd name="connsiteY378" fmla="*/ 3078629 h 4077840"/>
                <a:gd name="connsiteX379" fmla="*/ 154426 w 12084394"/>
                <a:gd name="connsiteY379" fmla="*/ 3078629 h 4077840"/>
                <a:gd name="connsiteX380" fmla="*/ 289099 w 12084394"/>
                <a:gd name="connsiteY380" fmla="*/ 3213304 h 4077840"/>
                <a:gd name="connsiteX381" fmla="*/ 154426 w 12084394"/>
                <a:gd name="connsiteY381" fmla="*/ 3347979 h 4077840"/>
                <a:gd name="connsiteX382" fmla="*/ 19752 w 12084394"/>
                <a:gd name="connsiteY382" fmla="*/ 3213304 h 4077840"/>
                <a:gd name="connsiteX383" fmla="*/ 154426 w 12084394"/>
                <a:gd name="connsiteY383" fmla="*/ 3078629 h 4077840"/>
                <a:gd name="connsiteX384" fmla="*/ 11929965 w 12084394"/>
                <a:gd name="connsiteY384" fmla="*/ 2638717 h 4077840"/>
                <a:gd name="connsiteX385" fmla="*/ 12050474 w 12084394"/>
                <a:gd name="connsiteY385" fmla="*/ 2759225 h 4077840"/>
                <a:gd name="connsiteX386" fmla="*/ 11929965 w 12084394"/>
                <a:gd name="connsiteY386" fmla="*/ 2879734 h 4077840"/>
                <a:gd name="connsiteX387" fmla="*/ 11809457 w 12084394"/>
                <a:gd name="connsiteY387" fmla="*/ 2759225 h 4077840"/>
                <a:gd name="connsiteX388" fmla="*/ 11929965 w 12084394"/>
                <a:gd name="connsiteY388" fmla="*/ 2638717 h 4077840"/>
                <a:gd name="connsiteX389" fmla="*/ 11417900 w 12084394"/>
                <a:gd name="connsiteY389" fmla="*/ 2638717 h 4077840"/>
                <a:gd name="connsiteX390" fmla="*/ 11538408 w 12084394"/>
                <a:gd name="connsiteY390" fmla="*/ 2759225 h 4077840"/>
                <a:gd name="connsiteX391" fmla="*/ 11417900 w 12084394"/>
                <a:gd name="connsiteY391" fmla="*/ 2879734 h 4077840"/>
                <a:gd name="connsiteX392" fmla="*/ 11297391 w 12084394"/>
                <a:gd name="connsiteY392" fmla="*/ 2759225 h 4077840"/>
                <a:gd name="connsiteX393" fmla="*/ 11417900 w 12084394"/>
                <a:gd name="connsiteY393" fmla="*/ 2638717 h 4077840"/>
                <a:gd name="connsiteX394" fmla="*/ 10906022 w 12084394"/>
                <a:gd name="connsiteY394" fmla="*/ 2638717 h 4077840"/>
                <a:gd name="connsiteX395" fmla="*/ 11026530 w 12084394"/>
                <a:gd name="connsiteY395" fmla="*/ 2759225 h 4077840"/>
                <a:gd name="connsiteX396" fmla="*/ 10906022 w 12084394"/>
                <a:gd name="connsiteY396" fmla="*/ 2879734 h 4077840"/>
                <a:gd name="connsiteX397" fmla="*/ 10785513 w 12084394"/>
                <a:gd name="connsiteY397" fmla="*/ 2759225 h 4077840"/>
                <a:gd name="connsiteX398" fmla="*/ 10906022 w 12084394"/>
                <a:gd name="connsiteY398" fmla="*/ 2638717 h 4077840"/>
                <a:gd name="connsiteX399" fmla="*/ 10393956 w 12084394"/>
                <a:gd name="connsiteY399" fmla="*/ 2638717 h 4077840"/>
                <a:gd name="connsiteX400" fmla="*/ 10514465 w 12084394"/>
                <a:gd name="connsiteY400" fmla="*/ 2759225 h 4077840"/>
                <a:gd name="connsiteX401" fmla="*/ 10393956 w 12084394"/>
                <a:gd name="connsiteY401" fmla="*/ 2879734 h 4077840"/>
                <a:gd name="connsiteX402" fmla="*/ 10273448 w 12084394"/>
                <a:gd name="connsiteY402" fmla="*/ 2759225 h 4077840"/>
                <a:gd name="connsiteX403" fmla="*/ 10393956 w 12084394"/>
                <a:gd name="connsiteY403" fmla="*/ 2638717 h 4077840"/>
                <a:gd name="connsiteX404" fmla="*/ 9882080 w 12084394"/>
                <a:gd name="connsiteY404" fmla="*/ 2638717 h 4077840"/>
                <a:gd name="connsiteX405" fmla="*/ 10002588 w 12084394"/>
                <a:gd name="connsiteY405" fmla="*/ 2759225 h 4077840"/>
                <a:gd name="connsiteX406" fmla="*/ 9882080 w 12084394"/>
                <a:gd name="connsiteY406" fmla="*/ 2879734 h 4077840"/>
                <a:gd name="connsiteX407" fmla="*/ 9761571 w 12084394"/>
                <a:gd name="connsiteY407" fmla="*/ 2759225 h 4077840"/>
                <a:gd name="connsiteX408" fmla="*/ 9882080 w 12084394"/>
                <a:gd name="connsiteY408" fmla="*/ 2638717 h 4077840"/>
                <a:gd name="connsiteX409" fmla="*/ 9370013 w 12084394"/>
                <a:gd name="connsiteY409" fmla="*/ 2638717 h 4077840"/>
                <a:gd name="connsiteX410" fmla="*/ 9490522 w 12084394"/>
                <a:gd name="connsiteY410" fmla="*/ 2759225 h 4077840"/>
                <a:gd name="connsiteX411" fmla="*/ 9370013 w 12084394"/>
                <a:gd name="connsiteY411" fmla="*/ 2879734 h 4077840"/>
                <a:gd name="connsiteX412" fmla="*/ 9249505 w 12084394"/>
                <a:gd name="connsiteY412" fmla="*/ 2759225 h 4077840"/>
                <a:gd name="connsiteX413" fmla="*/ 9370013 w 12084394"/>
                <a:gd name="connsiteY413" fmla="*/ 2638717 h 4077840"/>
                <a:gd name="connsiteX414" fmla="*/ 8858136 w 12084394"/>
                <a:gd name="connsiteY414" fmla="*/ 2638717 h 4077840"/>
                <a:gd name="connsiteX415" fmla="*/ 8978645 w 12084394"/>
                <a:gd name="connsiteY415" fmla="*/ 2759225 h 4077840"/>
                <a:gd name="connsiteX416" fmla="*/ 8858136 w 12084394"/>
                <a:gd name="connsiteY416" fmla="*/ 2879734 h 4077840"/>
                <a:gd name="connsiteX417" fmla="*/ 8737628 w 12084394"/>
                <a:gd name="connsiteY417" fmla="*/ 2759225 h 4077840"/>
                <a:gd name="connsiteX418" fmla="*/ 8858136 w 12084394"/>
                <a:gd name="connsiteY418" fmla="*/ 2638717 h 4077840"/>
                <a:gd name="connsiteX419" fmla="*/ 8346070 w 12084394"/>
                <a:gd name="connsiteY419" fmla="*/ 2638717 h 4077840"/>
                <a:gd name="connsiteX420" fmla="*/ 8466579 w 12084394"/>
                <a:gd name="connsiteY420" fmla="*/ 2759225 h 4077840"/>
                <a:gd name="connsiteX421" fmla="*/ 8346070 w 12084394"/>
                <a:gd name="connsiteY421" fmla="*/ 2879734 h 4077840"/>
                <a:gd name="connsiteX422" fmla="*/ 8225562 w 12084394"/>
                <a:gd name="connsiteY422" fmla="*/ 2759225 h 4077840"/>
                <a:gd name="connsiteX423" fmla="*/ 8346070 w 12084394"/>
                <a:gd name="connsiteY423" fmla="*/ 2638717 h 4077840"/>
                <a:gd name="connsiteX424" fmla="*/ 7834193 w 12084394"/>
                <a:gd name="connsiteY424" fmla="*/ 2638717 h 4077840"/>
                <a:gd name="connsiteX425" fmla="*/ 7954702 w 12084394"/>
                <a:gd name="connsiteY425" fmla="*/ 2759225 h 4077840"/>
                <a:gd name="connsiteX426" fmla="*/ 7834193 w 12084394"/>
                <a:gd name="connsiteY426" fmla="*/ 2879734 h 4077840"/>
                <a:gd name="connsiteX427" fmla="*/ 7713685 w 12084394"/>
                <a:gd name="connsiteY427" fmla="*/ 2759225 h 4077840"/>
                <a:gd name="connsiteX428" fmla="*/ 7834193 w 12084394"/>
                <a:gd name="connsiteY428" fmla="*/ 2638717 h 4077840"/>
                <a:gd name="connsiteX429" fmla="*/ 7322127 w 12084394"/>
                <a:gd name="connsiteY429" fmla="*/ 2638717 h 4077840"/>
                <a:gd name="connsiteX430" fmla="*/ 7442635 w 12084394"/>
                <a:gd name="connsiteY430" fmla="*/ 2759225 h 4077840"/>
                <a:gd name="connsiteX431" fmla="*/ 7322127 w 12084394"/>
                <a:gd name="connsiteY431" fmla="*/ 2879734 h 4077840"/>
                <a:gd name="connsiteX432" fmla="*/ 7201619 w 12084394"/>
                <a:gd name="connsiteY432" fmla="*/ 2759225 h 4077840"/>
                <a:gd name="connsiteX433" fmla="*/ 7322127 w 12084394"/>
                <a:gd name="connsiteY433" fmla="*/ 2638717 h 4077840"/>
                <a:gd name="connsiteX434" fmla="*/ 6810061 w 12084394"/>
                <a:gd name="connsiteY434" fmla="*/ 2638717 h 4077840"/>
                <a:gd name="connsiteX435" fmla="*/ 6930570 w 12084394"/>
                <a:gd name="connsiteY435" fmla="*/ 2759225 h 4077840"/>
                <a:gd name="connsiteX436" fmla="*/ 6810061 w 12084394"/>
                <a:gd name="connsiteY436" fmla="*/ 2879734 h 4077840"/>
                <a:gd name="connsiteX437" fmla="*/ 6689553 w 12084394"/>
                <a:gd name="connsiteY437" fmla="*/ 2759225 h 4077840"/>
                <a:gd name="connsiteX438" fmla="*/ 6810061 w 12084394"/>
                <a:gd name="connsiteY438" fmla="*/ 2638717 h 4077840"/>
                <a:gd name="connsiteX439" fmla="*/ 6298184 w 12084394"/>
                <a:gd name="connsiteY439" fmla="*/ 2638717 h 4077840"/>
                <a:gd name="connsiteX440" fmla="*/ 6418693 w 12084394"/>
                <a:gd name="connsiteY440" fmla="*/ 2759225 h 4077840"/>
                <a:gd name="connsiteX441" fmla="*/ 6298184 w 12084394"/>
                <a:gd name="connsiteY441" fmla="*/ 2879734 h 4077840"/>
                <a:gd name="connsiteX442" fmla="*/ 6177677 w 12084394"/>
                <a:gd name="connsiteY442" fmla="*/ 2759225 h 4077840"/>
                <a:gd name="connsiteX443" fmla="*/ 6298184 w 12084394"/>
                <a:gd name="connsiteY443" fmla="*/ 2638717 h 4077840"/>
                <a:gd name="connsiteX444" fmla="*/ 5786126 w 12084394"/>
                <a:gd name="connsiteY444" fmla="*/ 2638717 h 4077840"/>
                <a:gd name="connsiteX445" fmla="*/ 5906628 w 12084394"/>
                <a:gd name="connsiteY445" fmla="*/ 2759225 h 4077840"/>
                <a:gd name="connsiteX446" fmla="*/ 5786126 w 12084394"/>
                <a:gd name="connsiteY446" fmla="*/ 2879734 h 4077840"/>
                <a:gd name="connsiteX447" fmla="*/ 5665623 w 12084394"/>
                <a:gd name="connsiteY447" fmla="*/ 2759225 h 4077840"/>
                <a:gd name="connsiteX448" fmla="*/ 5786126 w 12084394"/>
                <a:gd name="connsiteY448" fmla="*/ 2638717 h 4077840"/>
                <a:gd name="connsiteX449" fmla="*/ 5274270 w 12084394"/>
                <a:gd name="connsiteY449" fmla="*/ 2638717 h 4077840"/>
                <a:gd name="connsiteX450" fmla="*/ 5394775 w 12084394"/>
                <a:gd name="connsiteY450" fmla="*/ 2759225 h 4077840"/>
                <a:gd name="connsiteX451" fmla="*/ 5274270 w 12084394"/>
                <a:gd name="connsiteY451" fmla="*/ 2879734 h 4077840"/>
                <a:gd name="connsiteX452" fmla="*/ 5153767 w 12084394"/>
                <a:gd name="connsiteY452" fmla="*/ 2759225 h 4077840"/>
                <a:gd name="connsiteX453" fmla="*/ 5274270 w 12084394"/>
                <a:gd name="connsiteY453" fmla="*/ 2638717 h 4077840"/>
                <a:gd name="connsiteX454" fmla="*/ 4762180 w 12084394"/>
                <a:gd name="connsiteY454" fmla="*/ 2638717 h 4077840"/>
                <a:gd name="connsiteX455" fmla="*/ 4882728 w 12084394"/>
                <a:gd name="connsiteY455" fmla="*/ 2759225 h 4077840"/>
                <a:gd name="connsiteX456" fmla="*/ 4762180 w 12084394"/>
                <a:gd name="connsiteY456" fmla="*/ 2879734 h 4077840"/>
                <a:gd name="connsiteX457" fmla="*/ 4641689 w 12084394"/>
                <a:gd name="connsiteY457" fmla="*/ 2759225 h 4077840"/>
                <a:gd name="connsiteX458" fmla="*/ 4762180 w 12084394"/>
                <a:gd name="connsiteY458" fmla="*/ 2638717 h 4077840"/>
                <a:gd name="connsiteX459" fmla="*/ 4250316 w 12084394"/>
                <a:gd name="connsiteY459" fmla="*/ 2638717 h 4077840"/>
                <a:gd name="connsiteX460" fmla="*/ 4370831 w 12084394"/>
                <a:gd name="connsiteY460" fmla="*/ 2759225 h 4077840"/>
                <a:gd name="connsiteX461" fmla="*/ 4250316 w 12084394"/>
                <a:gd name="connsiteY461" fmla="*/ 2879734 h 4077840"/>
                <a:gd name="connsiteX462" fmla="*/ 4129855 w 12084394"/>
                <a:gd name="connsiteY462" fmla="*/ 2759225 h 4077840"/>
                <a:gd name="connsiteX463" fmla="*/ 4250316 w 12084394"/>
                <a:gd name="connsiteY463" fmla="*/ 2638717 h 4077840"/>
                <a:gd name="connsiteX464" fmla="*/ 3738287 w 12084394"/>
                <a:gd name="connsiteY464" fmla="*/ 2638717 h 4077840"/>
                <a:gd name="connsiteX465" fmla="*/ 3858795 w 12084394"/>
                <a:gd name="connsiteY465" fmla="*/ 2759225 h 4077840"/>
                <a:gd name="connsiteX466" fmla="*/ 3738287 w 12084394"/>
                <a:gd name="connsiteY466" fmla="*/ 2879734 h 4077840"/>
                <a:gd name="connsiteX467" fmla="*/ 3617773 w 12084394"/>
                <a:gd name="connsiteY467" fmla="*/ 2759225 h 4077840"/>
                <a:gd name="connsiteX468" fmla="*/ 3738287 w 12084394"/>
                <a:gd name="connsiteY468" fmla="*/ 2638717 h 4077840"/>
                <a:gd name="connsiteX469" fmla="*/ 3226242 w 12084394"/>
                <a:gd name="connsiteY469" fmla="*/ 2638717 h 4077840"/>
                <a:gd name="connsiteX470" fmla="*/ 3346764 w 12084394"/>
                <a:gd name="connsiteY470" fmla="*/ 2759225 h 4077840"/>
                <a:gd name="connsiteX471" fmla="*/ 3226242 w 12084394"/>
                <a:gd name="connsiteY471" fmla="*/ 2879734 h 4077840"/>
                <a:gd name="connsiteX472" fmla="*/ 3105731 w 12084394"/>
                <a:gd name="connsiteY472" fmla="*/ 2759225 h 4077840"/>
                <a:gd name="connsiteX473" fmla="*/ 3226242 w 12084394"/>
                <a:gd name="connsiteY473" fmla="*/ 2638717 h 4077840"/>
                <a:gd name="connsiteX474" fmla="*/ 2714362 w 12084394"/>
                <a:gd name="connsiteY474" fmla="*/ 2638717 h 4077840"/>
                <a:gd name="connsiteX475" fmla="*/ 2834873 w 12084394"/>
                <a:gd name="connsiteY475" fmla="*/ 2759225 h 4077840"/>
                <a:gd name="connsiteX476" fmla="*/ 2714362 w 12084394"/>
                <a:gd name="connsiteY476" fmla="*/ 2879734 h 4077840"/>
                <a:gd name="connsiteX477" fmla="*/ 2593854 w 12084394"/>
                <a:gd name="connsiteY477" fmla="*/ 2759225 h 4077840"/>
                <a:gd name="connsiteX478" fmla="*/ 2714362 w 12084394"/>
                <a:gd name="connsiteY478" fmla="*/ 2638717 h 4077840"/>
                <a:gd name="connsiteX479" fmla="*/ 2202306 w 12084394"/>
                <a:gd name="connsiteY479" fmla="*/ 2638717 h 4077840"/>
                <a:gd name="connsiteX480" fmla="*/ 2322813 w 12084394"/>
                <a:gd name="connsiteY480" fmla="*/ 2759225 h 4077840"/>
                <a:gd name="connsiteX481" fmla="*/ 2202306 w 12084394"/>
                <a:gd name="connsiteY481" fmla="*/ 2879734 h 4077840"/>
                <a:gd name="connsiteX482" fmla="*/ 2081795 w 12084394"/>
                <a:gd name="connsiteY482" fmla="*/ 2759225 h 4077840"/>
                <a:gd name="connsiteX483" fmla="*/ 2202306 w 12084394"/>
                <a:gd name="connsiteY483" fmla="*/ 2638717 h 4077840"/>
                <a:gd name="connsiteX484" fmla="*/ 1690412 w 12084394"/>
                <a:gd name="connsiteY484" fmla="*/ 2638717 h 4077840"/>
                <a:gd name="connsiteX485" fmla="*/ 1810920 w 12084394"/>
                <a:gd name="connsiteY485" fmla="*/ 2759225 h 4077840"/>
                <a:gd name="connsiteX486" fmla="*/ 1690412 w 12084394"/>
                <a:gd name="connsiteY486" fmla="*/ 2879734 h 4077840"/>
                <a:gd name="connsiteX487" fmla="*/ 1569905 w 12084394"/>
                <a:gd name="connsiteY487" fmla="*/ 2759225 h 4077840"/>
                <a:gd name="connsiteX488" fmla="*/ 1690412 w 12084394"/>
                <a:gd name="connsiteY488" fmla="*/ 2638717 h 4077840"/>
                <a:gd name="connsiteX489" fmla="*/ 1178354 w 12084394"/>
                <a:gd name="connsiteY489" fmla="*/ 2638717 h 4077840"/>
                <a:gd name="connsiteX490" fmla="*/ 1298862 w 12084394"/>
                <a:gd name="connsiteY490" fmla="*/ 2759225 h 4077840"/>
                <a:gd name="connsiteX491" fmla="*/ 1178354 w 12084394"/>
                <a:gd name="connsiteY491" fmla="*/ 2879734 h 4077840"/>
                <a:gd name="connsiteX492" fmla="*/ 1057846 w 12084394"/>
                <a:gd name="connsiteY492" fmla="*/ 2759225 h 4077840"/>
                <a:gd name="connsiteX493" fmla="*/ 1178354 w 12084394"/>
                <a:gd name="connsiteY493" fmla="*/ 2638717 h 4077840"/>
                <a:gd name="connsiteX494" fmla="*/ 666483 w 12084394"/>
                <a:gd name="connsiteY494" fmla="*/ 2638717 h 4077840"/>
                <a:gd name="connsiteX495" fmla="*/ 786991 w 12084394"/>
                <a:gd name="connsiteY495" fmla="*/ 2759225 h 4077840"/>
                <a:gd name="connsiteX496" fmla="*/ 666483 w 12084394"/>
                <a:gd name="connsiteY496" fmla="*/ 2879734 h 4077840"/>
                <a:gd name="connsiteX497" fmla="*/ 545976 w 12084394"/>
                <a:gd name="connsiteY497" fmla="*/ 2759225 h 4077840"/>
                <a:gd name="connsiteX498" fmla="*/ 666483 w 12084394"/>
                <a:gd name="connsiteY498" fmla="*/ 2638717 h 4077840"/>
                <a:gd name="connsiteX499" fmla="*/ 154426 w 12084394"/>
                <a:gd name="connsiteY499" fmla="*/ 2638717 h 4077840"/>
                <a:gd name="connsiteX500" fmla="*/ 274934 w 12084394"/>
                <a:gd name="connsiteY500" fmla="*/ 2759225 h 4077840"/>
                <a:gd name="connsiteX501" fmla="*/ 154426 w 12084394"/>
                <a:gd name="connsiteY501" fmla="*/ 2879734 h 4077840"/>
                <a:gd name="connsiteX502" fmla="*/ 33919 w 12084394"/>
                <a:gd name="connsiteY502" fmla="*/ 2759225 h 4077840"/>
                <a:gd name="connsiteX503" fmla="*/ 154426 w 12084394"/>
                <a:gd name="connsiteY503" fmla="*/ 2638717 h 4077840"/>
                <a:gd name="connsiteX504" fmla="*/ 11929965 w 12084394"/>
                <a:gd name="connsiteY504" fmla="*/ 2198994 h 4077840"/>
                <a:gd name="connsiteX505" fmla="*/ 12036118 w 12084394"/>
                <a:gd name="connsiteY505" fmla="*/ 2305147 h 4077840"/>
                <a:gd name="connsiteX506" fmla="*/ 11929965 w 12084394"/>
                <a:gd name="connsiteY506" fmla="*/ 2411300 h 4077840"/>
                <a:gd name="connsiteX507" fmla="*/ 11823812 w 12084394"/>
                <a:gd name="connsiteY507" fmla="*/ 2305147 h 4077840"/>
                <a:gd name="connsiteX508" fmla="*/ 11929965 w 12084394"/>
                <a:gd name="connsiteY508" fmla="*/ 2198994 h 4077840"/>
                <a:gd name="connsiteX509" fmla="*/ 11417900 w 12084394"/>
                <a:gd name="connsiteY509" fmla="*/ 2198994 h 4077840"/>
                <a:gd name="connsiteX510" fmla="*/ 11524053 w 12084394"/>
                <a:gd name="connsiteY510" fmla="*/ 2305147 h 4077840"/>
                <a:gd name="connsiteX511" fmla="*/ 11417900 w 12084394"/>
                <a:gd name="connsiteY511" fmla="*/ 2411300 h 4077840"/>
                <a:gd name="connsiteX512" fmla="*/ 11311747 w 12084394"/>
                <a:gd name="connsiteY512" fmla="*/ 2305147 h 4077840"/>
                <a:gd name="connsiteX513" fmla="*/ 11417900 w 12084394"/>
                <a:gd name="connsiteY513" fmla="*/ 2198994 h 4077840"/>
                <a:gd name="connsiteX514" fmla="*/ 10906023 w 12084394"/>
                <a:gd name="connsiteY514" fmla="*/ 2198994 h 4077840"/>
                <a:gd name="connsiteX515" fmla="*/ 11012176 w 12084394"/>
                <a:gd name="connsiteY515" fmla="*/ 2305147 h 4077840"/>
                <a:gd name="connsiteX516" fmla="*/ 10906023 w 12084394"/>
                <a:gd name="connsiteY516" fmla="*/ 2411300 h 4077840"/>
                <a:gd name="connsiteX517" fmla="*/ 10799870 w 12084394"/>
                <a:gd name="connsiteY517" fmla="*/ 2305147 h 4077840"/>
                <a:gd name="connsiteX518" fmla="*/ 10906023 w 12084394"/>
                <a:gd name="connsiteY518" fmla="*/ 2198994 h 4077840"/>
                <a:gd name="connsiteX519" fmla="*/ 10393957 w 12084394"/>
                <a:gd name="connsiteY519" fmla="*/ 2198994 h 4077840"/>
                <a:gd name="connsiteX520" fmla="*/ 10500110 w 12084394"/>
                <a:gd name="connsiteY520" fmla="*/ 2305147 h 4077840"/>
                <a:gd name="connsiteX521" fmla="*/ 10393957 w 12084394"/>
                <a:gd name="connsiteY521" fmla="*/ 2411300 h 4077840"/>
                <a:gd name="connsiteX522" fmla="*/ 10287804 w 12084394"/>
                <a:gd name="connsiteY522" fmla="*/ 2305147 h 4077840"/>
                <a:gd name="connsiteX523" fmla="*/ 10393957 w 12084394"/>
                <a:gd name="connsiteY523" fmla="*/ 2198994 h 4077840"/>
                <a:gd name="connsiteX524" fmla="*/ 9882079 w 12084394"/>
                <a:gd name="connsiteY524" fmla="*/ 2198994 h 4077840"/>
                <a:gd name="connsiteX525" fmla="*/ 9988232 w 12084394"/>
                <a:gd name="connsiteY525" fmla="*/ 2305147 h 4077840"/>
                <a:gd name="connsiteX526" fmla="*/ 9882079 w 12084394"/>
                <a:gd name="connsiteY526" fmla="*/ 2411300 h 4077840"/>
                <a:gd name="connsiteX527" fmla="*/ 9775926 w 12084394"/>
                <a:gd name="connsiteY527" fmla="*/ 2305147 h 4077840"/>
                <a:gd name="connsiteX528" fmla="*/ 9882079 w 12084394"/>
                <a:gd name="connsiteY528" fmla="*/ 2198994 h 4077840"/>
                <a:gd name="connsiteX529" fmla="*/ 9370014 w 12084394"/>
                <a:gd name="connsiteY529" fmla="*/ 2198994 h 4077840"/>
                <a:gd name="connsiteX530" fmla="*/ 9476167 w 12084394"/>
                <a:gd name="connsiteY530" fmla="*/ 2305147 h 4077840"/>
                <a:gd name="connsiteX531" fmla="*/ 9370014 w 12084394"/>
                <a:gd name="connsiteY531" fmla="*/ 2411300 h 4077840"/>
                <a:gd name="connsiteX532" fmla="*/ 9263861 w 12084394"/>
                <a:gd name="connsiteY532" fmla="*/ 2305147 h 4077840"/>
                <a:gd name="connsiteX533" fmla="*/ 9370014 w 12084394"/>
                <a:gd name="connsiteY533" fmla="*/ 2198994 h 4077840"/>
                <a:gd name="connsiteX534" fmla="*/ 8858136 w 12084394"/>
                <a:gd name="connsiteY534" fmla="*/ 2198994 h 4077840"/>
                <a:gd name="connsiteX535" fmla="*/ 8964289 w 12084394"/>
                <a:gd name="connsiteY535" fmla="*/ 2305147 h 4077840"/>
                <a:gd name="connsiteX536" fmla="*/ 8858136 w 12084394"/>
                <a:gd name="connsiteY536" fmla="*/ 2411300 h 4077840"/>
                <a:gd name="connsiteX537" fmla="*/ 8751983 w 12084394"/>
                <a:gd name="connsiteY537" fmla="*/ 2305147 h 4077840"/>
                <a:gd name="connsiteX538" fmla="*/ 8858136 w 12084394"/>
                <a:gd name="connsiteY538" fmla="*/ 2198994 h 4077840"/>
                <a:gd name="connsiteX539" fmla="*/ 8346071 w 12084394"/>
                <a:gd name="connsiteY539" fmla="*/ 2198994 h 4077840"/>
                <a:gd name="connsiteX540" fmla="*/ 8452224 w 12084394"/>
                <a:gd name="connsiteY540" fmla="*/ 2305147 h 4077840"/>
                <a:gd name="connsiteX541" fmla="*/ 8346071 w 12084394"/>
                <a:gd name="connsiteY541" fmla="*/ 2411300 h 4077840"/>
                <a:gd name="connsiteX542" fmla="*/ 8239918 w 12084394"/>
                <a:gd name="connsiteY542" fmla="*/ 2305147 h 4077840"/>
                <a:gd name="connsiteX543" fmla="*/ 8346071 w 12084394"/>
                <a:gd name="connsiteY543" fmla="*/ 2198994 h 4077840"/>
                <a:gd name="connsiteX544" fmla="*/ 7834194 w 12084394"/>
                <a:gd name="connsiteY544" fmla="*/ 2198994 h 4077840"/>
                <a:gd name="connsiteX545" fmla="*/ 7940347 w 12084394"/>
                <a:gd name="connsiteY545" fmla="*/ 2305147 h 4077840"/>
                <a:gd name="connsiteX546" fmla="*/ 7834194 w 12084394"/>
                <a:gd name="connsiteY546" fmla="*/ 2411300 h 4077840"/>
                <a:gd name="connsiteX547" fmla="*/ 7728041 w 12084394"/>
                <a:gd name="connsiteY547" fmla="*/ 2305147 h 4077840"/>
                <a:gd name="connsiteX548" fmla="*/ 7834194 w 12084394"/>
                <a:gd name="connsiteY548" fmla="*/ 2198994 h 4077840"/>
                <a:gd name="connsiteX549" fmla="*/ 7322128 w 12084394"/>
                <a:gd name="connsiteY549" fmla="*/ 2198994 h 4077840"/>
                <a:gd name="connsiteX550" fmla="*/ 7428281 w 12084394"/>
                <a:gd name="connsiteY550" fmla="*/ 2305147 h 4077840"/>
                <a:gd name="connsiteX551" fmla="*/ 7322128 w 12084394"/>
                <a:gd name="connsiteY551" fmla="*/ 2411300 h 4077840"/>
                <a:gd name="connsiteX552" fmla="*/ 7215975 w 12084394"/>
                <a:gd name="connsiteY552" fmla="*/ 2305147 h 4077840"/>
                <a:gd name="connsiteX553" fmla="*/ 7322128 w 12084394"/>
                <a:gd name="connsiteY553" fmla="*/ 2198994 h 4077840"/>
                <a:gd name="connsiteX554" fmla="*/ 6810062 w 12084394"/>
                <a:gd name="connsiteY554" fmla="*/ 2198994 h 4077840"/>
                <a:gd name="connsiteX555" fmla="*/ 6916215 w 12084394"/>
                <a:gd name="connsiteY555" fmla="*/ 2305147 h 4077840"/>
                <a:gd name="connsiteX556" fmla="*/ 6810062 w 12084394"/>
                <a:gd name="connsiteY556" fmla="*/ 2411300 h 4077840"/>
                <a:gd name="connsiteX557" fmla="*/ 6703909 w 12084394"/>
                <a:gd name="connsiteY557" fmla="*/ 2305147 h 4077840"/>
                <a:gd name="connsiteX558" fmla="*/ 6810062 w 12084394"/>
                <a:gd name="connsiteY558" fmla="*/ 2198994 h 4077840"/>
                <a:gd name="connsiteX559" fmla="*/ 6298186 w 12084394"/>
                <a:gd name="connsiteY559" fmla="*/ 2198994 h 4077840"/>
                <a:gd name="connsiteX560" fmla="*/ 6404338 w 12084394"/>
                <a:gd name="connsiteY560" fmla="*/ 2305147 h 4077840"/>
                <a:gd name="connsiteX561" fmla="*/ 6298186 w 12084394"/>
                <a:gd name="connsiteY561" fmla="*/ 2411300 h 4077840"/>
                <a:gd name="connsiteX562" fmla="*/ 6192032 w 12084394"/>
                <a:gd name="connsiteY562" fmla="*/ 2305147 h 4077840"/>
                <a:gd name="connsiteX563" fmla="*/ 6298186 w 12084394"/>
                <a:gd name="connsiteY563" fmla="*/ 2198994 h 4077840"/>
                <a:gd name="connsiteX564" fmla="*/ 5786126 w 12084394"/>
                <a:gd name="connsiteY564" fmla="*/ 2198994 h 4077840"/>
                <a:gd name="connsiteX565" fmla="*/ 5892275 w 12084394"/>
                <a:gd name="connsiteY565" fmla="*/ 2305147 h 4077840"/>
                <a:gd name="connsiteX566" fmla="*/ 5786126 w 12084394"/>
                <a:gd name="connsiteY566" fmla="*/ 2411300 h 4077840"/>
                <a:gd name="connsiteX567" fmla="*/ 5679979 w 12084394"/>
                <a:gd name="connsiteY567" fmla="*/ 2305147 h 4077840"/>
                <a:gd name="connsiteX568" fmla="*/ 5786126 w 12084394"/>
                <a:gd name="connsiteY568" fmla="*/ 2198994 h 4077840"/>
                <a:gd name="connsiteX569" fmla="*/ 5274270 w 12084394"/>
                <a:gd name="connsiteY569" fmla="*/ 2198994 h 4077840"/>
                <a:gd name="connsiteX570" fmla="*/ 5380420 w 12084394"/>
                <a:gd name="connsiteY570" fmla="*/ 2305147 h 4077840"/>
                <a:gd name="connsiteX571" fmla="*/ 5274270 w 12084394"/>
                <a:gd name="connsiteY571" fmla="*/ 2411300 h 4077840"/>
                <a:gd name="connsiteX572" fmla="*/ 5168119 w 12084394"/>
                <a:gd name="connsiteY572" fmla="*/ 2305147 h 4077840"/>
                <a:gd name="connsiteX573" fmla="*/ 5274270 w 12084394"/>
                <a:gd name="connsiteY573" fmla="*/ 2198994 h 4077840"/>
                <a:gd name="connsiteX574" fmla="*/ 4762180 w 12084394"/>
                <a:gd name="connsiteY574" fmla="*/ 2198994 h 4077840"/>
                <a:gd name="connsiteX575" fmla="*/ 4868369 w 12084394"/>
                <a:gd name="connsiteY575" fmla="*/ 2305147 h 4077840"/>
                <a:gd name="connsiteX576" fmla="*/ 4762180 w 12084394"/>
                <a:gd name="connsiteY576" fmla="*/ 2411300 h 4077840"/>
                <a:gd name="connsiteX577" fmla="*/ 4656043 w 12084394"/>
                <a:gd name="connsiteY577" fmla="*/ 2305147 h 4077840"/>
                <a:gd name="connsiteX578" fmla="*/ 4762180 w 12084394"/>
                <a:gd name="connsiteY578" fmla="*/ 2198994 h 4077840"/>
                <a:gd name="connsiteX579" fmla="*/ 4250316 w 12084394"/>
                <a:gd name="connsiteY579" fmla="*/ 2198994 h 4077840"/>
                <a:gd name="connsiteX580" fmla="*/ 4356476 w 12084394"/>
                <a:gd name="connsiteY580" fmla="*/ 2305147 h 4077840"/>
                <a:gd name="connsiteX581" fmla="*/ 4250316 w 12084394"/>
                <a:gd name="connsiteY581" fmla="*/ 2411300 h 4077840"/>
                <a:gd name="connsiteX582" fmla="*/ 4144156 w 12084394"/>
                <a:gd name="connsiteY582" fmla="*/ 2305147 h 4077840"/>
                <a:gd name="connsiteX583" fmla="*/ 4250316 w 12084394"/>
                <a:gd name="connsiteY583" fmla="*/ 2198994 h 4077840"/>
                <a:gd name="connsiteX584" fmla="*/ 3738289 w 12084394"/>
                <a:gd name="connsiteY584" fmla="*/ 2198994 h 4077840"/>
                <a:gd name="connsiteX585" fmla="*/ 3844442 w 12084394"/>
                <a:gd name="connsiteY585" fmla="*/ 2305147 h 4077840"/>
                <a:gd name="connsiteX586" fmla="*/ 3738289 w 12084394"/>
                <a:gd name="connsiteY586" fmla="*/ 2411300 h 4077840"/>
                <a:gd name="connsiteX587" fmla="*/ 3632128 w 12084394"/>
                <a:gd name="connsiteY587" fmla="*/ 2305147 h 4077840"/>
                <a:gd name="connsiteX588" fmla="*/ 3738289 w 12084394"/>
                <a:gd name="connsiteY588" fmla="*/ 2198994 h 4077840"/>
                <a:gd name="connsiteX589" fmla="*/ 3226242 w 12084394"/>
                <a:gd name="connsiteY589" fmla="*/ 2198994 h 4077840"/>
                <a:gd name="connsiteX590" fmla="*/ 3332405 w 12084394"/>
                <a:gd name="connsiteY590" fmla="*/ 2305147 h 4077840"/>
                <a:gd name="connsiteX591" fmla="*/ 3226242 w 12084394"/>
                <a:gd name="connsiteY591" fmla="*/ 2411300 h 4077840"/>
                <a:gd name="connsiteX592" fmla="*/ 3120089 w 12084394"/>
                <a:gd name="connsiteY592" fmla="*/ 2305147 h 4077840"/>
                <a:gd name="connsiteX593" fmla="*/ 3226242 w 12084394"/>
                <a:gd name="connsiteY593" fmla="*/ 2198994 h 4077840"/>
                <a:gd name="connsiteX594" fmla="*/ 2714363 w 12084394"/>
                <a:gd name="connsiteY594" fmla="*/ 2198994 h 4077840"/>
                <a:gd name="connsiteX595" fmla="*/ 2820518 w 12084394"/>
                <a:gd name="connsiteY595" fmla="*/ 2305147 h 4077840"/>
                <a:gd name="connsiteX596" fmla="*/ 2714363 w 12084394"/>
                <a:gd name="connsiteY596" fmla="*/ 2411300 h 4077840"/>
                <a:gd name="connsiteX597" fmla="*/ 2608208 w 12084394"/>
                <a:gd name="connsiteY597" fmla="*/ 2305147 h 4077840"/>
                <a:gd name="connsiteX598" fmla="*/ 2714363 w 12084394"/>
                <a:gd name="connsiteY598" fmla="*/ 2198994 h 4077840"/>
                <a:gd name="connsiteX599" fmla="*/ 2202306 w 12084394"/>
                <a:gd name="connsiteY599" fmla="*/ 2198994 h 4077840"/>
                <a:gd name="connsiteX600" fmla="*/ 2308457 w 12084394"/>
                <a:gd name="connsiteY600" fmla="*/ 2305147 h 4077840"/>
                <a:gd name="connsiteX601" fmla="*/ 2202306 w 12084394"/>
                <a:gd name="connsiteY601" fmla="*/ 2411300 h 4077840"/>
                <a:gd name="connsiteX602" fmla="*/ 2096153 w 12084394"/>
                <a:gd name="connsiteY602" fmla="*/ 2305147 h 4077840"/>
                <a:gd name="connsiteX603" fmla="*/ 2202306 w 12084394"/>
                <a:gd name="connsiteY603" fmla="*/ 2198994 h 4077840"/>
                <a:gd name="connsiteX604" fmla="*/ 1690413 w 12084394"/>
                <a:gd name="connsiteY604" fmla="*/ 2198994 h 4077840"/>
                <a:gd name="connsiteX605" fmla="*/ 1796565 w 12084394"/>
                <a:gd name="connsiteY605" fmla="*/ 2305147 h 4077840"/>
                <a:gd name="connsiteX606" fmla="*/ 1690413 w 12084394"/>
                <a:gd name="connsiteY606" fmla="*/ 2411300 h 4077840"/>
                <a:gd name="connsiteX607" fmla="*/ 1584260 w 12084394"/>
                <a:gd name="connsiteY607" fmla="*/ 2305147 h 4077840"/>
                <a:gd name="connsiteX608" fmla="*/ 1690413 w 12084394"/>
                <a:gd name="connsiteY608" fmla="*/ 2198994 h 4077840"/>
                <a:gd name="connsiteX609" fmla="*/ 1178353 w 12084394"/>
                <a:gd name="connsiteY609" fmla="*/ 2198994 h 4077840"/>
                <a:gd name="connsiteX610" fmla="*/ 1284506 w 12084394"/>
                <a:gd name="connsiteY610" fmla="*/ 2305147 h 4077840"/>
                <a:gd name="connsiteX611" fmla="*/ 1178353 w 12084394"/>
                <a:gd name="connsiteY611" fmla="*/ 2411300 h 4077840"/>
                <a:gd name="connsiteX612" fmla="*/ 1072201 w 12084394"/>
                <a:gd name="connsiteY612" fmla="*/ 2305147 h 4077840"/>
                <a:gd name="connsiteX613" fmla="*/ 1178353 w 12084394"/>
                <a:gd name="connsiteY613" fmla="*/ 2198994 h 4077840"/>
                <a:gd name="connsiteX614" fmla="*/ 666483 w 12084394"/>
                <a:gd name="connsiteY614" fmla="*/ 2198994 h 4077840"/>
                <a:gd name="connsiteX615" fmla="*/ 772636 w 12084394"/>
                <a:gd name="connsiteY615" fmla="*/ 2305147 h 4077840"/>
                <a:gd name="connsiteX616" fmla="*/ 666483 w 12084394"/>
                <a:gd name="connsiteY616" fmla="*/ 2411300 h 4077840"/>
                <a:gd name="connsiteX617" fmla="*/ 560331 w 12084394"/>
                <a:gd name="connsiteY617" fmla="*/ 2305147 h 4077840"/>
                <a:gd name="connsiteX618" fmla="*/ 666483 w 12084394"/>
                <a:gd name="connsiteY618" fmla="*/ 2198994 h 4077840"/>
                <a:gd name="connsiteX619" fmla="*/ 154426 w 12084394"/>
                <a:gd name="connsiteY619" fmla="*/ 2198994 h 4077840"/>
                <a:gd name="connsiteX620" fmla="*/ 260578 w 12084394"/>
                <a:gd name="connsiteY620" fmla="*/ 2305147 h 4077840"/>
                <a:gd name="connsiteX621" fmla="*/ 154426 w 12084394"/>
                <a:gd name="connsiteY621" fmla="*/ 2411300 h 4077840"/>
                <a:gd name="connsiteX622" fmla="*/ 48274 w 12084394"/>
                <a:gd name="connsiteY622" fmla="*/ 2305147 h 4077840"/>
                <a:gd name="connsiteX623" fmla="*/ 154426 w 12084394"/>
                <a:gd name="connsiteY623" fmla="*/ 2198994 h 4077840"/>
                <a:gd name="connsiteX624" fmla="*/ 11929966 w 12084394"/>
                <a:gd name="connsiteY624" fmla="*/ 1759082 h 4077840"/>
                <a:gd name="connsiteX625" fmla="*/ 12021952 w 12084394"/>
                <a:gd name="connsiteY625" fmla="*/ 1851069 h 4077840"/>
                <a:gd name="connsiteX626" fmla="*/ 11929966 w 12084394"/>
                <a:gd name="connsiteY626" fmla="*/ 1943055 h 4077840"/>
                <a:gd name="connsiteX627" fmla="*/ 11837979 w 12084394"/>
                <a:gd name="connsiteY627" fmla="*/ 1851069 h 4077840"/>
                <a:gd name="connsiteX628" fmla="*/ 11929966 w 12084394"/>
                <a:gd name="connsiteY628" fmla="*/ 1759082 h 4077840"/>
                <a:gd name="connsiteX629" fmla="*/ 11417900 w 12084394"/>
                <a:gd name="connsiteY629" fmla="*/ 1759082 h 4077840"/>
                <a:gd name="connsiteX630" fmla="*/ 11509887 w 12084394"/>
                <a:gd name="connsiteY630" fmla="*/ 1851069 h 4077840"/>
                <a:gd name="connsiteX631" fmla="*/ 11417900 w 12084394"/>
                <a:gd name="connsiteY631" fmla="*/ 1943055 h 4077840"/>
                <a:gd name="connsiteX632" fmla="*/ 11325913 w 12084394"/>
                <a:gd name="connsiteY632" fmla="*/ 1851069 h 4077840"/>
                <a:gd name="connsiteX633" fmla="*/ 11417900 w 12084394"/>
                <a:gd name="connsiteY633" fmla="*/ 1759082 h 4077840"/>
                <a:gd name="connsiteX634" fmla="*/ 10906023 w 12084394"/>
                <a:gd name="connsiteY634" fmla="*/ 1759082 h 4077840"/>
                <a:gd name="connsiteX635" fmla="*/ 10998010 w 12084394"/>
                <a:gd name="connsiteY635" fmla="*/ 1851069 h 4077840"/>
                <a:gd name="connsiteX636" fmla="*/ 10906023 w 12084394"/>
                <a:gd name="connsiteY636" fmla="*/ 1943055 h 4077840"/>
                <a:gd name="connsiteX637" fmla="*/ 10814037 w 12084394"/>
                <a:gd name="connsiteY637" fmla="*/ 1851069 h 4077840"/>
                <a:gd name="connsiteX638" fmla="*/ 10906023 w 12084394"/>
                <a:gd name="connsiteY638" fmla="*/ 1759082 h 4077840"/>
                <a:gd name="connsiteX639" fmla="*/ 10393957 w 12084394"/>
                <a:gd name="connsiteY639" fmla="*/ 1759082 h 4077840"/>
                <a:gd name="connsiteX640" fmla="*/ 10485943 w 12084394"/>
                <a:gd name="connsiteY640" fmla="*/ 1851069 h 4077840"/>
                <a:gd name="connsiteX641" fmla="*/ 10393957 w 12084394"/>
                <a:gd name="connsiteY641" fmla="*/ 1943055 h 4077840"/>
                <a:gd name="connsiteX642" fmla="*/ 10301970 w 12084394"/>
                <a:gd name="connsiteY642" fmla="*/ 1851069 h 4077840"/>
                <a:gd name="connsiteX643" fmla="*/ 10393957 w 12084394"/>
                <a:gd name="connsiteY643" fmla="*/ 1759082 h 4077840"/>
                <a:gd name="connsiteX644" fmla="*/ 9882080 w 12084394"/>
                <a:gd name="connsiteY644" fmla="*/ 1759082 h 4077840"/>
                <a:gd name="connsiteX645" fmla="*/ 9974067 w 12084394"/>
                <a:gd name="connsiteY645" fmla="*/ 1851069 h 4077840"/>
                <a:gd name="connsiteX646" fmla="*/ 9882080 w 12084394"/>
                <a:gd name="connsiteY646" fmla="*/ 1943055 h 4077840"/>
                <a:gd name="connsiteX647" fmla="*/ 9790093 w 12084394"/>
                <a:gd name="connsiteY647" fmla="*/ 1851069 h 4077840"/>
                <a:gd name="connsiteX648" fmla="*/ 9882080 w 12084394"/>
                <a:gd name="connsiteY648" fmla="*/ 1759082 h 4077840"/>
                <a:gd name="connsiteX649" fmla="*/ 9370014 w 12084394"/>
                <a:gd name="connsiteY649" fmla="*/ 1759082 h 4077840"/>
                <a:gd name="connsiteX650" fmla="*/ 9462000 w 12084394"/>
                <a:gd name="connsiteY650" fmla="*/ 1851069 h 4077840"/>
                <a:gd name="connsiteX651" fmla="*/ 9370014 w 12084394"/>
                <a:gd name="connsiteY651" fmla="*/ 1943055 h 4077840"/>
                <a:gd name="connsiteX652" fmla="*/ 9278027 w 12084394"/>
                <a:gd name="connsiteY652" fmla="*/ 1851069 h 4077840"/>
                <a:gd name="connsiteX653" fmla="*/ 9370014 w 12084394"/>
                <a:gd name="connsiteY653" fmla="*/ 1759082 h 4077840"/>
                <a:gd name="connsiteX654" fmla="*/ 8858137 w 12084394"/>
                <a:gd name="connsiteY654" fmla="*/ 1759082 h 4077840"/>
                <a:gd name="connsiteX655" fmla="*/ 8950123 w 12084394"/>
                <a:gd name="connsiteY655" fmla="*/ 1851069 h 4077840"/>
                <a:gd name="connsiteX656" fmla="*/ 8858137 w 12084394"/>
                <a:gd name="connsiteY656" fmla="*/ 1943055 h 4077840"/>
                <a:gd name="connsiteX657" fmla="*/ 8766150 w 12084394"/>
                <a:gd name="connsiteY657" fmla="*/ 1851069 h 4077840"/>
                <a:gd name="connsiteX658" fmla="*/ 8858137 w 12084394"/>
                <a:gd name="connsiteY658" fmla="*/ 1759082 h 4077840"/>
                <a:gd name="connsiteX659" fmla="*/ 8346071 w 12084394"/>
                <a:gd name="connsiteY659" fmla="*/ 1759082 h 4077840"/>
                <a:gd name="connsiteX660" fmla="*/ 8438058 w 12084394"/>
                <a:gd name="connsiteY660" fmla="*/ 1851069 h 4077840"/>
                <a:gd name="connsiteX661" fmla="*/ 8346071 w 12084394"/>
                <a:gd name="connsiteY661" fmla="*/ 1943055 h 4077840"/>
                <a:gd name="connsiteX662" fmla="*/ 8254084 w 12084394"/>
                <a:gd name="connsiteY662" fmla="*/ 1851069 h 4077840"/>
                <a:gd name="connsiteX663" fmla="*/ 8346071 w 12084394"/>
                <a:gd name="connsiteY663" fmla="*/ 1759082 h 4077840"/>
                <a:gd name="connsiteX664" fmla="*/ 7834005 w 12084394"/>
                <a:gd name="connsiteY664" fmla="*/ 1759082 h 4077840"/>
                <a:gd name="connsiteX665" fmla="*/ 7925992 w 12084394"/>
                <a:gd name="connsiteY665" fmla="*/ 1851069 h 4077840"/>
                <a:gd name="connsiteX666" fmla="*/ 7834005 w 12084394"/>
                <a:gd name="connsiteY666" fmla="*/ 1943055 h 4077840"/>
                <a:gd name="connsiteX667" fmla="*/ 7742018 w 12084394"/>
                <a:gd name="connsiteY667" fmla="*/ 1851069 h 4077840"/>
                <a:gd name="connsiteX668" fmla="*/ 7834005 w 12084394"/>
                <a:gd name="connsiteY668" fmla="*/ 1759082 h 4077840"/>
                <a:gd name="connsiteX669" fmla="*/ 7322128 w 12084394"/>
                <a:gd name="connsiteY669" fmla="*/ 1759082 h 4077840"/>
                <a:gd name="connsiteX670" fmla="*/ 7414115 w 12084394"/>
                <a:gd name="connsiteY670" fmla="*/ 1851069 h 4077840"/>
                <a:gd name="connsiteX671" fmla="*/ 7322128 w 12084394"/>
                <a:gd name="connsiteY671" fmla="*/ 1943055 h 4077840"/>
                <a:gd name="connsiteX672" fmla="*/ 7230141 w 12084394"/>
                <a:gd name="connsiteY672" fmla="*/ 1851069 h 4077840"/>
                <a:gd name="connsiteX673" fmla="*/ 7322128 w 12084394"/>
                <a:gd name="connsiteY673" fmla="*/ 1759082 h 4077840"/>
                <a:gd name="connsiteX674" fmla="*/ 6810062 w 12084394"/>
                <a:gd name="connsiteY674" fmla="*/ 1759082 h 4077840"/>
                <a:gd name="connsiteX675" fmla="*/ 6902048 w 12084394"/>
                <a:gd name="connsiteY675" fmla="*/ 1851069 h 4077840"/>
                <a:gd name="connsiteX676" fmla="*/ 6810062 w 12084394"/>
                <a:gd name="connsiteY676" fmla="*/ 1943055 h 4077840"/>
                <a:gd name="connsiteX677" fmla="*/ 6718075 w 12084394"/>
                <a:gd name="connsiteY677" fmla="*/ 1851069 h 4077840"/>
                <a:gd name="connsiteX678" fmla="*/ 6810062 w 12084394"/>
                <a:gd name="connsiteY678" fmla="*/ 1759082 h 4077840"/>
                <a:gd name="connsiteX679" fmla="*/ 6298186 w 12084394"/>
                <a:gd name="connsiteY679" fmla="*/ 1759082 h 4077840"/>
                <a:gd name="connsiteX680" fmla="*/ 6390172 w 12084394"/>
                <a:gd name="connsiteY680" fmla="*/ 1851069 h 4077840"/>
                <a:gd name="connsiteX681" fmla="*/ 6298186 w 12084394"/>
                <a:gd name="connsiteY681" fmla="*/ 1943055 h 4077840"/>
                <a:gd name="connsiteX682" fmla="*/ 6206198 w 12084394"/>
                <a:gd name="connsiteY682" fmla="*/ 1851069 h 4077840"/>
                <a:gd name="connsiteX683" fmla="*/ 6298186 w 12084394"/>
                <a:gd name="connsiteY683" fmla="*/ 1759082 h 4077840"/>
                <a:gd name="connsiteX684" fmla="*/ 5786126 w 12084394"/>
                <a:gd name="connsiteY684" fmla="*/ 1759082 h 4077840"/>
                <a:gd name="connsiteX685" fmla="*/ 5878110 w 12084394"/>
                <a:gd name="connsiteY685" fmla="*/ 1851069 h 4077840"/>
                <a:gd name="connsiteX686" fmla="*/ 5786126 w 12084394"/>
                <a:gd name="connsiteY686" fmla="*/ 1943055 h 4077840"/>
                <a:gd name="connsiteX687" fmla="*/ 5694144 w 12084394"/>
                <a:gd name="connsiteY687" fmla="*/ 1851069 h 4077840"/>
                <a:gd name="connsiteX688" fmla="*/ 5786126 w 12084394"/>
                <a:gd name="connsiteY688" fmla="*/ 1759082 h 4077840"/>
                <a:gd name="connsiteX689" fmla="*/ 5274270 w 12084394"/>
                <a:gd name="connsiteY689" fmla="*/ 1759082 h 4077840"/>
                <a:gd name="connsiteX690" fmla="*/ 5366255 w 12084394"/>
                <a:gd name="connsiteY690" fmla="*/ 1851069 h 4077840"/>
                <a:gd name="connsiteX691" fmla="*/ 5274270 w 12084394"/>
                <a:gd name="connsiteY691" fmla="*/ 1943055 h 4077840"/>
                <a:gd name="connsiteX692" fmla="*/ 5182283 w 12084394"/>
                <a:gd name="connsiteY692" fmla="*/ 1851069 h 4077840"/>
                <a:gd name="connsiteX693" fmla="*/ 5274270 w 12084394"/>
                <a:gd name="connsiteY693" fmla="*/ 1759082 h 4077840"/>
                <a:gd name="connsiteX694" fmla="*/ 4762180 w 12084394"/>
                <a:gd name="connsiteY694" fmla="*/ 1759082 h 4077840"/>
                <a:gd name="connsiteX695" fmla="*/ 4854198 w 12084394"/>
                <a:gd name="connsiteY695" fmla="*/ 1851069 h 4077840"/>
                <a:gd name="connsiteX696" fmla="*/ 4762180 w 12084394"/>
                <a:gd name="connsiteY696" fmla="*/ 1943055 h 4077840"/>
                <a:gd name="connsiteX697" fmla="*/ 4670207 w 12084394"/>
                <a:gd name="connsiteY697" fmla="*/ 1851069 h 4077840"/>
                <a:gd name="connsiteX698" fmla="*/ 4762180 w 12084394"/>
                <a:gd name="connsiteY698" fmla="*/ 1759082 h 4077840"/>
                <a:gd name="connsiteX699" fmla="*/ 4250316 w 12084394"/>
                <a:gd name="connsiteY699" fmla="*/ 1759082 h 4077840"/>
                <a:gd name="connsiteX700" fmla="*/ 4342309 w 12084394"/>
                <a:gd name="connsiteY700" fmla="*/ 1851069 h 4077840"/>
                <a:gd name="connsiteX701" fmla="*/ 4250316 w 12084394"/>
                <a:gd name="connsiteY701" fmla="*/ 1943055 h 4077840"/>
                <a:gd name="connsiteX702" fmla="*/ 4158324 w 12084394"/>
                <a:gd name="connsiteY702" fmla="*/ 1851069 h 4077840"/>
                <a:gd name="connsiteX703" fmla="*/ 4250316 w 12084394"/>
                <a:gd name="connsiteY703" fmla="*/ 1759082 h 4077840"/>
                <a:gd name="connsiteX704" fmla="*/ 3738289 w 12084394"/>
                <a:gd name="connsiteY704" fmla="*/ 1759082 h 4077840"/>
                <a:gd name="connsiteX705" fmla="*/ 3830274 w 12084394"/>
                <a:gd name="connsiteY705" fmla="*/ 1851069 h 4077840"/>
                <a:gd name="connsiteX706" fmla="*/ 3738289 w 12084394"/>
                <a:gd name="connsiteY706" fmla="*/ 1943055 h 4077840"/>
                <a:gd name="connsiteX707" fmla="*/ 3646291 w 12084394"/>
                <a:gd name="connsiteY707" fmla="*/ 1851069 h 4077840"/>
                <a:gd name="connsiteX708" fmla="*/ 3738289 w 12084394"/>
                <a:gd name="connsiteY708" fmla="*/ 1759082 h 4077840"/>
                <a:gd name="connsiteX709" fmla="*/ 3226242 w 12084394"/>
                <a:gd name="connsiteY709" fmla="*/ 1759082 h 4077840"/>
                <a:gd name="connsiteX710" fmla="*/ 3318235 w 12084394"/>
                <a:gd name="connsiteY710" fmla="*/ 1851069 h 4077840"/>
                <a:gd name="connsiteX711" fmla="*/ 3226242 w 12084394"/>
                <a:gd name="connsiteY711" fmla="*/ 1943055 h 4077840"/>
                <a:gd name="connsiteX712" fmla="*/ 3134252 w 12084394"/>
                <a:gd name="connsiteY712" fmla="*/ 1851069 h 4077840"/>
                <a:gd name="connsiteX713" fmla="*/ 3226242 w 12084394"/>
                <a:gd name="connsiteY713" fmla="*/ 1759082 h 4077840"/>
                <a:gd name="connsiteX714" fmla="*/ 2714363 w 12084394"/>
                <a:gd name="connsiteY714" fmla="*/ 1759082 h 4077840"/>
                <a:gd name="connsiteX715" fmla="*/ 2806350 w 12084394"/>
                <a:gd name="connsiteY715" fmla="*/ 1851069 h 4077840"/>
                <a:gd name="connsiteX716" fmla="*/ 2714363 w 12084394"/>
                <a:gd name="connsiteY716" fmla="*/ 1943055 h 4077840"/>
                <a:gd name="connsiteX717" fmla="*/ 2622376 w 12084394"/>
                <a:gd name="connsiteY717" fmla="*/ 1851069 h 4077840"/>
                <a:gd name="connsiteX718" fmla="*/ 2714363 w 12084394"/>
                <a:gd name="connsiteY718" fmla="*/ 1759082 h 4077840"/>
                <a:gd name="connsiteX719" fmla="*/ 2202305 w 12084394"/>
                <a:gd name="connsiteY719" fmla="*/ 1759082 h 4077840"/>
                <a:gd name="connsiteX720" fmla="*/ 2294291 w 12084394"/>
                <a:gd name="connsiteY720" fmla="*/ 1851069 h 4077840"/>
                <a:gd name="connsiteX721" fmla="*/ 2202305 w 12084394"/>
                <a:gd name="connsiteY721" fmla="*/ 1943055 h 4077840"/>
                <a:gd name="connsiteX722" fmla="*/ 2110320 w 12084394"/>
                <a:gd name="connsiteY722" fmla="*/ 1851069 h 4077840"/>
                <a:gd name="connsiteX723" fmla="*/ 2202305 w 12084394"/>
                <a:gd name="connsiteY723" fmla="*/ 1759082 h 4077840"/>
                <a:gd name="connsiteX724" fmla="*/ 1690412 w 12084394"/>
                <a:gd name="connsiteY724" fmla="*/ 1759082 h 4077840"/>
                <a:gd name="connsiteX725" fmla="*/ 1782398 w 12084394"/>
                <a:gd name="connsiteY725" fmla="*/ 1851069 h 4077840"/>
                <a:gd name="connsiteX726" fmla="*/ 1690412 w 12084394"/>
                <a:gd name="connsiteY726" fmla="*/ 1943055 h 4077840"/>
                <a:gd name="connsiteX727" fmla="*/ 1598426 w 12084394"/>
                <a:gd name="connsiteY727" fmla="*/ 1851069 h 4077840"/>
                <a:gd name="connsiteX728" fmla="*/ 1690412 w 12084394"/>
                <a:gd name="connsiteY728" fmla="*/ 1759082 h 4077840"/>
                <a:gd name="connsiteX729" fmla="*/ 1178353 w 12084394"/>
                <a:gd name="connsiteY729" fmla="*/ 1759082 h 4077840"/>
                <a:gd name="connsiteX730" fmla="*/ 1270339 w 12084394"/>
                <a:gd name="connsiteY730" fmla="*/ 1851069 h 4077840"/>
                <a:gd name="connsiteX731" fmla="*/ 1178353 w 12084394"/>
                <a:gd name="connsiteY731" fmla="*/ 1943055 h 4077840"/>
                <a:gd name="connsiteX732" fmla="*/ 1086367 w 12084394"/>
                <a:gd name="connsiteY732" fmla="*/ 1851069 h 4077840"/>
                <a:gd name="connsiteX733" fmla="*/ 1178353 w 12084394"/>
                <a:gd name="connsiteY733" fmla="*/ 1759082 h 4077840"/>
                <a:gd name="connsiteX734" fmla="*/ 666483 w 12084394"/>
                <a:gd name="connsiteY734" fmla="*/ 1759082 h 4077840"/>
                <a:gd name="connsiteX735" fmla="*/ 758469 w 12084394"/>
                <a:gd name="connsiteY735" fmla="*/ 1851069 h 4077840"/>
                <a:gd name="connsiteX736" fmla="*/ 666483 w 12084394"/>
                <a:gd name="connsiteY736" fmla="*/ 1943055 h 4077840"/>
                <a:gd name="connsiteX737" fmla="*/ 574497 w 12084394"/>
                <a:gd name="connsiteY737" fmla="*/ 1851069 h 4077840"/>
                <a:gd name="connsiteX738" fmla="*/ 666483 w 12084394"/>
                <a:gd name="connsiteY738" fmla="*/ 1759082 h 4077840"/>
                <a:gd name="connsiteX739" fmla="*/ 154424 w 12084394"/>
                <a:gd name="connsiteY739" fmla="*/ 1759082 h 4077840"/>
                <a:gd name="connsiteX740" fmla="*/ 246411 w 12084394"/>
                <a:gd name="connsiteY740" fmla="*/ 1851069 h 4077840"/>
                <a:gd name="connsiteX741" fmla="*/ 154424 w 12084394"/>
                <a:gd name="connsiteY741" fmla="*/ 1943055 h 4077840"/>
                <a:gd name="connsiteX742" fmla="*/ 62438 w 12084394"/>
                <a:gd name="connsiteY742" fmla="*/ 1851069 h 4077840"/>
                <a:gd name="connsiteX743" fmla="*/ 154424 w 12084394"/>
                <a:gd name="connsiteY743" fmla="*/ 1759082 h 4077840"/>
                <a:gd name="connsiteX744" fmla="*/ 11929965 w 12084394"/>
                <a:gd name="connsiteY744" fmla="*/ 1319549 h 4077840"/>
                <a:gd name="connsiteX745" fmla="*/ 12007597 w 12084394"/>
                <a:gd name="connsiteY745" fmla="*/ 1397181 h 4077840"/>
                <a:gd name="connsiteX746" fmla="*/ 11929965 w 12084394"/>
                <a:gd name="connsiteY746" fmla="*/ 1474811 h 4077840"/>
                <a:gd name="connsiteX747" fmla="*/ 11852334 w 12084394"/>
                <a:gd name="connsiteY747" fmla="*/ 1397181 h 4077840"/>
                <a:gd name="connsiteX748" fmla="*/ 11929965 w 12084394"/>
                <a:gd name="connsiteY748" fmla="*/ 1319549 h 4077840"/>
                <a:gd name="connsiteX749" fmla="*/ 11417900 w 12084394"/>
                <a:gd name="connsiteY749" fmla="*/ 1319549 h 4077840"/>
                <a:gd name="connsiteX750" fmla="*/ 11495531 w 12084394"/>
                <a:gd name="connsiteY750" fmla="*/ 1397181 h 4077840"/>
                <a:gd name="connsiteX751" fmla="*/ 11417900 w 12084394"/>
                <a:gd name="connsiteY751" fmla="*/ 1474811 h 4077840"/>
                <a:gd name="connsiteX752" fmla="*/ 11340268 w 12084394"/>
                <a:gd name="connsiteY752" fmla="*/ 1397181 h 4077840"/>
                <a:gd name="connsiteX753" fmla="*/ 11417900 w 12084394"/>
                <a:gd name="connsiteY753" fmla="*/ 1319549 h 4077840"/>
                <a:gd name="connsiteX754" fmla="*/ 10906023 w 12084394"/>
                <a:gd name="connsiteY754" fmla="*/ 1319549 h 4077840"/>
                <a:gd name="connsiteX755" fmla="*/ 10983654 w 12084394"/>
                <a:gd name="connsiteY755" fmla="*/ 1397181 h 4077840"/>
                <a:gd name="connsiteX756" fmla="*/ 10906023 w 12084394"/>
                <a:gd name="connsiteY756" fmla="*/ 1474811 h 4077840"/>
                <a:gd name="connsiteX757" fmla="*/ 10828392 w 12084394"/>
                <a:gd name="connsiteY757" fmla="*/ 1397181 h 4077840"/>
                <a:gd name="connsiteX758" fmla="*/ 10906023 w 12084394"/>
                <a:gd name="connsiteY758" fmla="*/ 1319549 h 4077840"/>
                <a:gd name="connsiteX759" fmla="*/ 10393956 w 12084394"/>
                <a:gd name="connsiteY759" fmla="*/ 1319549 h 4077840"/>
                <a:gd name="connsiteX760" fmla="*/ 10471588 w 12084394"/>
                <a:gd name="connsiteY760" fmla="*/ 1397181 h 4077840"/>
                <a:gd name="connsiteX761" fmla="*/ 10393956 w 12084394"/>
                <a:gd name="connsiteY761" fmla="*/ 1474811 h 4077840"/>
                <a:gd name="connsiteX762" fmla="*/ 10316325 w 12084394"/>
                <a:gd name="connsiteY762" fmla="*/ 1397181 h 4077840"/>
                <a:gd name="connsiteX763" fmla="*/ 10393956 w 12084394"/>
                <a:gd name="connsiteY763" fmla="*/ 1319549 h 4077840"/>
                <a:gd name="connsiteX764" fmla="*/ 9882080 w 12084394"/>
                <a:gd name="connsiteY764" fmla="*/ 1319549 h 4077840"/>
                <a:gd name="connsiteX765" fmla="*/ 9959711 w 12084394"/>
                <a:gd name="connsiteY765" fmla="*/ 1397181 h 4077840"/>
                <a:gd name="connsiteX766" fmla="*/ 9882080 w 12084394"/>
                <a:gd name="connsiteY766" fmla="*/ 1474811 h 4077840"/>
                <a:gd name="connsiteX767" fmla="*/ 9804449 w 12084394"/>
                <a:gd name="connsiteY767" fmla="*/ 1397181 h 4077840"/>
                <a:gd name="connsiteX768" fmla="*/ 9882080 w 12084394"/>
                <a:gd name="connsiteY768" fmla="*/ 1319549 h 4077840"/>
                <a:gd name="connsiteX769" fmla="*/ 9370013 w 12084394"/>
                <a:gd name="connsiteY769" fmla="*/ 1319549 h 4077840"/>
                <a:gd name="connsiteX770" fmla="*/ 9447645 w 12084394"/>
                <a:gd name="connsiteY770" fmla="*/ 1397181 h 4077840"/>
                <a:gd name="connsiteX771" fmla="*/ 9370013 w 12084394"/>
                <a:gd name="connsiteY771" fmla="*/ 1474811 h 4077840"/>
                <a:gd name="connsiteX772" fmla="*/ 9292382 w 12084394"/>
                <a:gd name="connsiteY772" fmla="*/ 1397181 h 4077840"/>
                <a:gd name="connsiteX773" fmla="*/ 9370013 w 12084394"/>
                <a:gd name="connsiteY773" fmla="*/ 1319549 h 4077840"/>
                <a:gd name="connsiteX774" fmla="*/ 8858136 w 12084394"/>
                <a:gd name="connsiteY774" fmla="*/ 1319549 h 4077840"/>
                <a:gd name="connsiteX775" fmla="*/ 8935768 w 12084394"/>
                <a:gd name="connsiteY775" fmla="*/ 1397181 h 4077840"/>
                <a:gd name="connsiteX776" fmla="*/ 8858136 w 12084394"/>
                <a:gd name="connsiteY776" fmla="*/ 1474811 h 4077840"/>
                <a:gd name="connsiteX777" fmla="*/ 8780505 w 12084394"/>
                <a:gd name="connsiteY777" fmla="*/ 1397181 h 4077840"/>
                <a:gd name="connsiteX778" fmla="*/ 8858136 w 12084394"/>
                <a:gd name="connsiteY778" fmla="*/ 1319549 h 4077840"/>
                <a:gd name="connsiteX779" fmla="*/ 8346071 w 12084394"/>
                <a:gd name="connsiteY779" fmla="*/ 1319549 h 4077840"/>
                <a:gd name="connsiteX780" fmla="*/ 8423702 w 12084394"/>
                <a:gd name="connsiteY780" fmla="*/ 1397181 h 4077840"/>
                <a:gd name="connsiteX781" fmla="*/ 8346071 w 12084394"/>
                <a:gd name="connsiteY781" fmla="*/ 1474811 h 4077840"/>
                <a:gd name="connsiteX782" fmla="*/ 8268439 w 12084394"/>
                <a:gd name="connsiteY782" fmla="*/ 1397181 h 4077840"/>
                <a:gd name="connsiteX783" fmla="*/ 8346071 w 12084394"/>
                <a:gd name="connsiteY783" fmla="*/ 1319549 h 4077840"/>
                <a:gd name="connsiteX784" fmla="*/ 7834193 w 12084394"/>
                <a:gd name="connsiteY784" fmla="*/ 1319549 h 4077840"/>
                <a:gd name="connsiteX785" fmla="*/ 7911825 w 12084394"/>
                <a:gd name="connsiteY785" fmla="*/ 1397181 h 4077840"/>
                <a:gd name="connsiteX786" fmla="*/ 7834193 w 12084394"/>
                <a:gd name="connsiteY786" fmla="*/ 1474811 h 4077840"/>
                <a:gd name="connsiteX787" fmla="*/ 7756562 w 12084394"/>
                <a:gd name="connsiteY787" fmla="*/ 1397181 h 4077840"/>
                <a:gd name="connsiteX788" fmla="*/ 7834193 w 12084394"/>
                <a:gd name="connsiteY788" fmla="*/ 1319549 h 4077840"/>
                <a:gd name="connsiteX789" fmla="*/ 7322128 w 12084394"/>
                <a:gd name="connsiteY789" fmla="*/ 1319549 h 4077840"/>
                <a:gd name="connsiteX790" fmla="*/ 7399759 w 12084394"/>
                <a:gd name="connsiteY790" fmla="*/ 1397181 h 4077840"/>
                <a:gd name="connsiteX791" fmla="*/ 7322128 w 12084394"/>
                <a:gd name="connsiteY791" fmla="*/ 1474811 h 4077840"/>
                <a:gd name="connsiteX792" fmla="*/ 7244496 w 12084394"/>
                <a:gd name="connsiteY792" fmla="*/ 1397181 h 4077840"/>
                <a:gd name="connsiteX793" fmla="*/ 7322128 w 12084394"/>
                <a:gd name="connsiteY793" fmla="*/ 1319549 h 4077840"/>
                <a:gd name="connsiteX794" fmla="*/ 6810251 w 12084394"/>
                <a:gd name="connsiteY794" fmla="*/ 1319549 h 4077840"/>
                <a:gd name="connsiteX795" fmla="*/ 6887882 w 12084394"/>
                <a:gd name="connsiteY795" fmla="*/ 1397181 h 4077840"/>
                <a:gd name="connsiteX796" fmla="*/ 6810251 w 12084394"/>
                <a:gd name="connsiteY796" fmla="*/ 1474811 h 4077840"/>
                <a:gd name="connsiteX797" fmla="*/ 6732619 w 12084394"/>
                <a:gd name="connsiteY797" fmla="*/ 1397181 h 4077840"/>
                <a:gd name="connsiteX798" fmla="*/ 6810251 w 12084394"/>
                <a:gd name="connsiteY798" fmla="*/ 1319549 h 4077840"/>
                <a:gd name="connsiteX799" fmla="*/ 6298184 w 12084394"/>
                <a:gd name="connsiteY799" fmla="*/ 1319549 h 4077840"/>
                <a:gd name="connsiteX800" fmla="*/ 6375816 w 12084394"/>
                <a:gd name="connsiteY800" fmla="*/ 1397181 h 4077840"/>
                <a:gd name="connsiteX801" fmla="*/ 6298184 w 12084394"/>
                <a:gd name="connsiteY801" fmla="*/ 1474811 h 4077840"/>
                <a:gd name="connsiteX802" fmla="*/ 6220554 w 12084394"/>
                <a:gd name="connsiteY802" fmla="*/ 1397181 h 4077840"/>
                <a:gd name="connsiteX803" fmla="*/ 6298184 w 12084394"/>
                <a:gd name="connsiteY803" fmla="*/ 1319549 h 4077840"/>
                <a:gd name="connsiteX804" fmla="*/ 5786126 w 12084394"/>
                <a:gd name="connsiteY804" fmla="*/ 1319549 h 4077840"/>
                <a:gd name="connsiteX805" fmla="*/ 5863754 w 12084394"/>
                <a:gd name="connsiteY805" fmla="*/ 1397181 h 4077840"/>
                <a:gd name="connsiteX806" fmla="*/ 5786126 w 12084394"/>
                <a:gd name="connsiteY806" fmla="*/ 1474811 h 4077840"/>
                <a:gd name="connsiteX807" fmla="*/ 5708497 w 12084394"/>
                <a:gd name="connsiteY807" fmla="*/ 1397181 h 4077840"/>
                <a:gd name="connsiteX808" fmla="*/ 5786126 w 12084394"/>
                <a:gd name="connsiteY808" fmla="*/ 1319549 h 4077840"/>
                <a:gd name="connsiteX809" fmla="*/ 5274270 w 12084394"/>
                <a:gd name="connsiteY809" fmla="*/ 1319549 h 4077840"/>
                <a:gd name="connsiteX810" fmla="*/ 5351901 w 12084394"/>
                <a:gd name="connsiteY810" fmla="*/ 1397181 h 4077840"/>
                <a:gd name="connsiteX811" fmla="*/ 5274270 w 12084394"/>
                <a:gd name="connsiteY811" fmla="*/ 1474811 h 4077840"/>
                <a:gd name="connsiteX812" fmla="*/ 5196640 w 12084394"/>
                <a:gd name="connsiteY812" fmla="*/ 1397181 h 4077840"/>
                <a:gd name="connsiteX813" fmla="*/ 5274270 w 12084394"/>
                <a:gd name="connsiteY813" fmla="*/ 1319549 h 4077840"/>
                <a:gd name="connsiteX814" fmla="*/ 4762180 w 12084394"/>
                <a:gd name="connsiteY814" fmla="*/ 1319549 h 4077840"/>
                <a:gd name="connsiteX815" fmla="*/ 4839836 w 12084394"/>
                <a:gd name="connsiteY815" fmla="*/ 1397181 h 4077840"/>
                <a:gd name="connsiteX816" fmla="*/ 4762180 w 12084394"/>
                <a:gd name="connsiteY816" fmla="*/ 1474811 h 4077840"/>
                <a:gd name="connsiteX817" fmla="*/ 4684568 w 12084394"/>
                <a:gd name="connsiteY817" fmla="*/ 1397181 h 4077840"/>
                <a:gd name="connsiteX818" fmla="*/ 4762180 w 12084394"/>
                <a:gd name="connsiteY818" fmla="*/ 1319549 h 4077840"/>
                <a:gd name="connsiteX819" fmla="*/ 4250316 w 12084394"/>
                <a:gd name="connsiteY819" fmla="*/ 1319549 h 4077840"/>
                <a:gd name="connsiteX820" fmla="*/ 4327952 w 12084394"/>
                <a:gd name="connsiteY820" fmla="*/ 1397181 h 4077840"/>
                <a:gd name="connsiteX821" fmla="*/ 4250316 w 12084394"/>
                <a:gd name="connsiteY821" fmla="*/ 1474811 h 4077840"/>
                <a:gd name="connsiteX822" fmla="*/ 4172680 w 12084394"/>
                <a:gd name="connsiteY822" fmla="*/ 1397181 h 4077840"/>
                <a:gd name="connsiteX823" fmla="*/ 4250316 w 12084394"/>
                <a:gd name="connsiteY823" fmla="*/ 1319549 h 4077840"/>
                <a:gd name="connsiteX824" fmla="*/ 3738287 w 12084394"/>
                <a:gd name="connsiteY824" fmla="*/ 1319549 h 4077840"/>
                <a:gd name="connsiteX825" fmla="*/ 3815917 w 12084394"/>
                <a:gd name="connsiteY825" fmla="*/ 1397181 h 4077840"/>
                <a:gd name="connsiteX826" fmla="*/ 3738287 w 12084394"/>
                <a:gd name="connsiteY826" fmla="*/ 1474811 h 4077840"/>
                <a:gd name="connsiteX827" fmla="*/ 3660647 w 12084394"/>
                <a:gd name="connsiteY827" fmla="*/ 1397181 h 4077840"/>
                <a:gd name="connsiteX828" fmla="*/ 3738287 w 12084394"/>
                <a:gd name="connsiteY828" fmla="*/ 1319549 h 4077840"/>
                <a:gd name="connsiteX829" fmla="*/ 3226239 w 12084394"/>
                <a:gd name="connsiteY829" fmla="*/ 1319549 h 4077840"/>
                <a:gd name="connsiteX830" fmla="*/ 3303877 w 12084394"/>
                <a:gd name="connsiteY830" fmla="*/ 1397181 h 4077840"/>
                <a:gd name="connsiteX831" fmla="*/ 3226239 w 12084394"/>
                <a:gd name="connsiteY831" fmla="*/ 1474811 h 4077840"/>
                <a:gd name="connsiteX832" fmla="*/ 3148605 w 12084394"/>
                <a:gd name="connsiteY832" fmla="*/ 1397181 h 4077840"/>
                <a:gd name="connsiteX833" fmla="*/ 3226239 w 12084394"/>
                <a:gd name="connsiteY833" fmla="*/ 1319549 h 4077840"/>
                <a:gd name="connsiteX834" fmla="*/ 2714362 w 12084394"/>
                <a:gd name="connsiteY834" fmla="*/ 1319549 h 4077840"/>
                <a:gd name="connsiteX835" fmla="*/ 2791993 w 12084394"/>
                <a:gd name="connsiteY835" fmla="*/ 1397181 h 4077840"/>
                <a:gd name="connsiteX836" fmla="*/ 2714362 w 12084394"/>
                <a:gd name="connsiteY836" fmla="*/ 1474811 h 4077840"/>
                <a:gd name="connsiteX837" fmla="*/ 2636733 w 12084394"/>
                <a:gd name="connsiteY837" fmla="*/ 1397181 h 4077840"/>
                <a:gd name="connsiteX838" fmla="*/ 2714362 w 12084394"/>
                <a:gd name="connsiteY838" fmla="*/ 1319549 h 4077840"/>
                <a:gd name="connsiteX839" fmla="*/ 2202305 w 12084394"/>
                <a:gd name="connsiteY839" fmla="*/ 1319549 h 4077840"/>
                <a:gd name="connsiteX840" fmla="*/ 2279935 w 12084394"/>
                <a:gd name="connsiteY840" fmla="*/ 1397181 h 4077840"/>
                <a:gd name="connsiteX841" fmla="*/ 2202305 w 12084394"/>
                <a:gd name="connsiteY841" fmla="*/ 1474811 h 4077840"/>
                <a:gd name="connsiteX842" fmla="*/ 2124675 w 12084394"/>
                <a:gd name="connsiteY842" fmla="*/ 1397181 h 4077840"/>
                <a:gd name="connsiteX843" fmla="*/ 2202305 w 12084394"/>
                <a:gd name="connsiteY843" fmla="*/ 1319549 h 4077840"/>
                <a:gd name="connsiteX844" fmla="*/ 1690412 w 12084394"/>
                <a:gd name="connsiteY844" fmla="*/ 1319549 h 4077840"/>
                <a:gd name="connsiteX845" fmla="*/ 1768043 w 12084394"/>
                <a:gd name="connsiteY845" fmla="*/ 1397181 h 4077840"/>
                <a:gd name="connsiteX846" fmla="*/ 1690412 w 12084394"/>
                <a:gd name="connsiteY846" fmla="*/ 1474811 h 4077840"/>
                <a:gd name="connsiteX847" fmla="*/ 1612781 w 12084394"/>
                <a:gd name="connsiteY847" fmla="*/ 1397181 h 4077840"/>
                <a:gd name="connsiteX848" fmla="*/ 1690412 w 12084394"/>
                <a:gd name="connsiteY848" fmla="*/ 1319549 h 4077840"/>
                <a:gd name="connsiteX849" fmla="*/ 1178353 w 12084394"/>
                <a:gd name="connsiteY849" fmla="*/ 1319549 h 4077840"/>
                <a:gd name="connsiteX850" fmla="*/ 1255984 w 12084394"/>
                <a:gd name="connsiteY850" fmla="*/ 1397181 h 4077840"/>
                <a:gd name="connsiteX851" fmla="*/ 1178353 w 12084394"/>
                <a:gd name="connsiteY851" fmla="*/ 1474811 h 4077840"/>
                <a:gd name="connsiteX852" fmla="*/ 1100722 w 12084394"/>
                <a:gd name="connsiteY852" fmla="*/ 1397181 h 4077840"/>
                <a:gd name="connsiteX853" fmla="*/ 1178353 w 12084394"/>
                <a:gd name="connsiteY853" fmla="*/ 1319549 h 4077840"/>
                <a:gd name="connsiteX854" fmla="*/ 666483 w 12084394"/>
                <a:gd name="connsiteY854" fmla="*/ 1319549 h 4077840"/>
                <a:gd name="connsiteX855" fmla="*/ 744113 w 12084394"/>
                <a:gd name="connsiteY855" fmla="*/ 1397181 h 4077840"/>
                <a:gd name="connsiteX856" fmla="*/ 666483 w 12084394"/>
                <a:gd name="connsiteY856" fmla="*/ 1474811 h 4077840"/>
                <a:gd name="connsiteX857" fmla="*/ 588852 w 12084394"/>
                <a:gd name="connsiteY857" fmla="*/ 1397181 h 4077840"/>
                <a:gd name="connsiteX858" fmla="*/ 666483 w 12084394"/>
                <a:gd name="connsiteY858" fmla="*/ 1319549 h 4077840"/>
                <a:gd name="connsiteX859" fmla="*/ 154424 w 12084394"/>
                <a:gd name="connsiteY859" fmla="*/ 1319549 h 4077840"/>
                <a:gd name="connsiteX860" fmla="*/ 232055 w 12084394"/>
                <a:gd name="connsiteY860" fmla="*/ 1397181 h 4077840"/>
                <a:gd name="connsiteX861" fmla="*/ 154424 w 12084394"/>
                <a:gd name="connsiteY861" fmla="*/ 1474811 h 4077840"/>
                <a:gd name="connsiteX862" fmla="*/ 76793 w 12084394"/>
                <a:gd name="connsiteY862" fmla="*/ 1397181 h 4077840"/>
                <a:gd name="connsiteX863" fmla="*/ 154424 w 12084394"/>
                <a:gd name="connsiteY863" fmla="*/ 1319549 h 4077840"/>
                <a:gd name="connsiteX864" fmla="*/ 11929965 w 12084394"/>
                <a:gd name="connsiteY864" fmla="*/ 879636 h 4077840"/>
                <a:gd name="connsiteX865" fmla="*/ 11993430 w 12084394"/>
                <a:gd name="connsiteY865" fmla="*/ 943101 h 4077840"/>
                <a:gd name="connsiteX866" fmla="*/ 11929965 w 12084394"/>
                <a:gd name="connsiteY866" fmla="*/ 1006567 h 4077840"/>
                <a:gd name="connsiteX867" fmla="*/ 11866500 w 12084394"/>
                <a:gd name="connsiteY867" fmla="*/ 943101 h 4077840"/>
                <a:gd name="connsiteX868" fmla="*/ 11929965 w 12084394"/>
                <a:gd name="connsiteY868" fmla="*/ 879636 h 4077840"/>
                <a:gd name="connsiteX869" fmla="*/ 11417899 w 12084394"/>
                <a:gd name="connsiteY869" fmla="*/ 879636 h 4077840"/>
                <a:gd name="connsiteX870" fmla="*/ 11481364 w 12084394"/>
                <a:gd name="connsiteY870" fmla="*/ 943101 h 4077840"/>
                <a:gd name="connsiteX871" fmla="*/ 11417899 w 12084394"/>
                <a:gd name="connsiteY871" fmla="*/ 1006567 h 4077840"/>
                <a:gd name="connsiteX872" fmla="*/ 11354434 w 12084394"/>
                <a:gd name="connsiteY872" fmla="*/ 943101 h 4077840"/>
                <a:gd name="connsiteX873" fmla="*/ 11417899 w 12084394"/>
                <a:gd name="connsiteY873" fmla="*/ 879636 h 4077840"/>
                <a:gd name="connsiteX874" fmla="*/ 10906023 w 12084394"/>
                <a:gd name="connsiteY874" fmla="*/ 879636 h 4077840"/>
                <a:gd name="connsiteX875" fmla="*/ 10969488 w 12084394"/>
                <a:gd name="connsiteY875" fmla="*/ 943101 h 4077840"/>
                <a:gd name="connsiteX876" fmla="*/ 10906023 w 12084394"/>
                <a:gd name="connsiteY876" fmla="*/ 1006567 h 4077840"/>
                <a:gd name="connsiteX877" fmla="*/ 10842558 w 12084394"/>
                <a:gd name="connsiteY877" fmla="*/ 943101 h 4077840"/>
                <a:gd name="connsiteX878" fmla="*/ 10906023 w 12084394"/>
                <a:gd name="connsiteY878" fmla="*/ 879636 h 4077840"/>
                <a:gd name="connsiteX879" fmla="*/ 10393956 w 12084394"/>
                <a:gd name="connsiteY879" fmla="*/ 879636 h 4077840"/>
                <a:gd name="connsiteX880" fmla="*/ 10457421 w 12084394"/>
                <a:gd name="connsiteY880" fmla="*/ 943101 h 4077840"/>
                <a:gd name="connsiteX881" fmla="*/ 10393956 w 12084394"/>
                <a:gd name="connsiteY881" fmla="*/ 1006567 h 4077840"/>
                <a:gd name="connsiteX882" fmla="*/ 10330491 w 12084394"/>
                <a:gd name="connsiteY882" fmla="*/ 943101 h 4077840"/>
                <a:gd name="connsiteX883" fmla="*/ 10393956 w 12084394"/>
                <a:gd name="connsiteY883" fmla="*/ 879636 h 4077840"/>
                <a:gd name="connsiteX884" fmla="*/ 9882079 w 12084394"/>
                <a:gd name="connsiteY884" fmla="*/ 879636 h 4077840"/>
                <a:gd name="connsiteX885" fmla="*/ 9945544 w 12084394"/>
                <a:gd name="connsiteY885" fmla="*/ 943101 h 4077840"/>
                <a:gd name="connsiteX886" fmla="*/ 9882079 w 12084394"/>
                <a:gd name="connsiteY886" fmla="*/ 1006567 h 4077840"/>
                <a:gd name="connsiteX887" fmla="*/ 9818615 w 12084394"/>
                <a:gd name="connsiteY887" fmla="*/ 943101 h 4077840"/>
                <a:gd name="connsiteX888" fmla="*/ 9882079 w 12084394"/>
                <a:gd name="connsiteY888" fmla="*/ 879636 h 4077840"/>
                <a:gd name="connsiteX889" fmla="*/ 5274270 w 12084394"/>
                <a:gd name="connsiteY889" fmla="*/ 879636 h 4077840"/>
                <a:gd name="connsiteX890" fmla="*/ 5337733 w 12084394"/>
                <a:gd name="connsiteY890" fmla="*/ 943101 h 4077840"/>
                <a:gd name="connsiteX891" fmla="*/ 5274270 w 12084394"/>
                <a:gd name="connsiteY891" fmla="*/ 1006567 h 4077840"/>
                <a:gd name="connsiteX892" fmla="*/ 5210807 w 12084394"/>
                <a:gd name="connsiteY892" fmla="*/ 943101 h 4077840"/>
                <a:gd name="connsiteX893" fmla="*/ 5274270 w 12084394"/>
                <a:gd name="connsiteY893" fmla="*/ 879636 h 4077840"/>
                <a:gd name="connsiteX894" fmla="*/ 4762180 w 12084394"/>
                <a:gd name="connsiteY894" fmla="*/ 879636 h 4077840"/>
                <a:gd name="connsiteX895" fmla="*/ 4825668 w 12084394"/>
                <a:gd name="connsiteY895" fmla="*/ 943101 h 4077840"/>
                <a:gd name="connsiteX896" fmla="*/ 4762180 w 12084394"/>
                <a:gd name="connsiteY896" fmla="*/ 1006567 h 4077840"/>
                <a:gd name="connsiteX897" fmla="*/ 4698732 w 12084394"/>
                <a:gd name="connsiteY897" fmla="*/ 943101 h 4077840"/>
                <a:gd name="connsiteX898" fmla="*/ 4762180 w 12084394"/>
                <a:gd name="connsiteY898" fmla="*/ 879636 h 4077840"/>
                <a:gd name="connsiteX899" fmla="*/ 4250316 w 12084394"/>
                <a:gd name="connsiteY899" fmla="*/ 879636 h 4077840"/>
                <a:gd name="connsiteX900" fmla="*/ 4313785 w 12084394"/>
                <a:gd name="connsiteY900" fmla="*/ 943101 h 4077840"/>
                <a:gd name="connsiteX901" fmla="*/ 4250316 w 12084394"/>
                <a:gd name="connsiteY901" fmla="*/ 1006567 h 4077840"/>
                <a:gd name="connsiteX902" fmla="*/ 4186848 w 12084394"/>
                <a:gd name="connsiteY902" fmla="*/ 943101 h 4077840"/>
                <a:gd name="connsiteX903" fmla="*/ 4250316 w 12084394"/>
                <a:gd name="connsiteY903" fmla="*/ 879636 h 4077840"/>
                <a:gd name="connsiteX904" fmla="*/ 3738289 w 12084394"/>
                <a:gd name="connsiteY904" fmla="*/ 879636 h 4077840"/>
                <a:gd name="connsiteX905" fmla="*/ 3801749 w 12084394"/>
                <a:gd name="connsiteY905" fmla="*/ 943101 h 4077840"/>
                <a:gd name="connsiteX906" fmla="*/ 3738289 w 12084394"/>
                <a:gd name="connsiteY906" fmla="*/ 1006567 h 4077840"/>
                <a:gd name="connsiteX907" fmla="*/ 3674814 w 12084394"/>
                <a:gd name="connsiteY907" fmla="*/ 943101 h 4077840"/>
                <a:gd name="connsiteX908" fmla="*/ 3738289 w 12084394"/>
                <a:gd name="connsiteY908" fmla="*/ 879636 h 4077840"/>
                <a:gd name="connsiteX909" fmla="*/ 3226242 w 12084394"/>
                <a:gd name="connsiteY909" fmla="*/ 879636 h 4077840"/>
                <a:gd name="connsiteX910" fmla="*/ 3289709 w 12084394"/>
                <a:gd name="connsiteY910" fmla="*/ 943101 h 4077840"/>
                <a:gd name="connsiteX911" fmla="*/ 3226242 w 12084394"/>
                <a:gd name="connsiteY911" fmla="*/ 1006567 h 4077840"/>
                <a:gd name="connsiteX912" fmla="*/ 3162775 w 12084394"/>
                <a:gd name="connsiteY912" fmla="*/ 943101 h 4077840"/>
                <a:gd name="connsiteX913" fmla="*/ 3226242 w 12084394"/>
                <a:gd name="connsiteY913" fmla="*/ 879636 h 4077840"/>
                <a:gd name="connsiteX914" fmla="*/ 2714362 w 12084394"/>
                <a:gd name="connsiteY914" fmla="*/ 879636 h 4077840"/>
                <a:gd name="connsiteX915" fmla="*/ 2777827 w 12084394"/>
                <a:gd name="connsiteY915" fmla="*/ 943101 h 4077840"/>
                <a:gd name="connsiteX916" fmla="*/ 2714362 w 12084394"/>
                <a:gd name="connsiteY916" fmla="*/ 1006567 h 4077840"/>
                <a:gd name="connsiteX917" fmla="*/ 2650897 w 12084394"/>
                <a:gd name="connsiteY917" fmla="*/ 943101 h 4077840"/>
                <a:gd name="connsiteX918" fmla="*/ 2714362 w 12084394"/>
                <a:gd name="connsiteY918" fmla="*/ 879636 h 4077840"/>
                <a:gd name="connsiteX919" fmla="*/ 2202305 w 12084394"/>
                <a:gd name="connsiteY919" fmla="*/ 879636 h 4077840"/>
                <a:gd name="connsiteX920" fmla="*/ 2265769 w 12084394"/>
                <a:gd name="connsiteY920" fmla="*/ 943101 h 4077840"/>
                <a:gd name="connsiteX921" fmla="*/ 2202305 w 12084394"/>
                <a:gd name="connsiteY921" fmla="*/ 1006567 h 4077840"/>
                <a:gd name="connsiteX922" fmla="*/ 2138841 w 12084394"/>
                <a:gd name="connsiteY922" fmla="*/ 943101 h 4077840"/>
                <a:gd name="connsiteX923" fmla="*/ 2202305 w 12084394"/>
                <a:gd name="connsiteY923" fmla="*/ 879636 h 4077840"/>
                <a:gd name="connsiteX924" fmla="*/ 1690412 w 12084394"/>
                <a:gd name="connsiteY924" fmla="*/ 879636 h 4077840"/>
                <a:gd name="connsiteX925" fmla="*/ 1753877 w 12084394"/>
                <a:gd name="connsiteY925" fmla="*/ 943101 h 4077840"/>
                <a:gd name="connsiteX926" fmla="*/ 1690412 w 12084394"/>
                <a:gd name="connsiteY926" fmla="*/ 1006567 h 4077840"/>
                <a:gd name="connsiteX927" fmla="*/ 1626948 w 12084394"/>
                <a:gd name="connsiteY927" fmla="*/ 943101 h 4077840"/>
                <a:gd name="connsiteX928" fmla="*/ 1690412 w 12084394"/>
                <a:gd name="connsiteY928" fmla="*/ 879636 h 4077840"/>
                <a:gd name="connsiteX929" fmla="*/ 1178353 w 12084394"/>
                <a:gd name="connsiteY929" fmla="*/ 879636 h 4077840"/>
                <a:gd name="connsiteX930" fmla="*/ 1241817 w 12084394"/>
                <a:gd name="connsiteY930" fmla="*/ 943101 h 4077840"/>
                <a:gd name="connsiteX931" fmla="*/ 1178353 w 12084394"/>
                <a:gd name="connsiteY931" fmla="*/ 1006567 h 4077840"/>
                <a:gd name="connsiteX932" fmla="*/ 1114888 w 12084394"/>
                <a:gd name="connsiteY932" fmla="*/ 943101 h 4077840"/>
                <a:gd name="connsiteX933" fmla="*/ 1178353 w 12084394"/>
                <a:gd name="connsiteY933" fmla="*/ 879636 h 4077840"/>
                <a:gd name="connsiteX934" fmla="*/ 666483 w 12084394"/>
                <a:gd name="connsiteY934" fmla="*/ 879636 h 4077840"/>
                <a:gd name="connsiteX935" fmla="*/ 729947 w 12084394"/>
                <a:gd name="connsiteY935" fmla="*/ 943101 h 4077840"/>
                <a:gd name="connsiteX936" fmla="*/ 666483 w 12084394"/>
                <a:gd name="connsiteY936" fmla="*/ 1006567 h 4077840"/>
                <a:gd name="connsiteX937" fmla="*/ 603018 w 12084394"/>
                <a:gd name="connsiteY937" fmla="*/ 943101 h 4077840"/>
                <a:gd name="connsiteX938" fmla="*/ 666483 w 12084394"/>
                <a:gd name="connsiteY938" fmla="*/ 879636 h 4077840"/>
                <a:gd name="connsiteX939" fmla="*/ 154424 w 12084394"/>
                <a:gd name="connsiteY939" fmla="*/ 879636 h 4077840"/>
                <a:gd name="connsiteX940" fmla="*/ 217889 w 12084394"/>
                <a:gd name="connsiteY940" fmla="*/ 943101 h 4077840"/>
                <a:gd name="connsiteX941" fmla="*/ 154424 w 12084394"/>
                <a:gd name="connsiteY941" fmla="*/ 1006567 h 4077840"/>
                <a:gd name="connsiteX942" fmla="*/ 90960 w 12084394"/>
                <a:gd name="connsiteY942" fmla="*/ 943101 h 4077840"/>
                <a:gd name="connsiteX943" fmla="*/ 154424 w 12084394"/>
                <a:gd name="connsiteY943" fmla="*/ 879636 h 4077840"/>
                <a:gd name="connsiteX944" fmla="*/ 9370014 w 12084394"/>
                <a:gd name="connsiteY944" fmla="*/ 879635 h 4077840"/>
                <a:gd name="connsiteX945" fmla="*/ 9433479 w 12084394"/>
                <a:gd name="connsiteY945" fmla="*/ 943100 h 4077840"/>
                <a:gd name="connsiteX946" fmla="*/ 9370014 w 12084394"/>
                <a:gd name="connsiteY946" fmla="*/ 1006566 h 4077840"/>
                <a:gd name="connsiteX947" fmla="*/ 9306549 w 12084394"/>
                <a:gd name="connsiteY947" fmla="*/ 943100 h 4077840"/>
                <a:gd name="connsiteX948" fmla="*/ 9370014 w 12084394"/>
                <a:gd name="connsiteY948" fmla="*/ 879635 h 4077840"/>
                <a:gd name="connsiteX949" fmla="*/ 8857948 w 12084394"/>
                <a:gd name="connsiteY949" fmla="*/ 879635 h 4077840"/>
                <a:gd name="connsiteX950" fmla="*/ 8921412 w 12084394"/>
                <a:gd name="connsiteY950" fmla="*/ 943100 h 4077840"/>
                <a:gd name="connsiteX951" fmla="*/ 8857948 w 12084394"/>
                <a:gd name="connsiteY951" fmla="*/ 1006566 h 4077840"/>
                <a:gd name="connsiteX952" fmla="*/ 8794482 w 12084394"/>
                <a:gd name="connsiteY952" fmla="*/ 943100 h 4077840"/>
                <a:gd name="connsiteX953" fmla="*/ 8857948 w 12084394"/>
                <a:gd name="connsiteY953" fmla="*/ 879635 h 4077840"/>
                <a:gd name="connsiteX954" fmla="*/ 8346071 w 12084394"/>
                <a:gd name="connsiteY954" fmla="*/ 879635 h 4077840"/>
                <a:gd name="connsiteX955" fmla="*/ 8409535 w 12084394"/>
                <a:gd name="connsiteY955" fmla="*/ 943100 h 4077840"/>
                <a:gd name="connsiteX956" fmla="*/ 8346071 w 12084394"/>
                <a:gd name="connsiteY956" fmla="*/ 1006566 h 4077840"/>
                <a:gd name="connsiteX957" fmla="*/ 8282605 w 12084394"/>
                <a:gd name="connsiteY957" fmla="*/ 943100 h 4077840"/>
                <a:gd name="connsiteX958" fmla="*/ 8346071 w 12084394"/>
                <a:gd name="connsiteY958" fmla="*/ 879635 h 4077840"/>
                <a:gd name="connsiteX959" fmla="*/ 7834005 w 12084394"/>
                <a:gd name="connsiteY959" fmla="*/ 879635 h 4077840"/>
                <a:gd name="connsiteX960" fmla="*/ 7897470 w 12084394"/>
                <a:gd name="connsiteY960" fmla="*/ 943100 h 4077840"/>
                <a:gd name="connsiteX961" fmla="*/ 7834005 w 12084394"/>
                <a:gd name="connsiteY961" fmla="*/ 1006566 h 4077840"/>
                <a:gd name="connsiteX962" fmla="*/ 7770540 w 12084394"/>
                <a:gd name="connsiteY962" fmla="*/ 943100 h 4077840"/>
                <a:gd name="connsiteX963" fmla="*/ 7834005 w 12084394"/>
                <a:gd name="connsiteY963" fmla="*/ 879635 h 4077840"/>
                <a:gd name="connsiteX964" fmla="*/ 7322128 w 12084394"/>
                <a:gd name="connsiteY964" fmla="*/ 879635 h 4077840"/>
                <a:gd name="connsiteX965" fmla="*/ 7385592 w 12084394"/>
                <a:gd name="connsiteY965" fmla="*/ 943100 h 4077840"/>
                <a:gd name="connsiteX966" fmla="*/ 7322128 w 12084394"/>
                <a:gd name="connsiteY966" fmla="*/ 1006566 h 4077840"/>
                <a:gd name="connsiteX967" fmla="*/ 7258662 w 12084394"/>
                <a:gd name="connsiteY967" fmla="*/ 943100 h 4077840"/>
                <a:gd name="connsiteX968" fmla="*/ 7322128 w 12084394"/>
                <a:gd name="connsiteY968" fmla="*/ 879635 h 4077840"/>
                <a:gd name="connsiteX969" fmla="*/ 6810062 w 12084394"/>
                <a:gd name="connsiteY969" fmla="*/ 879635 h 4077840"/>
                <a:gd name="connsiteX970" fmla="*/ 6873527 w 12084394"/>
                <a:gd name="connsiteY970" fmla="*/ 943100 h 4077840"/>
                <a:gd name="connsiteX971" fmla="*/ 6810062 w 12084394"/>
                <a:gd name="connsiteY971" fmla="*/ 1006566 h 4077840"/>
                <a:gd name="connsiteX972" fmla="*/ 6746597 w 12084394"/>
                <a:gd name="connsiteY972" fmla="*/ 943100 h 4077840"/>
                <a:gd name="connsiteX973" fmla="*/ 6810062 w 12084394"/>
                <a:gd name="connsiteY973" fmla="*/ 879635 h 4077840"/>
                <a:gd name="connsiteX974" fmla="*/ 6298186 w 12084394"/>
                <a:gd name="connsiteY974" fmla="*/ 879635 h 4077840"/>
                <a:gd name="connsiteX975" fmla="*/ 6361650 w 12084394"/>
                <a:gd name="connsiteY975" fmla="*/ 943100 h 4077840"/>
                <a:gd name="connsiteX976" fmla="*/ 6298186 w 12084394"/>
                <a:gd name="connsiteY976" fmla="*/ 1006566 h 4077840"/>
                <a:gd name="connsiteX977" fmla="*/ 6234720 w 12084394"/>
                <a:gd name="connsiteY977" fmla="*/ 943100 h 4077840"/>
                <a:gd name="connsiteX978" fmla="*/ 6298186 w 12084394"/>
                <a:gd name="connsiteY978" fmla="*/ 879635 h 4077840"/>
                <a:gd name="connsiteX979" fmla="*/ 5786126 w 12084394"/>
                <a:gd name="connsiteY979" fmla="*/ 879635 h 4077840"/>
                <a:gd name="connsiteX980" fmla="*/ 5849588 w 12084394"/>
                <a:gd name="connsiteY980" fmla="*/ 943100 h 4077840"/>
                <a:gd name="connsiteX981" fmla="*/ 5786126 w 12084394"/>
                <a:gd name="connsiteY981" fmla="*/ 1006566 h 4077840"/>
                <a:gd name="connsiteX982" fmla="*/ 5722663 w 12084394"/>
                <a:gd name="connsiteY982" fmla="*/ 943100 h 4077840"/>
                <a:gd name="connsiteX983" fmla="*/ 5786126 w 12084394"/>
                <a:gd name="connsiteY983" fmla="*/ 879635 h 4077840"/>
                <a:gd name="connsiteX984" fmla="*/ 11417900 w 12084394"/>
                <a:gd name="connsiteY984" fmla="*/ 439913 h 4077840"/>
                <a:gd name="connsiteX985" fmla="*/ 11467010 w 12084394"/>
                <a:gd name="connsiteY985" fmla="*/ 489022 h 4077840"/>
                <a:gd name="connsiteX986" fmla="*/ 11417900 w 12084394"/>
                <a:gd name="connsiteY986" fmla="*/ 538132 h 4077840"/>
                <a:gd name="connsiteX987" fmla="*/ 11368791 w 12084394"/>
                <a:gd name="connsiteY987" fmla="*/ 489022 h 4077840"/>
                <a:gd name="connsiteX988" fmla="*/ 11417900 w 12084394"/>
                <a:gd name="connsiteY988" fmla="*/ 439913 h 4077840"/>
                <a:gd name="connsiteX989" fmla="*/ 10906024 w 12084394"/>
                <a:gd name="connsiteY989" fmla="*/ 439913 h 4077840"/>
                <a:gd name="connsiteX990" fmla="*/ 10955133 w 12084394"/>
                <a:gd name="connsiteY990" fmla="*/ 489022 h 4077840"/>
                <a:gd name="connsiteX991" fmla="*/ 10906024 w 12084394"/>
                <a:gd name="connsiteY991" fmla="*/ 538132 h 4077840"/>
                <a:gd name="connsiteX992" fmla="*/ 10856914 w 12084394"/>
                <a:gd name="connsiteY992" fmla="*/ 489022 h 4077840"/>
                <a:gd name="connsiteX993" fmla="*/ 10906024 w 12084394"/>
                <a:gd name="connsiteY993" fmla="*/ 439913 h 4077840"/>
                <a:gd name="connsiteX994" fmla="*/ 10393958 w 12084394"/>
                <a:gd name="connsiteY994" fmla="*/ 439913 h 4077840"/>
                <a:gd name="connsiteX995" fmla="*/ 10443067 w 12084394"/>
                <a:gd name="connsiteY995" fmla="*/ 489022 h 4077840"/>
                <a:gd name="connsiteX996" fmla="*/ 10393958 w 12084394"/>
                <a:gd name="connsiteY996" fmla="*/ 538132 h 4077840"/>
                <a:gd name="connsiteX997" fmla="*/ 10344848 w 12084394"/>
                <a:gd name="connsiteY997" fmla="*/ 489022 h 4077840"/>
                <a:gd name="connsiteX998" fmla="*/ 10393958 w 12084394"/>
                <a:gd name="connsiteY998" fmla="*/ 439913 h 4077840"/>
                <a:gd name="connsiteX999" fmla="*/ 9882080 w 12084394"/>
                <a:gd name="connsiteY999" fmla="*/ 439913 h 4077840"/>
                <a:gd name="connsiteX1000" fmla="*/ 9931190 w 12084394"/>
                <a:gd name="connsiteY1000" fmla="*/ 489022 h 4077840"/>
                <a:gd name="connsiteX1001" fmla="*/ 9882080 w 12084394"/>
                <a:gd name="connsiteY1001" fmla="*/ 538132 h 4077840"/>
                <a:gd name="connsiteX1002" fmla="*/ 9832971 w 12084394"/>
                <a:gd name="connsiteY1002" fmla="*/ 489022 h 4077840"/>
                <a:gd name="connsiteX1003" fmla="*/ 9882080 w 12084394"/>
                <a:gd name="connsiteY1003" fmla="*/ 439913 h 4077840"/>
                <a:gd name="connsiteX1004" fmla="*/ 9370013 w 12084394"/>
                <a:gd name="connsiteY1004" fmla="*/ 439913 h 4077840"/>
                <a:gd name="connsiteX1005" fmla="*/ 9419123 w 12084394"/>
                <a:gd name="connsiteY1005" fmla="*/ 489022 h 4077840"/>
                <a:gd name="connsiteX1006" fmla="*/ 9370013 w 12084394"/>
                <a:gd name="connsiteY1006" fmla="*/ 538132 h 4077840"/>
                <a:gd name="connsiteX1007" fmla="*/ 9320903 w 12084394"/>
                <a:gd name="connsiteY1007" fmla="*/ 489022 h 4077840"/>
                <a:gd name="connsiteX1008" fmla="*/ 9370013 w 12084394"/>
                <a:gd name="connsiteY1008" fmla="*/ 439913 h 4077840"/>
                <a:gd name="connsiteX1009" fmla="*/ 8858137 w 12084394"/>
                <a:gd name="connsiteY1009" fmla="*/ 439913 h 4077840"/>
                <a:gd name="connsiteX1010" fmla="*/ 8907247 w 12084394"/>
                <a:gd name="connsiteY1010" fmla="*/ 489022 h 4077840"/>
                <a:gd name="connsiteX1011" fmla="*/ 8858137 w 12084394"/>
                <a:gd name="connsiteY1011" fmla="*/ 538132 h 4077840"/>
                <a:gd name="connsiteX1012" fmla="*/ 8809027 w 12084394"/>
                <a:gd name="connsiteY1012" fmla="*/ 489022 h 4077840"/>
                <a:gd name="connsiteX1013" fmla="*/ 8858137 w 12084394"/>
                <a:gd name="connsiteY1013" fmla="*/ 439913 h 4077840"/>
                <a:gd name="connsiteX1014" fmla="*/ 8346071 w 12084394"/>
                <a:gd name="connsiteY1014" fmla="*/ 439913 h 4077840"/>
                <a:gd name="connsiteX1015" fmla="*/ 8395181 w 12084394"/>
                <a:gd name="connsiteY1015" fmla="*/ 489022 h 4077840"/>
                <a:gd name="connsiteX1016" fmla="*/ 8346071 w 12084394"/>
                <a:gd name="connsiteY1016" fmla="*/ 538132 h 4077840"/>
                <a:gd name="connsiteX1017" fmla="*/ 8296961 w 12084394"/>
                <a:gd name="connsiteY1017" fmla="*/ 489022 h 4077840"/>
                <a:gd name="connsiteX1018" fmla="*/ 8346071 w 12084394"/>
                <a:gd name="connsiteY1018" fmla="*/ 439913 h 4077840"/>
                <a:gd name="connsiteX1019" fmla="*/ 7834193 w 12084394"/>
                <a:gd name="connsiteY1019" fmla="*/ 439913 h 4077840"/>
                <a:gd name="connsiteX1020" fmla="*/ 7883303 w 12084394"/>
                <a:gd name="connsiteY1020" fmla="*/ 489022 h 4077840"/>
                <a:gd name="connsiteX1021" fmla="*/ 7834193 w 12084394"/>
                <a:gd name="connsiteY1021" fmla="*/ 538132 h 4077840"/>
                <a:gd name="connsiteX1022" fmla="*/ 7785083 w 12084394"/>
                <a:gd name="connsiteY1022" fmla="*/ 489022 h 4077840"/>
                <a:gd name="connsiteX1023" fmla="*/ 7834193 w 12084394"/>
                <a:gd name="connsiteY1023" fmla="*/ 439913 h 4077840"/>
                <a:gd name="connsiteX1024" fmla="*/ 7322128 w 12084394"/>
                <a:gd name="connsiteY1024" fmla="*/ 439913 h 4077840"/>
                <a:gd name="connsiteX1025" fmla="*/ 7371238 w 12084394"/>
                <a:gd name="connsiteY1025" fmla="*/ 489022 h 4077840"/>
                <a:gd name="connsiteX1026" fmla="*/ 7322128 w 12084394"/>
                <a:gd name="connsiteY1026" fmla="*/ 538132 h 4077840"/>
                <a:gd name="connsiteX1027" fmla="*/ 7273018 w 12084394"/>
                <a:gd name="connsiteY1027" fmla="*/ 489022 h 4077840"/>
                <a:gd name="connsiteX1028" fmla="*/ 7322128 w 12084394"/>
                <a:gd name="connsiteY1028" fmla="*/ 439913 h 4077840"/>
                <a:gd name="connsiteX1029" fmla="*/ 6810251 w 12084394"/>
                <a:gd name="connsiteY1029" fmla="*/ 439913 h 4077840"/>
                <a:gd name="connsiteX1030" fmla="*/ 6859361 w 12084394"/>
                <a:gd name="connsiteY1030" fmla="*/ 489022 h 4077840"/>
                <a:gd name="connsiteX1031" fmla="*/ 6810251 w 12084394"/>
                <a:gd name="connsiteY1031" fmla="*/ 538132 h 4077840"/>
                <a:gd name="connsiteX1032" fmla="*/ 6761141 w 12084394"/>
                <a:gd name="connsiteY1032" fmla="*/ 489022 h 4077840"/>
                <a:gd name="connsiteX1033" fmla="*/ 6810251 w 12084394"/>
                <a:gd name="connsiteY1033" fmla="*/ 439913 h 4077840"/>
                <a:gd name="connsiteX1034" fmla="*/ 6298184 w 12084394"/>
                <a:gd name="connsiteY1034" fmla="*/ 439913 h 4077840"/>
                <a:gd name="connsiteX1035" fmla="*/ 6347295 w 12084394"/>
                <a:gd name="connsiteY1035" fmla="*/ 489022 h 4077840"/>
                <a:gd name="connsiteX1036" fmla="*/ 6298184 w 12084394"/>
                <a:gd name="connsiteY1036" fmla="*/ 538132 h 4077840"/>
                <a:gd name="connsiteX1037" fmla="*/ 6249074 w 12084394"/>
                <a:gd name="connsiteY1037" fmla="*/ 489022 h 4077840"/>
                <a:gd name="connsiteX1038" fmla="*/ 6298184 w 12084394"/>
                <a:gd name="connsiteY1038" fmla="*/ 439913 h 4077840"/>
                <a:gd name="connsiteX1039" fmla="*/ 5786315 w 12084394"/>
                <a:gd name="connsiteY1039" fmla="*/ 439913 h 4077840"/>
                <a:gd name="connsiteX1040" fmla="*/ 5835423 w 12084394"/>
                <a:gd name="connsiteY1040" fmla="*/ 489022 h 4077840"/>
                <a:gd name="connsiteX1041" fmla="*/ 5786315 w 12084394"/>
                <a:gd name="connsiteY1041" fmla="*/ 538132 h 4077840"/>
                <a:gd name="connsiteX1042" fmla="*/ 5737207 w 12084394"/>
                <a:gd name="connsiteY1042" fmla="*/ 489022 h 4077840"/>
                <a:gd name="connsiteX1043" fmla="*/ 5786315 w 12084394"/>
                <a:gd name="connsiteY1043" fmla="*/ 439913 h 4077840"/>
                <a:gd name="connsiteX1044" fmla="*/ 5274270 w 12084394"/>
                <a:gd name="connsiteY1044" fmla="*/ 439913 h 4077840"/>
                <a:gd name="connsiteX1045" fmla="*/ 5323380 w 12084394"/>
                <a:gd name="connsiteY1045" fmla="*/ 489022 h 4077840"/>
                <a:gd name="connsiteX1046" fmla="*/ 5274270 w 12084394"/>
                <a:gd name="connsiteY1046" fmla="*/ 538132 h 4077840"/>
                <a:gd name="connsiteX1047" fmla="*/ 5225158 w 12084394"/>
                <a:gd name="connsiteY1047" fmla="*/ 489022 h 4077840"/>
                <a:gd name="connsiteX1048" fmla="*/ 5274270 w 12084394"/>
                <a:gd name="connsiteY1048" fmla="*/ 439913 h 4077840"/>
                <a:gd name="connsiteX1049" fmla="*/ 4762180 w 12084394"/>
                <a:gd name="connsiteY1049" fmla="*/ 439913 h 4077840"/>
                <a:gd name="connsiteX1050" fmla="*/ 4811308 w 12084394"/>
                <a:gd name="connsiteY1050" fmla="*/ 489022 h 4077840"/>
                <a:gd name="connsiteX1051" fmla="*/ 4762180 w 12084394"/>
                <a:gd name="connsiteY1051" fmla="*/ 538132 h 4077840"/>
                <a:gd name="connsiteX1052" fmla="*/ 4713081 w 12084394"/>
                <a:gd name="connsiteY1052" fmla="*/ 489022 h 4077840"/>
                <a:gd name="connsiteX1053" fmla="*/ 4762180 w 12084394"/>
                <a:gd name="connsiteY1053" fmla="*/ 439913 h 4077840"/>
                <a:gd name="connsiteX1054" fmla="*/ 4250316 w 12084394"/>
                <a:gd name="connsiteY1054" fmla="*/ 439913 h 4077840"/>
                <a:gd name="connsiteX1055" fmla="*/ 4299428 w 12084394"/>
                <a:gd name="connsiteY1055" fmla="*/ 489022 h 4077840"/>
                <a:gd name="connsiteX1056" fmla="*/ 4250316 w 12084394"/>
                <a:gd name="connsiteY1056" fmla="*/ 538132 h 4077840"/>
                <a:gd name="connsiteX1057" fmla="*/ 4201204 w 12084394"/>
                <a:gd name="connsiteY1057" fmla="*/ 489022 h 4077840"/>
                <a:gd name="connsiteX1058" fmla="*/ 4250316 w 12084394"/>
                <a:gd name="connsiteY1058" fmla="*/ 439913 h 4077840"/>
                <a:gd name="connsiteX1059" fmla="*/ 3738287 w 12084394"/>
                <a:gd name="connsiteY1059" fmla="*/ 439913 h 4077840"/>
                <a:gd name="connsiteX1060" fmla="*/ 3787395 w 12084394"/>
                <a:gd name="connsiteY1060" fmla="*/ 489022 h 4077840"/>
                <a:gd name="connsiteX1061" fmla="*/ 3738287 w 12084394"/>
                <a:gd name="connsiteY1061" fmla="*/ 538132 h 4077840"/>
                <a:gd name="connsiteX1062" fmla="*/ 3689172 w 12084394"/>
                <a:gd name="connsiteY1062" fmla="*/ 489022 h 4077840"/>
                <a:gd name="connsiteX1063" fmla="*/ 3738287 w 12084394"/>
                <a:gd name="connsiteY1063" fmla="*/ 439913 h 4077840"/>
                <a:gd name="connsiteX1064" fmla="*/ 3226241 w 12084394"/>
                <a:gd name="connsiteY1064" fmla="*/ 439913 h 4077840"/>
                <a:gd name="connsiteX1065" fmla="*/ 3275356 w 12084394"/>
                <a:gd name="connsiteY1065" fmla="*/ 489022 h 4077840"/>
                <a:gd name="connsiteX1066" fmla="*/ 3226241 w 12084394"/>
                <a:gd name="connsiteY1066" fmla="*/ 538132 h 4077840"/>
                <a:gd name="connsiteX1067" fmla="*/ 3177127 w 12084394"/>
                <a:gd name="connsiteY1067" fmla="*/ 489022 h 4077840"/>
                <a:gd name="connsiteX1068" fmla="*/ 3226241 w 12084394"/>
                <a:gd name="connsiteY1068" fmla="*/ 439913 h 4077840"/>
                <a:gd name="connsiteX1069" fmla="*/ 2714361 w 12084394"/>
                <a:gd name="connsiteY1069" fmla="*/ 439913 h 4077840"/>
                <a:gd name="connsiteX1070" fmla="*/ 2763472 w 12084394"/>
                <a:gd name="connsiteY1070" fmla="*/ 489022 h 4077840"/>
                <a:gd name="connsiteX1071" fmla="*/ 2714361 w 12084394"/>
                <a:gd name="connsiteY1071" fmla="*/ 538132 h 4077840"/>
                <a:gd name="connsiteX1072" fmla="*/ 2665250 w 12084394"/>
                <a:gd name="connsiteY1072" fmla="*/ 489022 h 4077840"/>
                <a:gd name="connsiteX1073" fmla="*/ 2714361 w 12084394"/>
                <a:gd name="connsiteY1073" fmla="*/ 439913 h 4077840"/>
                <a:gd name="connsiteX1074" fmla="*/ 2202305 w 12084394"/>
                <a:gd name="connsiteY1074" fmla="*/ 439913 h 4077840"/>
                <a:gd name="connsiteX1075" fmla="*/ 2251415 w 12084394"/>
                <a:gd name="connsiteY1075" fmla="*/ 489022 h 4077840"/>
                <a:gd name="connsiteX1076" fmla="*/ 2202305 w 12084394"/>
                <a:gd name="connsiteY1076" fmla="*/ 538132 h 4077840"/>
                <a:gd name="connsiteX1077" fmla="*/ 2153195 w 12084394"/>
                <a:gd name="connsiteY1077" fmla="*/ 489022 h 4077840"/>
                <a:gd name="connsiteX1078" fmla="*/ 2202305 w 12084394"/>
                <a:gd name="connsiteY1078" fmla="*/ 439913 h 4077840"/>
                <a:gd name="connsiteX1079" fmla="*/ 1690412 w 12084394"/>
                <a:gd name="connsiteY1079" fmla="*/ 439913 h 4077840"/>
                <a:gd name="connsiteX1080" fmla="*/ 1739522 w 12084394"/>
                <a:gd name="connsiteY1080" fmla="*/ 489022 h 4077840"/>
                <a:gd name="connsiteX1081" fmla="*/ 1690412 w 12084394"/>
                <a:gd name="connsiteY1081" fmla="*/ 538132 h 4077840"/>
                <a:gd name="connsiteX1082" fmla="*/ 1641302 w 12084394"/>
                <a:gd name="connsiteY1082" fmla="*/ 489022 h 4077840"/>
                <a:gd name="connsiteX1083" fmla="*/ 1690412 w 12084394"/>
                <a:gd name="connsiteY1083" fmla="*/ 439913 h 4077840"/>
                <a:gd name="connsiteX1084" fmla="*/ 1178353 w 12084394"/>
                <a:gd name="connsiteY1084" fmla="*/ 439913 h 4077840"/>
                <a:gd name="connsiteX1085" fmla="*/ 1227462 w 12084394"/>
                <a:gd name="connsiteY1085" fmla="*/ 489022 h 4077840"/>
                <a:gd name="connsiteX1086" fmla="*/ 1178353 w 12084394"/>
                <a:gd name="connsiteY1086" fmla="*/ 538132 h 4077840"/>
                <a:gd name="connsiteX1087" fmla="*/ 1129243 w 12084394"/>
                <a:gd name="connsiteY1087" fmla="*/ 489022 h 4077840"/>
                <a:gd name="connsiteX1088" fmla="*/ 1178353 w 12084394"/>
                <a:gd name="connsiteY1088" fmla="*/ 439913 h 4077840"/>
                <a:gd name="connsiteX1089" fmla="*/ 666483 w 12084394"/>
                <a:gd name="connsiteY1089" fmla="*/ 439913 h 4077840"/>
                <a:gd name="connsiteX1090" fmla="*/ 715592 w 12084394"/>
                <a:gd name="connsiteY1090" fmla="*/ 489022 h 4077840"/>
                <a:gd name="connsiteX1091" fmla="*/ 666483 w 12084394"/>
                <a:gd name="connsiteY1091" fmla="*/ 538132 h 4077840"/>
                <a:gd name="connsiteX1092" fmla="*/ 617373 w 12084394"/>
                <a:gd name="connsiteY1092" fmla="*/ 489022 h 4077840"/>
                <a:gd name="connsiteX1093" fmla="*/ 666483 w 12084394"/>
                <a:gd name="connsiteY1093" fmla="*/ 439913 h 4077840"/>
                <a:gd name="connsiteX1094" fmla="*/ 154424 w 12084394"/>
                <a:gd name="connsiteY1094" fmla="*/ 439913 h 4077840"/>
                <a:gd name="connsiteX1095" fmla="*/ 203534 w 12084394"/>
                <a:gd name="connsiteY1095" fmla="*/ 489022 h 4077840"/>
                <a:gd name="connsiteX1096" fmla="*/ 154424 w 12084394"/>
                <a:gd name="connsiteY1096" fmla="*/ 538132 h 4077840"/>
                <a:gd name="connsiteX1097" fmla="*/ 105315 w 12084394"/>
                <a:gd name="connsiteY1097" fmla="*/ 489022 h 4077840"/>
                <a:gd name="connsiteX1098" fmla="*/ 154424 w 12084394"/>
                <a:gd name="connsiteY1098" fmla="*/ 439913 h 4077840"/>
                <a:gd name="connsiteX1099" fmla="*/ 11929966 w 12084394"/>
                <a:gd name="connsiteY1099" fmla="*/ 439912 h 4077840"/>
                <a:gd name="connsiteX1100" fmla="*/ 11979075 w 12084394"/>
                <a:gd name="connsiteY1100" fmla="*/ 489022 h 4077840"/>
                <a:gd name="connsiteX1101" fmla="*/ 11929966 w 12084394"/>
                <a:gd name="connsiteY1101" fmla="*/ 538132 h 4077840"/>
                <a:gd name="connsiteX1102" fmla="*/ 11880856 w 12084394"/>
                <a:gd name="connsiteY1102" fmla="*/ 489022 h 4077840"/>
                <a:gd name="connsiteX1103" fmla="*/ 11929966 w 12084394"/>
                <a:gd name="connsiteY1103" fmla="*/ 439912 h 4077840"/>
                <a:gd name="connsiteX1104" fmla="*/ 11929965 w 12084394"/>
                <a:gd name="connsiteY1104" fmla="*/ 0 h 4077840"/>
                <a:gd name="connsiteX1105" fmla="*/ 11964908 w 12084394"/>
                <a:gd name="connsiteY1105" fmla="*/ 34944 h 4077840"/>
                <a:gd name="connsiteX1106" fmla="*/ 11929965 w 12084394"/>
                <a:gd name="connsiteY1106" fmla="*/ 69887 h 4077840"/>
                <a:gd name="connsiteX1107" fmla="*/ 11895022 w 12084394"/>
                <a:gd name="connsiteY1107" fmla="*/ 34944 h 4077840"/>
                <a:gd name="connsiteX1108" fmla="*/ 11929965 w 12084394"/>
                <a:gd name="connsiteY1108" fmla="*/ 0 h 4077840"/>
                <a:gd name="connsiteX1109" fmla="*/ 11417900 w 12084394"/>
                <a:gd name="connsiteY1109" fmla="*/ 0 h 4077840"/>
                <a:gd name="connsiteX1110" fmla="*/ 11452843 w 12084394"/>
                <a:gd name="connsiteY1110" fmla="*/ 34944 h 4077840"/>
                <a:gd name="connsiteX1111" fmla="*/ 11417900 w 12084394"/>
                <a:gd name="connsiteY1111" fmla="*/ 69887 h 4077840"/>
                <a:gd name="connsiteX1112" fmla="*/ 11382957 w 12084394"/>
                <a:gd name="connsiteY1112" fmla="*/ 34944 h 4077840"/>
                <a:gd name="connsiteX1113" fmla="*/ 11417900 w 12084394"/>
                <a:gd name="connsiteY1113" fmla="*/ 0 h 4077840"/>
                <a:gd name="connsiteX1114" fmla="*/ 10906023 w 12084394"/>
                <a:gd name="connsiteY1114" fmla="*/ 0 h 4077840"/>
                <a:gd name="connsiteX1115" fmla="*/ 10940966 w 12084394"/>
                <a:gd name="connsiteY1115" fmla="*/ 34944 h 4077840"/>
                <a:gd name="connsiteX1116" fmla="*/ 10906023 w 12084394"/>
                <a:gd name="connsiteY1116" fmla="*/ 69887 h 4077840"/>
                <a:gd name="connsiteX1117" fmla="*/ 10871080 w 12084394"/>
                <a:gd name="connsiteY1117" fmla="*/ 34944 h 4077840"/>
                <a:gd name="connsiteX1118" fmla="*/ 10906023 w 12084394"/>
                <a:gd name="connsiteY1118" fmla="*/ 0 h 4077840"/>
                <a:gd name="connsiteX1119" fmla="*/ 10393958 w 12084394"/>
                <a:gd name="connsiteY1119" fmla="*/ 0 h 4077840"/>
                <a:gd name="connsiteX1120" fmla="*/ 10428901 w 12084394"/>
                <a:gd name="connsiteY1120" fmla="*/ 34944 h 4077840"/>
                <a:gd name="connsiteX1121" fmla="*/ 10393958 w 12084394"/>
                <a:gd name="connsiteY1121" fmla="*/ 69887 h 4077840"/>
                <a:gd name="connsiteX1122" fmla="*/ 10359014 w 12084394"/>
                <a:gd name="connsiteY1122" fmla="*/ 34944 h 4077840"/>
                <a:gd name="connsiteX1123" fmla="*/ 10393958 w 12084394"/>
                <a:gd name="connsiteY1123" fmla="*/ 0 h 4077840"/>
                <a:gd name="connsiteX1124" fmla="*/ 9882080 w 12084394"/>
                <a:gd name="connsiteY1124" fmla="*/ 0 h 4077840"/>
                <a:gd name="connsiteX1125" fmla="*/ 9917023 w 12084394"/>
                <a:gd name="connsiteY1125" fmla="*/ 34944 h 4077840"/>
                <a:gd name="connsiteX1126" fmla="*/ 9882080 w 12084394"/>
                <a:gd name="connsiteY1126" fmla="*/ 69887 h 4077840"/>
                <a:gd name="connsiteX1127" fmla="*/ 9847137 w 12084394"/>
                <a:gd name="connsiteY1127" fmla="*/ 34944 h 4077840"/>
                <a:gd name="connsiteX1128" fmla="*/ 9882080 w 12084394"/>
                <a:gd name="connsiteY1128" fmla="*/ 0 h 4077840"/>
                <a:gd name="connsiteX1129" fmla="*/ 9370014 w 12084394"/>
                <a:gd name="connsiteY1129" fmla="*/ 0 h 4077840"/>
                <a:gd name="connsiteX1130" fmla="*/ 9404958 w 12084394"/>
                <a:gd name="connsiteY1130" fmla="*/ 34944 h 4077840"/>
                <a:gd name="connsiteX1131" fmla="*/ 9370014 w 12084394"/>
                <a:gd name="connsiteY1131" fmla="*/ 69887 h 4077840"/>
                <a:gd name="connsiteX1132" fmla="*/ 9335070 w 12084394"/>
                <a:gd name="connsiteY1132" fmla="*/ 34944 h 4077840"/>
                <a:gd name="connsiteX1133" fmla="*/ 9370014 w 12084394"/>
                <a:gd name="connsiteY1133" fmla="*/ 0 h 4077840"/>
                <a:gd name="connsiteX1134" fmla="*/ 8857948 w 12084394"/>
                <a:gd name="connsiteY1134" fmla="*/ 0 h 4077840"/>
                <a:gd name="connsiteX1135" fmla="*/ 8892891 w 12084394"/>
                <a:gd name="connsiteY1135" fmla="*/ 34944 h 4077840"/>
                <a:gd name="connsiteX1136" fmla="*/ 8857948 w 12084394"/>
                <a:gd name="connsiteY1136" fmla="*/ 69887 h 4077840"/>
                <a:gd name="connsiteX1137" fmla="*/ 8823004 w 12084394"/>
                <a:gd name="connsiteY1137" fmla="*/ 34944 h 4077840"/>
                <a:gd name="connsiteX1138" fmla="*/ 8857948 w 12084394"/>
                <a:gd name="connsiteY1138" fmla="*/ 0 h 4077840"/>
                <a:gd name="connsiteX1139" fmla="*/ 8346071 w 12084394"/>
                <a:gd name="connsiteY1139" fmla="*/ 0 h 4077840"/>
                <a:gd name="connsiteX1140" fmla="*/ 8381015 w 12084394"/>
                <a:gd name="connsiteY1140" fmla="*/ 34944 h 4077840"/>
                <a:gd name="connsiteX1141" fmla="*/ 8346071 w 12084394"/>
                <a:gd name="connsiteY1141" fmla="*/ 69887 h 4077840"/>
                <a:gd name="connsiteX1142" fmla="*/ 8311127 w 12084394"/>
                <a:gd name="connsiteY1142" fmla="*/ 34944 h 4077840"/>
                <a:gd name="connsiteX1143" fmla="*/ 8346071 w 12084394"/>
                <a:gd name="connsiteY1143" fmla="*/ 0 h 4077840"/>
                <a:gd name="connsiteX1144" fmla="*/ 7834004 w 12084394"/>
                <a:gd name="connsiteY1144" fmla="*/ 0 h 4077840"/>
                <a:gd name="connsiteX1145" fmla="*/ 7868948 w 12084394"/>
                <a:gd name="connsiteY1145" fmla="*/ 34944 h 4077840"/>
                <a:gd name="connsiteX1146" fmla="*/ 7834004 w 12084394"/>
                <a:gd name="connsiteY1146" fmla="*/ 69887 h 4077840"/>
                <a:gd name="connsiteX1147" fmla="*/ 7799061 w 12084394"/>
                <a:gd name="connsiteY1147" fmla="*/ 34944 h 4077840"/>
                <a:gd name="connsiteX1148" fmla="*/ 7834004 w 12084394"/>
                <a:gd name="connsiteY1148" fmla="*/ 0 h 4077840"/>
                <a:gd name="connsiteX1149" fmla="*/ 7322128 w 12084394"/>
                <a:gd name="connsiteY1149" fmla="*/ 0 h 4077840"/>
                <a:gd name="connsiteX1150" fmla="*/ 7357071 w 12084394"/>
                <a:gd name="connsiteY1150" fmla="*/ 34944 h 4077840"/>
                <a:gd name="connsiteX1151" fmla="*/ 7322128 w 12084394"/>
                <a:gd name="connsiteY1151" fmla="*/ 69887 h 4077840"/>
                <a:gd name="connsiteX1152" fmla="*/ 7287184 w 12084394"/>
                <a:gd name="connsiteY1152" fmla="*/ 34944 h 4077840"/>
                <a:gd name="connsiteX1153" fmla="*/ 7322128 w 12084394"/>
                <a:gd name="connsiteY1153" fmla="*/ 0 h 4077840"/>
                <a:gd name="connsiteX1154" fmla="*/ 6810062 w 12084394"/>
                <a:gd name="connsiteY1154" fmla="*/ 0 h 4077840"/>
                <a:gd name="connsiteX1155" fmla="*/ 6845006 w 12084394"/>
                <a:gd name="connsiteY1155" fmla="*/ 34944 h 4077840"/>
                <a:gd name="connsiteX1156" fmla="*/ 6810062 w 12084394"/>
                <a:gd name="connsiteY1156" fmla="*/ 69887 h 4077840"/>
                <a:gd name="connsiteX1157" fmla="*/ 6775118 w 12084394"/>
                <a:gd name="connsiteY1157" fmla="*/ 34944 h 4077840"/>
                <a:gd name="connsiteX1158" fmla="*/ 6810062 w 12084394"/>
                <a:gd name="connsiteY1158" fmla="*/ 0 h 4077840"/>
                <a:gd name="connsiteX1159" fmla="*/ 6298186 w 12084394"/>
                <a:gd name="connsiteY1159" fmla="*/ 0 h 4077840"/>
                <a:gd name="connsiteX1160" fmla="*/ 6333129 w 12084394"/>
                <a:gd name="connsiteY1160" fmla="*/ 34944 h 4077840"/>
                <a:gd name="connsiteX1161" fmla="*/ 6298186 w 12084394"/>
                <a:gd name="connsiteY1161" fmla="*/ 69887 h 4077840"/>
                <a:gd name="connsiteX1162" fmla="*/ 6263242 w 12084394"/>
                <a:gd name="connsiteY1162" fmla="*/ 34944 h 4077840"/>
                <a:gd name="connsiteX1163" fmla="*/ 6298186 w 12084394"/>
                <a:gd name="connsiteY1163" fmla="*/ 0 h 4077840"/>
                <a:gd name="connsiteX1164" fmla="*/ 5786126 w 12084394"/>
                <a:gd name="connsiteY1164" fmla="*/ 0 h 4077840"/>
                <a:gd name="connsiteX1165" fmla="*/ 5821068 w 12084394"/>
                <a:gd name="connsiteY1165" fmla="*/ 34944 h 4077840"/>
                <a:gd name="connsiteX1166" fmla="*/ 5786126 w 12084394"/>
                <a:gd name="connsiteY1166" fmla="*/ 69887 h 4077840"/>
                <a:gd name="connsiteX1167" fmla="*/ 5751183 w 12084394"/>
                <a:gd name="connsiteY1167" fmla="*/ 34944 h 4077840"/>
                <a:gd name="connsiteX1168" fmla="*/ 5786126 w 12084394"/>
                <a:gd name="connsiteY1168" fmla="*/ 0 h 4077840"/>
                <a:gd name="connsiteX1169" fmla="*/ 5274270 w 12084394"/>
                <a:gd name="connsiteY1169" fmla="*/ 0 h 4077840"/>
                <a:gd name="connsiteX1170" fmla="*/ 5309213 w 12084394"/>
                <a:gd name="connsiteY1170" fmla="*/ 34944 h 4077840"/>
                <a:gd name="connsiteX1171" fmla="*/ 5274270 w 12084394"/>
                <a:gd name="connsiteY1171" fmla="*/ 69887 h 4077840"/>
                <a:gd name="connsiteX1172" fmla="*/ 5239326 w 12084394"/>
                <a:gd name="connsiteY1172" fmla="*/ 34944 h 4077840"/>
                <a:gd name="connsiteX1173" fmla="*/ 5274270 w 12084394"/>
                <a:gd name="connsiteY1173" fmla="*/ 0 h 4077840"/>
                <a:gd name="connsiteX1174" fmla="*/ 4762180 w 12084394"/>
                <a:gd name="connsiteY1174" fmla="*/ 0 h 4077840"/>
                <a:gd name="connsiteX1175" fmla="*/ 4797138 w 12084394"/>
                <a:gd name="connsiteY1175" fmla="*/ 34944 h 4077840"/>
                <a:gd name="connsiteX1176" fmla="*/ 4762180 w 12084394"/>
                <a:gd name="connsiteY1176" fmla="*/ 69887 h 4077840"/>
                <a:gd name="connsiteX1177" fmla="*/ 4727244 w 12084394"/>
                <a:gd name="connsiteY1177" fmla="*/ 34944 h 4077840"/>
                <a:gd name="connsiteX1178" fmla="*/ 4762180 w 12084394"/>
                <a:gd name="connsiteY1178" fmla="*/ 0 h 4077840"/>
                <a:gd name="connsiteX1179" fmla="*/ 4250316 w 12084394"/>
                <a:gd name="connsiteY1179" fmla="*/ 0 h 4077840"/>
                <a:gd name="connsiteX1180" fmla="*/ 4285260 w 12084394"/>
                <a:gd name="connsiteY1180" fmla="*/ 34944 h 4077840"/>
                <a:gd name="connsiteX1181" fmla="*/ 4250316 w 12084394"/>
                <a:gd name="connsiteY1181" fmla="*/ 69887 h 4077840"/>
                <a:gd name="connsiteX1182" fmla="*/ 4215371 w 12084394"/>
                <a:gd name="connsiteY1182" fmla="*/ 34944 h 4077840"/>
                <a:gd name="connsiteX1183" fmla="*/ 4250316 w 12084394"/>
                <a:gd name="connsiteY1183" fmla="*/ 0 h 4077840"/>
                <a:gd name="connsiteX1184" fmla="*/ 3738287 w 12084394"/>
                <a:gd name="connsiteY1184" fmla="*/ 0 h 4077840"/>
                <a:gd name="connsiteX1185" fmla="*/ 3773228 w 12084394"/>
                <a:gd name="connsiteY1185" fmla="*/ 34944 h 4077840"/>
                <a:gd name="connsiteX1186" fmla="*/ 3738287 w 12084394"/>
                <a:gd name="connsiteY1186" fmla="*/ 69887 h 4077840"/>
                <a:gd name="connsiteX1187" fmla="*/ 3703339 w 12084394"/>
                <a:gd name="connsiteY1187" fmla="*/ 34944 h 4077840"/>
                <a:gd name="connsiteX1188" fmla="*/ 3738287 w 12084394"/>
                <a:gd name="connsiteY1188" fmla="*/ 0 h 4077840"/>
                <a:gd name="connsiteX1189" fmla="*/ 3226239 w 12084394"/>
                <a:gd name="connsiteY1189" fmla="*/ 0 h 4077840"/>
                <a:gd name="connsiteX1190" fmla="*/ 3261187 w 12084394"/>
                <a:gd name="connsiteY1190" fmla="*/ 34944 h 4077840"/>
                <a:gd name="connsiteX1191" fmla="*/ 3226239 w 12084394"/>
                <a:gd name="connsiteY1191" fmla="*/ 69887 h 4077840"/>
                <a:gd name="connsiteX1192" fmla="*/ 3191293 w 12084394"/>
                <a:gd name="connsiteY1192" fmla="*/ 34944 h 4077840"/>
                <a:gd name="connsiteX1193" fmla="*/ 3226239 w 12084394"/>
                <a:gd name="connsiteY1193" fmla="*/ 0 h 4077840"/>
                <a:gd name="connsiteX1194" fmla="*/ 2714361 w 12084394"/>
                <a:gd name="connsiteY1194" fmla="*/ 0 h 4077840"/>
                <a:gd name="connsiteX1195" fmla="*/ 2749305 w 12084394"/>
                <a:gd name="connsiteY1195" fmla="*/ 34944 h 4077840"/>
                <a:gd name="connsiteX1196" fmla="*/ 2714361 w 12084394"/>
                <a:gd name="connsiteY1196" fmla="*/ 69887 h 4077840"/>
                <a:gd name="connsiteX1197" fmla="*/ 2679418 w 12084394"/>
                <a:gd name="connsiteY1197" fmla="*/ 34944 h 4077840"/>
                <a:gd name="connsiteX1198" fmla="*/ 2714361 w 12084394"/>
                <a:gd name="connsiteY1198" fmla="*/ 0 h 4077840"/>
                <a:gd name="connsiteX1199" fmla="*/ 2202305 w 12084394"/>
                <a:gd name="connsiteY1199" fmla="*/ 0 h 4077840"/>
                <a:gd name="connsiteX1200" fmla="*/ 2237248 w 12084394"/>
                <a:gd name="connsiteY1200" fmla="*/ 34944 h 4077840"/>
                <a:gd name="connsiteX1201" fmla="*/ 2202305 w 12084394"/>
                <a:gd name="connsiteY1201" fmla="*/ 69887 h 4077840"/>
                <a:gd name="connsiteX1202" fmla="*/ 2167360 w 12084394"/>
                <a:gd name="connsiteY1202" fmla="*/ 34944 h 4077840"/>
                <a:gd name="connsiteX1203" fmla="*/ 2202305 w 12084394"/>
                <a:gd name="connsiteY1203" fmla="*/ 0 h 4077840"/>
                <a:gd name="connsiteX1204" fmla="*/ 1690412 w 12084394"/>
                <a:gd name="connsiteY1204" fmla="*/ 0 h 4077840"/>
                <a:gd name="connsiteX1205" fmla="*/ 1725355 w 12084394"/>
                <a:gd name="connsiteY1205" fmla="*/ 34944 h 4077840"/>
                <a:gd name="connsiteX1206" fmla="*/ 1690412 w 12084394"/>
                <a:gd name="connsiteY1206" fmla="*/ 69887 h 4077840"/>
                <a:gd name="connsiteX1207" fmla="*/ 1655468 w 12084394"/>
                <a:gd name="connsiteY1207" fmla="*/ 34944 h 4077840"/>
                <a:gd name="connsiteX1208" fmla="*/ 1690412 w 12084394"/>
                <a:gd name="connsiteY1208" fmla="*/ 0 h 4077840"/>
                <a:gd name="connsiteX1209" fmla="*/ 1178353 w 12084394"/>
                <a:gd name="connsiteY1209" fmla="*/ 0 h 4077840"/>
                <a:gd name="connsiteX1210" fmla="*/ 1213295 w 12084394"/>
                <a:gd name="connsiteY1210" fmla="*/ 34944 h 4077840"/>
                <a:gd name="connsiteX1211" fmla="*/ 1178353 w 12084394"/>
                <a:gd name="connsiteY1211" fmla="*/ 69887 h 4077840"/>
                <a:gd name="connsiteX1212" fmla="*/ 1143409 w 12084394"/>
                <a:gd name="connsiteY1212" fmla="*/ 34944 h 4077840"/>
                <a:gd name="connsiteX1213" fmla="*/ 1178353 w 12084394"/>
                <a:gd name="connsiteY1213" fmla="*/ 0 h 4077840"/>
                <a:gd name="connsiteX1214" fmla="*/ 666483 w 12084394"/>
                <a:gd name="connsiteY1214" fmla="*/ 0 h 4077840"/>
                <a:gd name="connsiteX1215" fmla="*/ 701425 w 12084394"/>
                <a:gd name="connsiteY1215" fmla="*/ 34944 h 4077840"/>
                <a:gd name="connsiteX1216" fmla="*/ 666483 w 12084394"/>
                <a:gd name="connsiteY1216" fmla="*/ 69887 h 4077840"/>
                <a:gd name="connsiteX1217" fmla="*/ 631539 w 12084394"/>
                <a:gd name="connsiteY1217" fmla="*/ 34944 h 4077840"/>
                <a:gd name="connsiteX1218" fmla="*/ 666483 w 12084394"/>
                <a:gd name="connsiteY1218" fmla="*/ 0 h 4077840"/>
                <a:gd name="connsiteX1219" fmla="*/ 154424 w 12084394"/>
                <a:gd name="connsiteY1219" fmla="*/ 0 h 4077840"/>
                <a:gd name="connsiteX1220" fmla="*/ 189367 w 12084394"/>
                <a:gd name="connsiteY1220" fmla="*/ 34944 h 4077840"/>
                <a:gd name="connsiteX1221" fmla="*/ 154424 w 12084394"/>
                <a:gd name="connsiteY1221" fmla="*/ 69887 h 4077840"/>
                <a:gd name="connsiteX1222" fmla="*/ 119480 w 12084394"/>
                <a:gd name="connsiteY1222" fmla="*/ 34944 h 4077840"/>
                <a:gd name="connsiteX1223" fmla="*/ 154424 w 12084394"/>
                <a:gd name="connsiteY1223" fmla="*/ 0 h 4077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</a:cxnLst>
              <a:rect l="l" t="t" r="r" b="b"/>
              <a:pathLst>
                <a:path w="12084394" h="4077840">
                  <a:moveTo>
                    <a:pt x="11929965" y="3958074"/>
                  </a:moveTo>
                  <a:cubicBezTo>
                    <a:pt x="11997563" y="3958074"/>
                    <a:pt x="12055562" y="3999174"/>
                    <a:pt x="12080337" y="4057748"/>
                  </a:cubicBezTo>
                  <a:lnTo>
                    <a:pt x="12084394" y="4077840"/>
                  </a:lnTo>
                  <a:lnTo>
                    <a:pt x="11775537" y="4077840"/>
                  </a:lnTo>
                  <a:lnTo>
                    <a:pt x="11779594" y="4057748"/>
                  </a:lnTo>
                  <a:cubicBezTo>
                    <a:pt x="11804369" y="3999174"/>
                    <a:pt x="11862367" y="3958074"/>
                    <a:pt x="11929965" y="3958074"/>
                  </a:cubicBezTo>
                  <a:close/>
                  <a:moveTo>
                    <a:pt x="11417899" y="3958074"/>
                  </a:moveTo>
                  <a:cubicBezTo>
                    <a:pt x="11485497" y="3958074"/>
                    <a:pt x="11543496" y="3999174"/>
                    <a:pt x="11568271" y="4057748"/>
                  </a:cubicBezTo>
                  <a:lnTo>
                    <a:pt x="11572328" y="4077840"/>
                  </a:lnTo>
                  <a:lnTo>
                    <a:pt x="11263471" y="4077840"/>
                  </a:lnTo>
                  <a:lnTo>
                    <a:pt x="11267528" y="4057748"/>
                  </a:lnTo>
                  <a:cubicBezTo>
                    <a:pt x="11292303" y="3999174"/>
                    <a:pt x="11350302" y="3958074"/>
                    <a:pt x="11417899" y="3958074"/>
                  </a:cubicBezTo>
                  <a:close/>
                  <a:moveTo>
                    <a:pt x="10906022" y="3958074"/>
                  </a:moveTo>
                  <a:cubicBezTo>
                    <a:pt x="10973620" y="3958074"/>
                    <a:pt x="11031619" y="3999174"/>
                    <a:pt x="11056393" y="4057748"/>
                  </a:cubicBezTo>
                  <a:lnTo>
                    <a:pt x="11060450" y="4077840"/>
                  </a:lnTo>
                  <a:lnTo>
                    <a:pt x="10751593" y="4077840"/>
                  </a:lnTo>
                  <a:lnTo>
                    <a:pt x="10755650" y="4057748"/>
                  </a:lnTo>
                  <a:cubicBezTo>
                    <a:pt x="10780425" y="3999174"/>
                    <a:pt x="10838424" y="3958074"/>
                    <a:pt x="10906022" y="3958074"/>
                  </a:cubicBezTo>
                  <a:close/>
                  <a:moveTo>
                    <a:pt x="10393956" y="3958074"/>
                  </a:moveTo>
                  <a:cubicBezTo>
                    <a:pt x="10461554" y="3958074"/>
                    <a:pt x="10519553" y="3999174"/>
                    <a:pt x="10544328" y="4057748"/>
                  </a:cubicBezTo>
                  <a:lnTo>
                    <a:pt x="10548385" y="4077840"/>
                  </a:lnTo>
                  <a:lnTo>
                    <a:pt x="10239527" y="4077840"/>
                  </a:lnTo>
                  <a:lnTo>
                    <a:pt x="10243584" y="4057748"/>
                  </a:lnTo>
                  <a:cubicBezTo>
                    <a:pt x="10268359" y="3999174"/>
                    <a:pt x="10326358" y="3958074"/>
                    <a:pt x="10393956" y="3958074"/>
                  </a:cubicBezTo>
                  <a:close/>
                  <a:moveTo>
                    <a:pt x="9882079" y="3958074"/>
                  </a:moveTo>
                  <a:cubicBezTo>
                    <a:pt x="9949677" y="3958074"/>
                    <a:pt x="10007676" y="3999174"/>
                    <a:pt x="10032451" y="4057748"/>
                  </a:cubicBezTo>
                  <a:lnTo>
                    <a:pt x="10036508" y="4077840"/>
                  </a:lnTo>
                  <a:lnTo>
                    <a:pt x="9727651" y="4077840"/>
                  </a:lnTo>
                  <a:lnTo>
                    <a:pt x="9731708" y="4057748"/>
                  </a:lnTo>
                  <a:cubicBezTo>
                    <a:pt x="9756482" y="3999174"/>
                    <a:pt x="9814482" y="3958074"/>
                    <a:pt x="9882079" y="3958074"/>
                  </a:cubicBezTo>
                  <a:close/>
                  <a:moveTo>
                    <a:pt x="9370013" y="3958074"/>
                  </a:moveTo>
                  <a:cubicBezTo>
                    <a:pt x="9437610" y="3958074"/>
                    <a:pt x="9495610" y="3999174"/>
                    <a:pt x="9520384" y="4057748"/>
                  </a:cubicBezTo>
                  <a:lnTo>
                    <a:pt x="9524441" y="4077840"/>
                  </a:lnTo>
                  <a:lnTo>
                    <a:pt x="9215584" y="4077840"/>
                  </a:lnTo>
                  <a:lnTo>
                    <a:pt x="9219641" y="4057748"/>
                  </a:lnTo>
                  <a:cubicBezTo>
                    <a:pt x="9244415" y="3999174"/>
                    <a:pt x="9302414" y="3958074"/>
                    <a:pt x="9370013" y="3958074"/>
                  </a:cubicBezTo>
                  <a:close/>
                  <a:moveTo>
                    <a:pt x="8858136" y="3958074"/>
                  </a:moveTo>
                  <a:cubicBezTo>
                    <a:pt x="8925734" y="3958074"/>
                    <a:pt x="8983733" y="3999174"/>
                    <a:pt x="9008508" y="4057748"/>
                  </a:cubicBezTo>
                  <a:lnTo>
                    <a:pt x="9012565" y="4077840"/>
                  </a:lnTo>
                  <a:lnTo>
                    <a:pt x="8703708" y="4077840"/>
                  </a:lnTo>
                  <a:lnTo>
                    <a:pt x="8707765" y="4057748"/>
                  </a:lnTo>
                  <a:cubicBezTo>
                    <a:pt x="8732539" y="3999174"/>
                    <a:pt x="8790538" y="3958074"/>
                    <a:pt x="8858136" y="3958074"/>
                  </a:cubicBezTo>
                  <a:close/>
                  <a:moveTo>
                    <a:pt x="8346070" y="3958074"/>
                  </a:moveTo>
                  <a:cubicBezTo>
                    <a:pt x="8413668" y="3958074"/>
                    <a:pt x="8471666" y="3999174"/>
                    <a:pt x="8496441" y="4057748"/>
                  </a:cubicBezTo>
                  <a:lnTo>
                    <a:pt x="8500498" y="4077840"/>
                  </a:lnTo>
                  <a:lnTo>
                    <a:pt x="8191642" y="4077840"/>
                  </a:lnTo>
                  <a:lnTo>
                    <a:pt x="8195698" y="4057748"/>
                  </a:lnTo>
                  <a:cubicBezTo>
                    <a:pt x="8220473" y="3999174"/>
                    <a:pt x="8278472" y="3958074"/>
                    <a:pt x="8346070" y="3958074"/>
                  </a:cubicBezTo>
                  <a:close/>
                  <a:moveTo>
                    <a:pt x="7834193" y="3958074"/>
                  </a:moveTo>
                  <a:cubicBezTo>
                    <a:pt x="7901792" y="3958074"/>
                    <a:pt x="7959791" y="3999174"/>
                    <a:pt x="7984565" y="4057748"/>
                  </a:cubicBezTo>
                  <a:lnTo>
                    <a:pt x="7988622" y="4077840"/>
                  </a:lnTo>
                  <a:lnTo>
                    <a:pt x="7679765" y="4077840"/>
                  </a:lnTo>
                  <a:lnTo>
                    <a:pt x="7683822" y="4057748"/>
                  </a:lnTo>
                  <a:cubicBezTo>
                    <a:pt x="7708596" y="3999174"/>
                    <a:pt x="7766595" y="3958074"/>
                    <a:pt x="7834193" y="3958074"/>
                  </a:cubicBezTo>
                  <a:close/>
                  <a:moveTo>
                    <a:pt x="7322127" y="3958074"/>
                  </a:moveTo>
                  <a:cubicBezTo>
                    <a:pt x="7389725" y="3958074"/>
                    <a:pt x="7447724" y="3999174"/>
                    <a:pt x="7472498" y="4057748"/>
                  </a:cubicBezTo>
                  <a:lnTo>
                    <a:pt x="7476555" y="4077840"/>
                  </a:lnTo>
                  <a:lnTo>
                    <a:pt x="7167699" y="4077840"/>
                  </a:lnTo>
                  <a:lnTo>
                    <a:pt x="7171755" y="4057748"/>
                  </a:lnTo>
                  <a:cubicBezTo>
                    <a:pt x="7196530" y="3999174"/>
                    <a:pt x="7254529" y="3958074"/>
                    <a:pt x="7322127" y="3958074"/>
                  </a:cubicBezTo>
                  <a:close/>
                  <a:moveTo>
                    <a:pt x="6810062" y="3958074"/>
                  </a:moveTo>
                  <a:cubicBezTo>
                    <a:pt x="6877661" y="3958074"/>
                    <a:pt x="6935660" y="3999174"/>
                    <a:pt x="6960434" y="4057748"/>
                  </a:cubicBezTo>
                  <a:lnTo>
                    <a:pt x="6964491" y="4077840"/>
                  </a:lnTo>
                  <a:lnTo>
                    <a:pt x="6655635" y="4077840"/>
                  </a:lnTo>
                  <a:lnTo>
                    <a:pt x="6659691" y="4057748"/>
                  </a:lnTo>
                  <a:cubicBezTo>
                    <a:pt x="6684466" y="3999174"/>
                    <a:pt x="6742464" y="3958074"/>
                    <a:pt x="6810062" y="3958074"/>
                  </a:cubicBezTo>
                  <a:close/>
                  <a:moveTo>
                    <a:pt x="6298184" y="3958074"/>
                  </a:moveTo>
                  <a:cubicBezTo>
                    <a:pt x="6365783" y="3958074"/>
                    <a:pt x="6423782" y="3999174"/>
                    <a:pt x="6448557" y="4057748"/>
                  </a:cubicBezTo>
                  <a:lnTo>
                    <a:pt x="6452613" y="4077840"/>
                  </a:lnTo>
                  <a:lnTo>
                    <a:pt x="6143757" y="4077840"/>
                  </a:lnTo>
                  <a:lnTo>
                    <a:pt x="6147813" y="4057748"/>
                  </a:lnTo>
                  <a:cubicBezTo>
                    <a:pt x="6172588" y="3999174"/>
                    <a:pt x="6230586" y="3958074"/>
                    <a:pt x="6298184" y="3958074"/>
                  </a:cubicBezTo>
                  <a:close/>
                  <a:moveTo>
                    <a:pt x="5786126" y="3958074"/>
                  </a:moveTo>
                  <a:cubicBezTo>
                    <a:pt x="5853721" y="3958074"/>
                    <a:pt x="5911718" y="3999174"/>
                    <a:pt x="5936491" y="4057748"/>
                  </a:cubicBezTo>
                  <a:lnTo>
                    <a:pt x="5940548" y="4077840"/>
                  </a:lnTo>
                  <a:lnTo>
                    <a:pt x="5631705" y="4077840"/>
                  </a:lnTo>
                  <a:lnTo>
                    <a:pt x="5635761" y="4057748"/>
                  </a:lnTo>
                  <a:cubicBezTo>
                    <a:pt x="5660535" y="3999174"/>
                    <a:pt x="5718532" y="3958074"/>
                    <a:pt x="5786126" y="3958074"/>
                  </a:cubicBezTo>
                  <a:close/>
                  <a:moveTo>
                    <a:pt x="5274270" y="3958074"/>
                  </a:moveTo>
                  <a:cubicBezTo>
                    <a:pt x="5341866" y="3958074"/>
                    <a:pt x="5399863" y="3999174"/>
                    <a:pt x="5424637" y="4057748"/>
                  </a:cubicBezTo>
                  <a:lnTo>
                    <a:pt x="5428693" y="4077840"/>
                  </a:lnTo>
                  <a:lnTo>
                    <a:pt x="5119842" y="4077840"/>
                  </a:lnTo>
                  <a:lnTo>
                    <a:pt x="5123898" y="4057748"/>
                  </a:lnTo>
                  <a:cubicBezTo>
                    <a:pt x="5148673" y="3999174"/>
                    <a:pt x="5206672" y="3958074"/>
                    <a:pt x="5274270" y="3958074"/>
                  </a:cubicBezTo>
                  <a:close/>
                  <a:moveTo>
                    <a:pt x="4762180" y="3958074"/>
                  </a:moveTo>
                  <a:cubicBezTo>
                    <a:pt x="4829804" y="3958074"/>
                    <a:pt x="4887811" y="3999174"/>
                    <a:pt x="4912588" y="4057748"/>
                  </a:cubicBezTo>
                  <a:lnTo>
                    <a:pt x="4916645" y="4077840"/>
                  </a:lnTo>
                  <a:lnTo>
                    <a:pt x="4607771" y="4077840"/>
                  </a:lnTo>
                  <a:lnTo>
                    <a:pt x="4611827" y="4057748"/>
                  </a:lnTo>
                  <a:cubicBezTo>
                    <a:pt x="4636599" y="3999174"/>
                    <a:pt x="4694593" y="3958074"/>
                    <a:pt x="4762180" y="3958074"/>
                  </a:cubicBezTo>
                  <a:close/>
                  <a:moveTo>
                    <a:pt x="4250316" y="3958074"/>
                  </a:moveTo>
                  <a:cubicBezTo>
                    <a:pt x="4317919" y="3958074"/>
                    <a:pt x="4375920" y="3999174"/>
                    <a:pt x="4400696" y="4057748"/>
                  </a:cubicBezTo>
                  <a:lnTo>
                    <a:pt x="4404753" y="4077840"/>
                  </a:lnTo>
                  <a:lnTo>
                    <a:pt x="4095930" y="4077840"/>
                  </a:lnTo>
                  <a:lnTo>
                    <a:pt x="4099984" y="4057748"/>
                  </a:lnTo>
                  <a:cubicBezTo>
                    <a:pt x="4124744" y="3999174"/>
                    <a:pt x="4182715" y="3958074"/>
                    <a:pt x="4250316" y="3958074"/>
                  </a:cubicBezTo>
                  <a:close/>
                  <a:moveTo>
                    <a:pt x="3738289" y="3958074"/>
                  </a:moveTo>
                  <a:cubicBezTo>
                    <a:pt x="3805888" y="3958074"/>
                    <a:pt x="3863888" y="3999174"/>
                    <a:pt x="3888663" y="4057748"/>
                  </a:cubicBezTo>
                  <a:lnTo>
                    <a:pt x="3892720" y="4077840"/>
                  </a:lnTo>
                  <a:lnTo>
                    <a:pt x="3583860" y="4077840"/>
                  </a:lnTo>
                  <a:lnTo>
                    <a:pt x="3587916" y="4057748"/>
                  </a:lnTo>
                  <a:cubicBezTo>
                    <a:pt x="3612688" y="3999174"/>
                    <a:pt x="3670683" y="3958074"/>
                    <a:pt x="3738289" y="3958074"/>
                  </a:cubicBezTo>
                  <a:close/>
                  <a:moveTo>
                    <a:pt x="3226242" y="3958074"/>
                  </a:moveTo>
                  <a:cubicBezTo>
                    <a:pt x="3293846" y="3958074"/>
                    <a:pt x="3351848" y="3999174"/>
                    <a:pt x="3376624" y="4057748"/>
                  </a:cubicBezTo>
                  <a:lnTo>
                    <a:pt x="3380681" y="4077840"/>
                  </a:lnTo>
                  <a:lnTo>
                    <a:pt x="3071812" y="4077840"/>
                  </a:lnTo>
                  <a:lnTo>
                    <a:pt x="3075868" y="4057748"/>
                  </a:lnTo>
                  <a:cubicBezTo>
                    <a:pt x="3100643" y="3999174"/>
                    <a:pt x="3158643" y="3958074"/>
                    <a:pt x="3226242" y="3958074"/>
                  </a:cubicBezTo>
                  <a:close/>
                  <a:moveTo>
                    <a:pt x="2714363" y="3958074"/>
                  </a:moveTo>
                  <a:cubicBezTo>
                    <a:pt x="2781962" y="3958074"/>
                    <a:pt x="2839961" y="3999174"/>
                    <a:pt x="2864736" y="4057748"/>
                  </a:cubicBezTo>
                  <a:lnTo>
                    <a:pt x="2868792" y="4077840"/>
                  </a:lnTo>
                  <a:lnTo>
                    <a:pt x="2559936" y="4077840"/>
                  </a:lnTo>
                  <a:lnTo>
                    <a:pt x="2563993" y="4057748"/>
                  </a:lnTo>
                  <a:cubicBezTo>
                    <a:pt x="2588767" y="3999174"/>
                    <a:pt x="2646765" y="3958074"/>
                    <a:pt x="2714363" y="3958074"/>
                  </a:cubicBezTo>
                  <a:close/>
                  <a:moveTo>
                    <a:pt x="2202307" y="3958074"/>
                  </a:moveTo>
                  <a:cubicBezTo>
                    <a:pt x="2269904" y="3958074"/>
                    <a:pt x="2327902" y="3999174"/>
                    <a:pt x="2352676" y="4057748"/>
                  </a:cubicBezTo>
                  <a:lnTo>
                    <a:pt x="2356732" y="4077840"/>
                  </a:lnTo>
                  <a:lnTo>
                    <a:pt x="2047866" y="4077840"/>
                  </a:lnTo>
                  <a:lnTo>
                    <a:pt x="2051924" y="4057748"/>
                  </a:lnTo>
                  <a:cubicBezTo>
                    <a:pt x="2076703" y="3999174"/>
                    <a:pt x="2134711" y="3958074"/>
                    <a:pt x="2202307" y="3958074"/>
                  </a:cubicBezTo>
                  <a:close/>
                  <a:moveTo>
                    <a:pt x="1690413" y="3958074"/>
                  </a:moveTo>
                  <a:cubicBezTo>
                    <a:pt x="1758012" y="3958074"/>
                    <a:pt x="1816010" y="3999174"/>
                    <a:pt x="1840785" y="4057748"/>
                  </a:cubicBezTo>
                  <a:lnTo>
                    <a:pt x="1844841" y="4077840"/>
                  </a:lnTo>
                  <a:lnTo>
                    <a:pt x="1535987" y="4077840"/>
                  </a:lnTo>
                  <a:lnTo>
                    <a:pt x="1540043" y="4057748"/>
                  </a:lnTo>
                  <a:cubicBezTo>
                    <a:pt x="1564818" y="3999174"/>
                    <a:pt x="1622817" y="3958074"/>
                    <a:pt x="1690413" y="3958074"/>
                  </a:cubicBezTo>
                  <a:close/>
                  <a:moveTo>
                    <a:pt x="1178354" y="3958074"/>
                  </a:moveTo>
                  <a:cubicBezTo>
                    <a:pt x="1245952" y="3958074"/>
                    <a:pt x="1303950" y="3999174"/>
                    <a:pt x="1328724" y="4057748"/>
                  </a:cubicBezTo>
                  <a:lnTo>
                    <a:pt x="1332781" y="4077840"/>
                  </a:lnTo>
                  <a:lnTo>
                    <a:pt x="1023928" y="4077840"/>
                  </a:lnTo>
                  <a:lnTo>
                    <a:pt x="1027984" y="4057748"/>
                  </a:lnTo>
                  <a:cubicBezTo>
                    <a:pt x="1052759" y="3999174"/>
                    <a:pt x="1110758" y="3958074"/>
                    <a:pt x="1178354" y="3958074"/>
                  </a:cubicBezTo>
                  <a:close/>
                  <a:moveTo>
                    <a:pt x="666484" y="3958074"/>
                  </a:moveTo>
                  <a:cubicBezTo>
                    <a:pt x="734082" y="3958074"/>
                    <a:pt x="792080" y="3999174"/>
                    <a:pt x="816855" y="4057748"/>
                  </a:cubicBezTo>
                  <a:lnTo>
                    <a:pt x="820911" y="4077840"/>
                  </a:lnTo>
                  <a:lnTo>
                    <a:pt x="512057" y="4077840"/>
                  </a:lnTo>
                  <a:lnTo>
                    <a:pt x="516114" y="4057748"/>
                  </a:lnTo>
                  <a:cubicBezTo>
                    <a:pt x="540888" y="3999174"/>
                    <a:pt x="598887" y="3958074"/>
                    <a:pt x="666484" y="3958074"/>
                  </a:cubicBezTo>
                  <a:close/>
                  <a:moveTo>
                    <a:pt x="154426" y="3958074"/>
                  </a:moveTo>
                  <a:cubicBezTo>
                    <a:pt x="222024" y="3958074"/>
                    <a:pt x="280023" y="3999174"/>
                    <a:pt x="304797" y="4057748"/>
                  </a:cubicBezTo>
                  <a:lnTo>
                    <a:pt x="308853" y="4077840"/>
                  </a:lnTo>
                  <a:lnTo>
                    <a:pt x="0" y="4077840"/>
                  </a:lnTo>
                  <a:lnTo>
                    <a:pt x="4057" y="4057748"/>
                  </a:lnTo>
                  <a:cubicBezTo>
                    <a:pt x="28831" y="3999174"/>
                    <a:pt x="86829" y="3958074"/>
                    <a:pt x="154426" y="3958074"/>
                  </a:cubicBezTo>
                  <a:close/>
                  <a:moveTo>
                    <a:pt x="11929966" y="3518352"/>
                  </a:moveTo>
                  <a:cubicBezTo>
                    <a:pt x="12012273" y="3518352"/>
                    <a:pt x="12078996" y="3585074"/>
                    <a:pt x="12078996" y="3667382"/>
                  </a:cubicBezTo>
                  <a:cubicBezTo>
                    <a:pt x="12078996" y="3749688"/>
                    <a:pt x="12012273" y="3816412"/>
                    <a:pt x="11929966" y="3816412"/>
                  </a:cubicBezTo>
                  <a:cubicBezTo>
                    <a:pt x="11847659" y="3816412"/>
                    <a:pt x="11780936" y="3749689"/>
                    <a:pt x="11780936" y="3667382"/>
                  </a:cubicBezTo>
                  <a:cubicBezTo>
                    <a:pt x="11780936" y="3585075"/>
                    <a:pt x="11847659" y="3518352"/>
                    <a:pt x="11929966" y="3518352"/>
                  </a:cubicBezTo>
                  <a:close/>
                  <a:moveTo>
                    <a:pt x="11417900" y="3518352"/>
                  </a:moveTo>
                  <a:cubicBezTo>
                    <a:pt x="11500207" y="3518352"/>
                    <a:pt x="11566930" y="3585074"/>
                    <a:pt x="11566930" y="3667382"/>
                  </a:cubicBezTo>
                  <a:cubicBezTo>
                    <a:pt x="11566930" y="3749688"/>
                    <a:pt x="11500207" y="3816412"/>
                    <a:pt x="11417900" y="3816412"/>
                  </a:cubicBezTo>
                  <a:cubicBezTo>
                    <a:pt x="11335593" y="3816412"/>
                    <a:pt x="11268870" y="3749689"/>
                    <a:pt x="11268870" y="3667382"/>
                  </a:cubicBezTo>
                  <a:cubicBezTo>
                    <a:pt x="11268870" y="3585075"/>
                    <a:pt x="11335593" y="3518352"/>
                    <a:pt x="11417900" y="3518352"/>
                  </a:cubicBezTo>
                  <a:close/>
                  <a:moveTo>
                    <a:pt x="10906022" y="3518352"/>
                  </a:moveTo>
                  <a:cubicBezTo>
                    <a:pt x="10988330" y="3518352"/>
                    <a:pt x="11055053" y="3585074"/>
                    <a:pt x="11055053" y="3667382"/>
                  </a:cubicBezTo>
                  <a:cubicBezTo>
                    <a:pt x="11055053" y="3749688"/>
                    <a:pt x="10988330" y="3816412"/>
                    <a:pt x="10906022" y="3816412"/>
                  </a:cubicBezTo>
                  <a:cubicBezTo>
                    <a:pt x="10823715" y="3816412"/>
                    <a:pt x="10756992" y="3749689"/>
                    <a:pt x="10756992" y="3667382"/>
                  </a:cubicBezTo>
                  <a:cubicBezTo>
                    <a:pt x="10756992" y="3585075"/>
                    <a:pt x="10823715" y="3518352"/>
                    <a:pt x="10906022" y="3518352"/>
                  </a:cubicBezTo>
                  <a:close/>
                  <a:moveTo>
                    <a:pt x="10393957" y="3518352"/>
                  </a:moveTo>
                  <a:cubicBezTo>
                    <a:pt x="10476264" y="3518352"/>
                    <a:pt x="10542987" y="3585074"/>
                    <a:pt x="10542987" y="3667382"/>
                  </a:cubicBezTo>
                  <a:cubicBezTo>
                    <a:pt x="10542987" y="3749688"/>
                    <a:pt x="10476264" y="3816412"/>
                    <a:pt x="10393957" y="3816412"/>
                  </a:cubicBezTo>
                  <a:cubicBezTo>
                    <a:pt x="10311649" y="3816412"/>
                    <a:pt x="10244926" y="3749689"/>
                    <a:pt x="10244926" y="3667382"/>
                  </a:cubicBezTo>
                  <a:cubicBezTo>
                    <a:pt x="10244926" y="3585075"/>
                    <a:pt x="10311649" y="3518352"/>
                    <a:pt x="10393957" y="3518352"/>
                  </a:cubicBezTo>
                  <a:close/>
                  <a:moveTo>
                    <a:pt x="9882080" y="3518352"/>
                  </a:moveTo>
                  <a:cubicBezTo>
                    <a:pt x="9964387" y="3518352"/>
                    <a:pt x="10031110" y="3585074"/>
                    <a:pt x="10031110" y="3667382"/>
                  </a:cubicBezTo>
                  <a:cubicBezTo>
                    <a:pt x="10031110" y="3749688"/>
                    <a:pt x="9964387" y="3816412"/>
                    <a:pt x="9882080" y="3816412"/>
                  </a:cubicBezTo>
                  <a:cubicBezTo>
                    <a:pt x="9799773" y="3816412"/>
                    <a:pt x="9733050" y="3749689"/>
                    <a:pt x="9733050" y="3667382"/>
                  </a:cubicBezTo>
                  <a:cubicBezTo>
                    <a:pt x="9733050" y="3585075"/>
                    <a:pt x="9799773" y="3518352"/>
                    <a:pt x="9882080" y="3518352"/>
                  </a:cubicBezTo>
                  <a:close/>
                  <a:moveTo>
                    <a:pt x="9370013" y="3518352"/>
                  </a:moveTo>
                  <a:cubicBezTo>
                    <a:pt x="9452320" y="3518352"/>
                    <a:pt x="9519043" y="3585074"/>
                    <a:pt x="9519043" y="3667382"/>
                  </a:cubicBezTo>
                  <a:cubicBezTo>
                    <a:pt x="9519043" y="3749688"/>
                    <a:pt x="9452321" y="3816412"/>
                    <a:pt x="9370013" y="3816412"/>
                  </a:cubicBezTo>
                  <a:cubicBezTo>
                    <a:pt x="9287707" y="3816412"/>
                    <a:pt x="9220983" y="3749689"/>
                    <a:pt x="9220983" y="3667382"/>
                  </a:cubicBezTo>
                  <a:cubicBezTo>
                    <a:pt x="9220983" y="3585075"/>
                    <a:pt x="9287706" y="3518352"/>
                    <a:pt x="9370013" y="3518352"/>
                  </a:cubicBezTo>
                  <a:close/>
                  <a:moveTo>
                    <a:pt x="8858137" y="3518352"/>
                  </a:moveTo>
                  <a:cubicBezTo>
                    <a:pt x="8940443" y="3518352"/>
                    <a:pt x="9007167" y="3585074"/>
                    <a:pt x="9007167" y="3667382"/>
                  </a:cubicBezTo>
                  <a:cubicBezTo>
                    <a:pt x="9007167" y="3749688"/>
                    <a:pt x="8940444" y="3816412"/>
                    <a:pt x="8858137" y="3816412"/>
                  </a:cubicBezTo>
                  <a:cubicBezTo>
                    <a:pt x="8775830" y="3816412"/>
                    <a:pt x="8709107" y="3749689"/>
                    <a:pt x="8709107" y="3667382"/>
                  </a:cubicBezTo>
                  <a:cubicBezTo>
                    <a:pt x="8709107" y="3585075"/>
                    <a:pt x="8775829" y="3518352"/>
                    <a:pt x="8858137" y="3518352"/>
                  </a:cubicBezTo>
                  <a:close/>
                  <a:moveTo>
                    <a:pt x="8346070" y="3518352"/>
                  </a:moveTo>
                  <a:cubicBezTo>
                    <a:pt x="8428377" y="3518352"/>
                    <a:pt x="8495101" y="3585074"/>
                    <a:pt x="8495101" y="3667382"/>
                  </a:cubicBezTo>
                  <a:cubicBezTo>
                    <a:pt x="8495101" y="3749688"/>
                    <a:pt x="8428378" y="3816412"/>
                    <a:pt x="8346070" y="3816412"/>
                  </a:cubicBezTo>
                  <a:cubicBezTo>
                    <a:pt x="8263764" y="3816412"/>
                    <a:pt x="8197040" y="3749689"/>
                    <a:pt x="8197040" y="3667382"/>
                  </a:cubicBezTo>
                  <a:cubicBezTo>
                    <a:pt x="8197040" y="3585075"/>
                    <a:pt x="8263763" y="3518352"/>
                    <a:pt x="8346070" y="3518352"/>
                  </a:cubicBezTo>
                  <a:close/>
                  <a:moveTo>
                    <a:pt x="7834194" y="3518352"/>
                  </a:moveTo>
                  <a:cubicBezTo>
                    <a:pt x="7916501" y="3518352"/>
                    <a:pt x="7983224" y="3585074"/>
                    <a:pt x="7983224" y="3667382"/>
                  </a:cubicBezTo>
                  <a:cubicBezTo>
                    <a:pt x="7983224" y="3749688"/>
                    <a:pt x="7916501" y="3816412"/>
                    <a:pt x="7834194" y="3816412"/>
                  </a:cubicBezTo>
                  <a:cubicBezTo>
                    <a:pt x="7751887" y="3816412"/>
                    <a:pt x="7685164" y="3749689"/>
                    <a:pt x="7685164" y="3667382"/>
                  </a:cubicBezTo>
                  <a:cubicBezTo>
                    <a:pt x="7685164" y="3585075"/>
                    <a:pt x="7751887" y="3518352"/>
                    <a:pt x="7834194" y="3518352"/>
                  </a:cubicBezTo>
                  <a:close/>
                  <a:moveTo>
                    <a:pt x="7322128" y="3518352"/>
                  </a:moveTo>
                  <a:cubicBezTo>
                    <a:pt x="7404434" y="3518352"/>
                    <a:pt x="7471158" y="3585074"/>
                    <a:pt x="7471158" y="3667382"/>
                  </a:cubicBezTo>
                  <a:cubicBezTo>
                    <a:pt x="7471158" y="3749688"/>
                    <a:pt x="7404435" y="3816412"/>
                    <a:pt x="7322128" y="3816412"/>
                  </a:cubicBezTo>
                  <a:cubicBezTo>
                    <a:pt x="7239821" y="3816412"/>
                    <a:pt x="7173097" y="3749689"/>
                    <a:pt x="7173097" y="3667382"/>
                  </a:cubicBezTo>
                  <a:cubicBezTo>
                    <a:pt x="7173097" y="3585075"/>
                    <a:pt x="7239820" y="3518352"/>
                    <a:pt x="7322128" y="3518352"/>
                  </a:cubicBezTo>
                  <a:close/>
                  <a:moveTo>
                    <a:pt x="6810062" y="3518352"/>
                  </a:moveTo>
                  <a:cubicBezTo>
                    <a:pt x="6892369" y="3518352"/>
                    <a:pt x="6959092" y="3585074"/>
                    <a:pt x="6959092" y="3667382"/>
                  </a:cubicBezTo>
                  <a:cubicBezTo>
                    <a:pt x="6959092" y="3749688"/>
                    <a:pt x="6892369" y="3816412"/>
                    <a:pt x="6810062" y="3816412"/>
                  </a:cubicBezTo>
                  <a:cubicBezTo>
                    <a:pt x="6727755" y="3816412"/>
                    <a:pt x="6661032" y="3749689"/>
                    <a:pt x="6661032" y="3667382"/>
                  </a:cubicBezTo>
                  <a:cubicBezTo>
                    <a:pt x="6661032" y="3585075"/>
                    <a:pt x="6727755" y="3518352"/>
                    <a:pt x="6810062" y="3518352"/>
                  </a:cubicBezTo>
                  <a:close/>
                  <a:moveTo>
                    <a:pt x="6298186" y="3518352"/>
                  </a:moveTo>
                  <a:cubicBezTo>
                    <a:pt x="6380491" y="3518352"/>
                    <a:pt x="6447215" y="3585074"/>
                    <a:pt x="6447215" y="3667382"/>
                  </a:cubicBezTo>
                  <a:cubicBezTo>
                    <a:pt x="6447215" y="3749688"/>
                    <a:pt x="6380493" y="3816412"/>
                    <a:pt x="6298186" y="3816412"/>
                  </a:cubicBezTo>
                  <a:cubicBezTo>
                    <a:pt x="6215878" y="3816412"/>
                    <a:pt x="6149155" y="3749689"/>
                    <a:pt x="6149155" y="3667382"/>
                  </a:cubicBezTo>
                  <a:cubicBezTo>
                    <a:pt x="6149155" y="3585075"/>
                    <a:pt x="6215877" y="3518352"/>
                    <a:pt x="6298186" y="3518352"/>
                  </a:cubicBezTo>
                  <a:close/>
                  <a:moveTo>
                    <a:pt x="5786126" y="3518352"/>
                  </a:moveTo>
                  <a:cubicBezTo>
                    <a:pt x="5868430" y="3518352"/>
                    <a:pt x="5935149" y="3585074"/>
                    <a:pt x="5935149" y="3667382"/>
                  </a:cubicBezTo>
                  <a:cubicBezTo>
                    <a:pt x="5935149" y="3749688"/>
                    <a:pt x="5868430" y="3816412"/>
                    <a:pt x="5786126" y="3816412"/>
                  </a:cubicBezTo>
                  <a:cubicBezTo>
                    <a:pt x="5703824" y="3816412"/>
                    <a:pt x="5637102" y="3749689"/>
                    <a:pt x="5637102" y="3667382"/>
                  </a:cubicBezTo>
                  <a:cubicBezTo>
                    <a:pt x="5637102" y="3585075"/>
                    <a:pt x="5703823" y="3518352"/>
                    <a:pt x="5786126" y="3518352"/>
                  </a:cubicBezTo>
                  <a:close/>
                  <a:moveTo>
                    <a:pt x="5274270" y="3518352"/>
                  </a:moveTo>
                  <a:cubicBezTo>
                    <a:pt x="5356576" y="3518352"/>
                    <a:pt x="5423296" y="3585074"/>
                    <a:pt x="5423296" y="3667382"/>
                  </a:cubicBezTo>
                  <a:cubicBezTo>
                    <a:pt x="5423296" y="3749688"/>
                    <a:pt x="5356576" y="3816412"/>
                    <a:pt x="5274270" y="3816412"/>
                  </a:cubicBezTo>
                  <a:cubicBezTo>
                    <a:pt x="5191962" y="3816412"/>
                    <a:pt x="5125232" y="3749689"/>
                    <a:pt x="5125232" y="3667382"/>
                  </a:cubicBezTo>
                  <a:cubicBezTo>
                    <a:pt x="5125232" y="3585075"/>
                    <a:pt x="5191962" y="3518352"/>
                    <a:pt x="5274270" y="3518352"/>
                  </a:cubicBezTo>
                  <a:close/>
                  <a:moveTo>
                    <a:pt x="4762180" y="3518352"/>
                  </a:moveTo>
                  <a:cubicBezTo>
                    <a:pt x="4844514" y="3518352"/>
                    <a:pt x="4911249" y="3585074"/>
                    <a:pt x="4911249" y="3667382"/>
                  </a:cubicBezTo>
                  <a:cubicBezTo>
                    <a:pt x="4911249" y="3749688"/>
                    <a:pt x="4844516" y="3816412"/>
                    <a:pt x="4762180" y="3816412"/>
                  </a:cubicBezTo>
                  <a:cubicBezTo>
                    <a:pt x="4679887" y="3816412"/>
                    <a:pt x="4613169" y="3749689"/>
                    <a:pt x="4613169" y="3667382"/>
                  </a:cubicBezTo>
                  <a:cubicBezTo>
                    <a:pt x="4613169" y="3585075"/>
                    <a:pt x="4679887" y="3518352"/>
                    <a:pt x="4762180" y="3518352"/>
                  </a:cubicBezTo>
                  <a:close/>
                  <a:moveTo>
                    <a:pt x="4250316" y="3518352"/>
                  </a:moveTo>
                  <a:cubicBezTo>
                    <a:pt x="4332628" y="3518352"/>
                    <a:pt x="4399355" y="3585074"/>
                    <a:pt x="4399355" y="3667382"/>
                  </a:cubicBezTo>
                  <a:cubicBezTo>
                    <a:pt x="4399355" y="3749688"/>
                    <a:pt x="4332628" y="3816412"/>
                    <a:pt x="4250316" y="3816412"/>
                  </a:cubicBezTo>
                  <a:cubicBezTo>
                    <a:pt x="4168006" y="3816412"/>
                    <a:pt x="4101334" y="3749689"/>
                    <a:pt x="4101334" y="3667382"/>
                  </a:cubicBezTo>
                  <a:cubicBezTo>
                    <a:pt x="4101334" y="3585075"/>
                    <a:pt x="4168006" y="3518352"/>
                    <a:pt x="4250316" y="3518352"/>
                  </a:cubicBezTo>
                  <a:close/>
                  <a:moveTo>
                    <a:pt x="3738289" y="3518352"/>
                  </a:moveTo>
                  <a:cubicBezTo>
                    <a:pt x="3820593" y="3518352"/>
                    <a:pt x="3887320" y="3585074"/>
                    <a:pt x="3887320" y="3667382"/>
                  </a:cubicBezTo>
                  <a:cubicBezTo>
                    <a:pt x="3887320" y="3749688"/>
                    <a:pt x="3820593" y="3816412"/>
                    <a:pt x="3738289" y="3816412"/>
                  </a:cubicBezTo>
                  <a:cubicBezTo>
                    <a:pt x="3655972" y="3816412"/>
                    <a:pt x="3589256" y="3749689"/>
                    <a:pt x="3589256" y="3667382"/>
                  </a:cubicBezTo>
                  <a:cubicBezTo>
                    <a:pt x="3589256" y="3585075"/>
                    <a:pt x="3655972" y="3518352"/>
                    <a:pt x="3738289" y="3518352"/>
                  </a:cubicBezTo>
                  <a:close/>
                  <a:moveTo>
                    <a:pt x="3226242" y="3518352"/>
                  </a:moveTo>
                  <a:cubicBezTo>
                    <a:pt x="3308555" y="3518352"/>
                    <a:pt x="3375284" y="3585074"/>
                    <a:pt x="3375284" y="3667382"/>
                  </a:cubicBezTo>
                  <a:cubicBezTo>
                    <a:pt x="3375284" y="3749688"/>
                    <a:pt x="3308555" y="3816412"/>
                    <a:pt x="3226242" y="3816412"/>
                  </a:cubicBezTo>
                  <a:cubicBezTo>
                    <a:pt x="3143933" y="3816412"/>
                    <a:pt x="3077210" y="3749689"/>
                    <a:pt x="3077210" y="3667382"/>
                  </a:cubicBezTo>
                  <a:cubicBezTo>
                    <a:pt x="3077210" y="3585075"/>
                    <a:pt x="3143933" y="3518352"/>
                    <a:pt x="3226242" y="3518352"/>
                  </a:cubicBezTo>
                  <a:close/>
                  <a:moveTo>
                    <a:pt x="2714363" y="3518352"/>
                  </a:moveTo>
                  <a:cubicBezTo>
                    <a:pt x="2796672" y="3518352"/>
                    <a:pt x="2863399" y="3585074"/>
                    <a:pt x="2863399" y="3667382"/>
                  </a:cubicBezTo>
                  <a:cubicBezTo>
                    <a:pt x="2863399" y="3749688"/>
                    <a:pt x="2796672" y="3816412"/>
                    <a:pt x="2714363" y="3816412"/>
                  </a:cubicBezTo>
                  <a:cubicBezTo>
                    <a:pt x="2632054" y="3816412"/>
                    <a:pt x="2565335" y="3749689"/>
                    <a:pt x="2565335" y="3667382"/>
                  </a:cubicBezTo>
                  <a:cubicBezTo>
                    <a:pt x="2565335" y="3585075"/>
                    <a:pt x="2632054" y="3518352"/>
                    <a:pt x="2714363" y="3518352"/>
                  </a:cubicBezTo>
                  <a:close/>
                  <a:moveTo>
                    <a:pt x="2202307" y="3518352"/>
                  </a:moveTo>
                  <a:cubicBezTo>
                    <a:pt x="2284612" y="3518352"/>
                    <a:pt x="2351334" y="3585074"/>
                    <a:pt x="2351334" y="3667382"/>
                  </a:cubicBezTo>
                  <a:cubicBezTo>
                    <a:pt x="2351334" y="3749688"/>
                    <a:pt x="2284612" y="3816412"/>
                    <a:pt x="2202307" y="3816412"/>
                  </a:cubicBezTo>
                  <a:cubicBezTo>
                    <a:pt x="2120002" y="3816412"/>
                    <a:pt x="2053277" y="3749689"/>
                    <a:pt x="2053277" y="3667382"/>
                  </a:cubicBezTo>
                  <a:cubicBezTo>
                    <a:pt x="2053277" y="3585075"/>
                    <a:pt x="2120002" y="3518352"/>
                    <a:pt x="2202307" y="3518352"/>
                  </a:cubicBezTo>
                  <a:close/>
                  <a:moveTo>
                    <a:pt x="1690413" y="3518352"/>
                  </a:moveTo>
                  <a:cubicBezTo>
                    <a:pt x="1772720" y="3518352"/>
                    <a:pt x="1839443" y="3585074"/>
                    <a:pt x="1839443" y="3667382"/>
                  </a:cubicBezTo>
                  <a:cubicBezTo>
                    <a:pt x="1839443" y="3749688"/>
                    <a:pt x="1772720" y="3816412"/>
                    <a:pt x="1690413" y="3816412"/>
                  </a:cubicBezTo>
                  <a:cubicBezTo>
                    <a:pt x="1608107" y="3816412"/>
                    <a:pt x="1541384" y="3749689"/>
                    <a:pt x="1541384" y="3667382"/>
                  </a:cubicBezTo>
                  <a:cubicBezTo>
                    <a:pt x="1541384" y="3585075"/>
                    <a:pt x="1608107" y="3518352"/>
                    <a:pt x="1690413" y="3518352"/>
                  </a:cubicBezTo>
                  <a:close/>
                  <a:moveTo>
                    <a:pt x="1178354" y="3518352"/>
                  </a:moveTo>
                  <a:cubicBezTo>
                    <a:pt x="1260660" y="3518352"/>
                    <a:pt x="1327383" y="3585074"/>
                    <a:pt x="1327383" y="3667382"/>
                  </a:cubicBezTo>
                  <a:cubicBezTo>
                    <a:pt x="1327383" y="3749688"/>
                    <a:pt x="1260660" y="3816412"/>
                    <a:pt x="1178354" y="3816412"/>
                  </a:cubicBezTo>
                  <a:cubicBezTo>
                    <a:pt x="1096047" y="3816412"/>
                    <a:pt x="1029325" y="3749689"/>
                    <a:pt x="1029325" y="3667382"/>
                  </a:cubicBezTo>
                  <a:cubicBezTo>
                    <a:pt x="1029325" y="3585075"/>
                    <a:pt x="1096047" y="3518352"/>
                    <a:pt x="1178354" y="3518352"/>
                  </a:cubicBezTo>
                  <a:close/>
                  <a:moveTo>
                    <a:pt x="666484" y="3518352"/>
                  </a:moveTo>
                  <a:cubicBezTo>
                    <a:pt x="748790" y="3518352"/>
                    <a:pt x="815513" y="3585074"/>
                    <a:pt x="815513" y="3667382"/>
                  </a:cubicBezTo>
                  <a:cubicBezTo>
                    <a:pt x="815513" y="3749688"/>
                    <a:pt x="748790" y="3816412"/>
                    <a:pt x="666484" y="3816412"/>
                  </a:cubicBezTo>
                  <a:cubicBezTo>
                    <a:pt x="584178" y="3816412"/>
                    <a:pt x="517455" y="3749689"/>
                    <a:pt x="517455" y="3667382"/>
                  </a:cubicBezTo>
                  <a:cubicBezTo>
                    <a:pt x="517455" y="3585075"/>
                    <a:pt x="584178" y="3518352"/>
                    <a:pt x="666484" y="3518352"/>
                  </a:cubicBezTo>
                  <a:close/>
                  <a:moveTo>
                    <a:pt x="154426" y="3518352"/>
                  </a:moveTo>
                  <a:cubicBezTo>
                    <a:pt x="236733" y="3518352"/>
                    <a:pt x="303455" y="3585074"/>
                    <a:pt x="303455" y="3667382"/>
                  </a:cubicBezTo>
                  <a:cubicBezTo>
                    <a:pt x="303455" y="3749688"/>
                    <a:pt x="236733" y="3816412"/>
                    <a:pt x="154426" y="3816412"/>
                  </a:cubicBezTo>
                  <a:cubicBezTo>
                    <a:pt x="72120" y="3816412"/>
                    <a:pt x="5397" y="3749689"/>
                    <a:pt x="5397" y="3667382"/>
                  </a:cubicBezTo>
                  <a:cubicBezTo>
                    <a:pt x="5397" y="3585075"/>
                    <a:pt x="72120" y="3518352"/>
                    <a:pt x="154426" y="3518352"/>
                  </a:cubicBezTo>
                  <a:close/>
                  <a:moveTo>
                    <a:pt x="11929966" y="3078629"/>
                  </a:moveTo>
                  <a:cubicBezTo>
                    <a:pt x="12004345" y="3078629"/>
                    <a:pt x="12064640" y="3138925"/>
                    <a:pt x="12064640" y="3213304"/>
                  </a:cubicBezTo>
                  <a:cubicBezTo>
                    <a:pt x="12064640" y="3287683"/>
                    <a:pt x="12004345" y="3347979"/>
                    <a:pt x="11929966" y="3347979"/>
                  </a:cubicBezTo>
                  <a:cubicBezTo>
                    <a:pt x="11855587" y="3347979"/>
                    <a:pt x="11795291" y="3287683"/>
                    <a:pt x="11795291" y="3213304"/>
                  </a:cubicBezTo>
                  <a:cubicBezTo>
                    <a:pt x="11795291" y="3138925"/>
                    <a:pt x="11855587" y="3078629"/>
                    <a:pt x="11929966" y="3078629"/>
                  </a:cubicBezTo>
                  <a:close/>
                  <a:moveTo>
                    <a:pt x="11417900" y="3078629"/>
                  </a:moveTo>
                  <a:cubicBezTo>
                    <a:pt x="11492279" y="3078629"/>
                    <a:pt x="11552575" y="3138925"/>
                    <a:pt x="11552575" y="3213304"/>
                  </a:cubicBezTo>
                  <a:cubicBezTo>
                    <a:pt x="11552575" y="3287683"/>
                    <a:pt x="11492279" y="3347979"/>
                    <a:pt x="11417900" y="3347979"/>
                  </a:cubicBezTo>
                  <a:cubicBezTo>
                    <a:pt x="11343521" y="3347979"/>
                    <a:pt x="11283225" y="3287683"/>
                    <a:pt x="11283225" y="3213304"/>
                  </a:cubicBezTo>
                  <a:cubicBezTo>
                    <a:pt x="11283225" y="3138925"/>
                    <a:pt x="11343521" y="3078629"/>
                    <a:pt x="11417900" y="3078629"/>
                  </a:cubicBezTo>
                  <a:close/>
                  <a:moveTo>
                    <a:pt x="10906022" y="3078629"/>
                  </a:moveTo>
                  <a:cubicBezTo>
                    <a:pt x="10980401" y="3078629"/>
                    <a:pt x="11040697" y="3138925"/>
                    <a:pt x="11040697" y="3213304"/>
                  </a:cubicBezTo>
                  <a:cubicBezTo>
                    <a:pt x="11040697" y="3287683"/>
                    <a:pt x="10980401" y="3347979"/>
                    <a:pt x="10906022" y="3347979"/>
                  </a:cubicBezTo>
                  <a:cubicBezTo>
                    <a:pt x="10831643" y="3347979"/>
                    <a:pt x="10771347" y="3287683"/>
                    <a:pt x="10771347" y="3213304"/>
                  </a:cubicBezTo>
                  <a:cubicBezTo>
                    <a:pt x="10771347" y="3138925"/>
                    <a:pt x="10831643" y="3078629"/>
                    <a:pt x="10906022" y="3078629"/>
                  </a:cubicBezTo>
                  <a:close/>
                  <a:moveTo>
                    <a:pt x="10393956" y="3078629"/>
                  </a:moveTo>
                  <a:cubicBezTo>
                    <a:pt x="10468335" y="3078629"/>
                    <a:pt x="10528631" y="3138925"/>
                    <a:pt x="10528631" y="3213304"/>
                  </a:cubicBezTo>
                  <a:cubicBezTo>
                    <a:pt x="10528631" y="3287683"/>
                    <a:pt x="10468335" y="3347979"/>
                    <a:pt x="10393956" y="3347979"/>
                  </a:cubicBezTo>
                  <a:cubicBezTo>
                    <a:pt x="10319577" y="3347979"/>
                    <a:pt x="10259282" y="3287683"/>
                    <a:pt x="10259282" y="3213304"/>
                  </a:cubicBezTo>
                  <a:cubicBezTo>
                    <a:pt x="10259282" y="3138925"/>
                    <a:pt x="10319577" y="3078629"/>
                    <a:pt x="10393956" y="3078629"/>
                  </a:cubicBezTo>
                  <a:close/>
                  <a:moveTo>
                    <a:pt x="9882080" y="3078629"/>
                  </a:moveTo>
                  <a:cubicBezTo>
                    <a:pt x="9956459" y="3078629"/>
                    <a:pt x="10016755" y="3138925"/>
                    <a:pt x="10016755" y="3213304"/>
                  </a:cubicBezTo>
                  <a:cubicBezTo>
                    <a:pt x="10016755" y="3287683"/>
                    <a:pt x="9956459" y="3347979"/>
                    <a:pt x="9882080" y="3347979"/>
                  </a:cubicBezTo>
                  <a:cubicBezTo>
                    <a:pt x="9807701" y="3347979"/>
                    <a:pt x="9747405" y="3287683"/>
                    <a:pt x="9747405" y="3213304"/>
                  </a:cubicBezTo>
                  <a:cubicBezTo>
                    <a:pt x="9747405" y="3138925"/>
                    <a:pt x="9807701" y="3078629"/>
                    <a:pt x="9882080" y="3078629"/>
                  </a:cubicBezTo>
                  <a:close/>
                  <a:moveTo>
                    <a:pt x="9370014" y="3078629"/>
                  </a:moveTo>
                  <a:cubicBezTo>
                    <a:pt x="9444393" y="3078629"/>
                    <a:pt x="9504688" y="3138925"/>
                    <a:pt x="9504688" y="3213304"/>
                  </a:cubicBezTo>
                  <a:cubicBezTo>
                    <a:pt x="9504688" y="3287683"/>
                    <a:pt x="9444393" y="3347979"/>
                    <a:pt x="9370014" y="3347979"/>
                  </a:cubicBezTo>
                  <a:cubicBezTo>
                    <a:pt x="9295635" y="3347979"/>
                    <a:pt x="9235339" y="3287683"/>
                    <a:pt x="9235339" y="3213304"/>
                  </a:cubicBezTo>
                  <a:cubicBezTo>
                    <a:pt x="9235339" y="3138925"/>
                    <a:pt x="9295635" y="3078629"/>
                    <a:pt x="9370014" y="3078629"/>
                  </a:cubicBezTo>
                  <a:close/>
                  <a:moveTo>
                    <a:pt x="8858136" y="3078629"/>
                  </a:moveTo>
                  <a:cubicBezTo>
                    <a:pt x="8932516" y="3078629"/>
                    <a:pt x="8992811" y="3138925"/>
                    <a:pt x="8992811" y="3213304"/>
                  </a:cubicBezTo>
                  <a:cubicBezTo>
                    <a:pt x="8992811" y="3287683"/>
                    <a:pt x="8932516" y="3347979"/>
                    <a:pt x="8858136" y="3347979"/>
                  </a:cubicBezTo>
                  <a:cubicBezTo>
                    <a:pt x="8783757" y="3347979"/>
                    <a:pt x="8723462" y="3287683"/>
                    <a:pt x="8723462" y="3213304"/>
                  </a:cubicBezTo>
                  <a:cubicBezTo>
                    <a:pt x="8723462" y="3138925"/>
                    <a:pt x="8783757" y="3078629"/>
                    <a:pt x="8858136" y="3078629"/>
                  </a:cubicBezTo>
                  <a:close/>
                  <a:moveTo>
                    <a:pt x="8346071" y="3078629"/>
                  </a:moveTo>
                  <a:cubicBezTo>
                    <a:pt x="8420450" y="3078629"/>
                    <a:pt x="8480746" y="3138925"/>
                    <a:pt x="8480746" y="3213304"/>
                  </a:cubicBezTo>
                  <a:cubicBezTo>
                    <a:pt x="8480746" y="3287683"/>
                    <a:pt x="8420450" y="3347979"/>
                    <a:pt x="8346071" y="3347979"/>
                  </a:cubicBezTo>
                  <a:cubicBezTo>
                    <a:pt x="8271692" y="3347979"/>
                    <a:pt x="8211396" y="3287683"/>
                    <a:pt x="8211396" y="3213304"/>
                  </a:cubicBezTo>
                  <a:cubicBezTo>
                    <a:pt x="8211396" y="3138925"/>
                    <a:pt x="8271692" y="3078629"/>
                    <a:pt x="8346071" y="3078629"/>
                  </a:cubicBezTo>
                  <a:close/>
                  <a:moveTo>
                    <a:pt x="7834194" y="3078629"/>
                  </a:moveTo>
                  <a:cubicBezTo>
                    <a:pt x="7908573" y="3078629"/>
                    <a:pt x="7968868" y="3138925"/>
                    <a:pt x="7968868" y="3213304"/>
                  </a:cubicBezTo>
                  <a:cubicBezTo>
                    <a:pt x="7968868" y="3287683"/>
                    <a:pt x="7908573" y="3347979"/>
                    <a:pt x="7834194" y="3347979"/>
                  </a:cubicBezTo>
                  <a:cubicBezTo>
                    <a:pt x="7759815" y="3347979"/>
                    <a:pt x="7699519" y="3287683"/>
                    <a:pt x="7699519" y="3213304"/>
                  </a:cubicBezTo>
                  <a:cubicBezTo>
                    <a:pt x="7699519" y="3138925"/>
                    <a:pt x="7759815" y="3078629"/>
                    <a:pt x="7834194" y="3078629"/>
                  </a:cubicBezTo>
                  <a:close/>
                  <a:moveTo>
                    <a:pt x="7322127" y="3078629"/>
                  </a:moveTo>
                  <a:cubicBezTo>
                    <a:pt x="7396506" y="3078629"/>
                    <a:pt x="7456802" y="3138925"/>
                    <a:pt x="7456802" y="3213304"/>
                  </a:cubicBezTo>
                  <a:cubicBezTo>
                    <a:pt x="7456802" y="3287683"/>
                    <a:pt x="7396506" y="3347979"/>
                    <a:pt x="7322127" y="3347979"/>
                  </a:cubicBezTo>
                  <a:cubicBezTo>
                    <a:pt x="7247748" y="3347979"/>
                    <a:pt x="7187453" y="3287683"/>
                    <a:pt x="7187453" y="3213304"/>
                  </a:cubicBezTo>
                  <a:cubicBezTo>
                    <a:pt x="7187453" y="3138925"/>
                    <a:pt x="7247748" y="3078629"/>
                    <a:pt x="7322127" y="3078629"/>
                  </a:cubicBezTo>
                  <a:close/>
                  <a:moveTo>
                    <a:pt x="6810062" y="3078629"/>
                  </a:moveTo>
                  <a:cubicBezTo>
                    <a:pt x="6884441" y="3078629"/>
                    <a:pt x="6944736" y="3138925"/>
                    <a:pt x="6944736" y="3213304"/>
                  </a:cubicBezTo>
                  <a:cubicBezTo>
                    <a:pt x="6944736" y="3287683"/>
                    <a:pt x="6884441" y="3347979"/>
                    <a:pt x="6810062" y="3347979"/>
                  </a:cubicBezTo>
                  <a:cubicBezTo>
                    <a:pt x="6735683" y="3347979"/>
                    <a:pt x="6675387" y="3287683"/>
                    <a:pt x="6675387" y="3213304"/>
                  </a:cubicBezTo>
                  <a:cubicBezTo>
                    <a:pt x="6675387" y="3138925"/>
                    <a:pt x="6735683" y="3078629"/>
                    <a:pt x="6810062" y="3078629"/>
                  </a:cubicBezTo>
                  <a:close/>
                  <a:moveTo>
                    <a:pt x="6298186" y="3078629"/>
                  </a:moveTo>
                  <a:cubicBezTo>
                    <a:pt x="6372564" y="3078629"/>
                    <a:pt x="6432860" y="3138925"/>
                    <a:pt x="6432860" y="3213304"/>
                  </a:cubicBezTo>
                  <a:cubicBezTo>
                    <a:pt x="6432860" y="3287683"/>
                    <a:pt x="6372564" y="3347979"/>
                    <a:pt x="6298186" y="3347979"/>
                  </a:cubicBezTo>
                  <a:cubicBezTo>
                    <a:pt x="6223806" y="3347979"/>
                    <a:pt x="6163510" y="3287683"/>
                    <a:pt x="6163510" y="3213304"/>
                  </a:cubicBezTo>
                  <a:cubicBezTo>
                    <a:pt x="6163510" y="3138925"/>
                    <a:pt x="6223806" y="3078629"/>
                    <a:pt x="6298186" y="3078629"/>
                  </a:cubicBezTo>
                  <a:close/>
                  <a:moveTo>
                    <a:pt x="5786126" y="3078629"/>
                  </a:moveTo>
                  <a:cubicBezTo>
                    <a:pt x="5860504" y="3078629"/>
                    <a:pt x="5920794" y="3138925"/>
                    <a:pt x="5920794" y="3213304"/>
                  </a:cubicBezTo>
                  <a:cubicBezTo>
                    <a:pt x="5920794" y="3287683"/>
                    <a:pt x="5860504" y="3347979"/>
                    <a:pt x="5786126" y="3347979"/>
                  </a:cubicBezTo>
                  <a:cubicBezTo>
                    <a:pt x="5711750" y="3347979"/>
                    <a:pt x="5651456" y="3287683"/>
                    <a:pt x="5651456" y="3213304"/>
                  </a:cubicBezTo>
                  <a:cubicBezTo>
                    <a:pt x="5651456" y="3138925"/>
                    <a:pt x="5711750" y="3078629"/>
                    <a:pt x="5786126" y="3078629"/>
                  </a:cubicBezTo>
                  <a:close/>
                  <a:moveTo>
                    <a:pt x="5274270" y="3078629"/>
                  </a:moveTo>
                  <a:cubicBezTo>
                    <a:pt x="5348647" y="3078629"/>
                    <a:pt x="5408941" y="3138925"/>
                    <a:pt x="5408941" y="3213304"/>
                  </a:cubicBezTo>
                  <a:cubicBezTo>
                    <a:pt x="5408941" y="3287683"/>
                    <a:pt x="5348647" y="3347979"/>
                    <a:pt x="5274270" y="3347979"/>
                  </a:cubicBezTo>
                  <a:cubicBezTo>
                    <a:pt x="5199890" y="3347979"/>
                    <a:pt x="5139595" y="3287683"/>
                    <a:pt x="5139595" y="3213304"/>
                  </a:cubicBezTo>
                  <a:cubicBezTo>
                    <a:pt x="5139595" y="3138925"/>
                    <a:pt x="5199890" y="3078629"/>
                    <a:pt x="5274270" y="3078629"/>
                  </a:cubicBezTo>
                  <a:close/>
                  <a:moveTo>
                    <a:pt x="4762180" y="3078629"/>
                  </a:moveTo>
                  <a:cubicBezTo>
                    <a:pt x="4836585" y="3078629"/>
                    <a:pt x="4896897" y="3138925"/>
                    <a:pt x="4896897" y="3213304"/>
                  </a:cubicBezTo>
                  <a:cubicBezTo>
                    <a:pt x="4896897" y="3287683"/>
                    <a:pt x="4836585" y="3347979"/>
                    <a:pt x="4762180" y="3347979"/>
                  </a:cubicBezTo>
                  <a:cubicBezTo>
                    <a:pt x="4687815" y="3347979"/>
                    <a:pt x="4627526" y="3287683"/>
                    <a:pt x="4627526" y="3213304"/>
                  </a:cubicBezTo>
                  <a:cubicBezTo>
                    <a:pt x="4627526" y="3138925"/>
                    <a:pt x="4687815" y="3078629"/>
                    <a:pt x="4762180" y="3078629"/>
                  </a:cubicBezTo>
                  <a:close/>
                  <a:moveTo>
                    <a:pt x="4250316" y="3078629"/>
                  </a:moveTo>
                  <a:cubicBezTo>
                    <a:pt x="4324700" y="3078629"/>
                    <a:pt x="4385000" y="3138925"/>
                    <a:pt x="4385000" y="3213304"/>
                  </a:cubicBezTo>
                  <a:cubicBezTo>
                    <a:pt x="4385000" y="3287683"/>
                    <a:pt x="4324700" y="3347979"/>
                    <a:pt x="4250316" y="3347979"/>
                  </a:cubicBezTo>
                  <a:cubicBezTo>
                    <a:pt x="4175935" y="3347979"/>
                    <a:pt x="4115689" y="3287683"/>
                    <a:pt x="4115689" y="3213304"/>
                  </a:cubicBezTo>
                  <a:cubicBezTo>
                    <a:pt x="4115689" y="3138925"/>
                    <a:pt x="4175935" y="3078629"/>
                    <a:pt x="4250316" y="3078629"/>
                  </a:cubicBezTo>
                  <a:close/>
                  <a:moveTo>
                    <a:pt x="3738289" y="3078629"/>
                  </a:moveTo>
                  <a:cubicBezTo>
                    <a:pt x="3812664" y="3078629"/>
                    <a:pt x="3872963" y="3138925"/>
                    <a:pt x="3872963" y="3213304"/>
                  </a:cubicBezTo>
                  <a:cubicBezTo>
                    <a:pt x="3872963" y="3287683"/>
                    <a:pt x="3812664" y="3347979"/>
                    <a:pt x="3738289" y="3347979"/>
                  </a:cubicBezTo>
                  <a:cubicBezTo>
                    <a:pt x="3663899" y="3347979"/>
                    <a:pt x="3603609" y="3287683"/>
                    <a:pt x="3603609" y="3213304"/>
                  </a:cubicBezTo>
                  <a:cubicBezTo>
                    <a:pt x="3603609" y="3138925"/>
                    <a:pt x="3663899" y="3078629"/>
                    <a:pt x="3738289" y="3078629"/>
                  </a:cubicBezTo>
                  <a:close/>
                  <a:moveTo>
                    <a:pt x="3226242" y="3078629"/>
                  </a:moveTo>
                  <a:cubicBezTo>
                    <a:pt x="3300623" y="3078629"/>
                    <a:pt x="3360931" y="3138925"/>
                    <a:pt x="3360931" y="3213304"/>
                  </a:cubicBezTo>
                  <a:cubicBezTo>
                    <a:pt x="3360931" y="3287683"/>
                    <a:pt x="3300623" y="3347979"/>
                    <a:pt x="3226242" y="3347979"/>
                  </a:cubicBezTo>
                  <a:cubicBezTo>
                    <a:pt x="3151856" y="3347979"/>
                    <a:pt x="3091565" y="3287683"/>
                    <a:pt x="3091565" y="3213304"/>
                  </a:cubicBezTo>
                  <a:cubicBezTo>
                    <a:pt x="3091565" y="3138925"/>
                    <a:pt x="3151856" y="3078629"/>
                    <a:pt x="3226242" y="3078629"/>
                  </a:cubicBezTo>
                  <a:close/>
                  <a:moveTo>
                    <a:pt x="2714363" y="3078629"/>
                  </a:moveTo>
                  <a:cubicBezTo>
                    <a:pt x="2788741" y="3078629"/>
                    <a:pt x="2849039" y="3138925"/>
                    <a:pt x="2849039" y="3213304"/>
                  </a:cubicBezTo>
                  <a:cubicBezTo>
                    <a:pt x="2849039" y="3287683"/>
                    <a:pt x="2788741" y="3347979"/>
                    <a:pt x="2714363" y="3347979"/>
                  </a:cubicBezTo>
                  <a:cubicBezTo>
                    <a:pt x="2639985" y="3347979"/>
                    <a:pt x="2579687" y="3287683"/>
                    <a:pt x="2579687" y="3213304"/>
                  </a:cubicBezTo>
                  <a:cubicBezTo>
                    <a:pt x="2579687" y="3138925"/>
                    <a:pt x="2639985" y="3078629"/>
                    <a:pt x="2714363" y="3078629"/>
                  </a:cubicBezTo>
                  <a:close/>
                  <a:moveTo>
                    <a:pt x="2202306" y="3078629"/>
                  </a:moveTo>
                  <a:cubicBezTo>
                    <a:pt x="2276684" y="3078629"/>
                    <a:pt x="2336978" y="3138925"/>
                    <a:pt x="2336978" y="3213304"/>
                  </a:cubicBezTo>
                  <a:cubicBezTo>
                    <a:pt x="2336978" y="3287683"/>
                    <a:pt x="2276683" y="3347979"/>
                    <a:pt x="2202306" y="3347979"/>
                  </a:cubicBezTo>
                  <a:cubicBezTo>
                    <a:pt x="2127929" y="3347979"/>
                    <a:pt x="2067631" y="3287683"/>
                    <a:pt x="2067631" y="3213304"/>
                  </a:cubicBezTo>
                  <a:cubicBezTo>
                    <a:pt x="2067631" y="3138925"/>
                    <a:pt x="2127929" y="3078629"/>
                    <a:pt x="2202306" y="3078629"/>
                  </a:cubicBezTo>
                  <a:close/>
                  <a:moveTo>
                    <a:pt x="1690413" y="3078629"/>
                  </a:moveTo>
                  <a:cubicBezTo>
                    <a:pt x="1764791" y="3078629"/>
                    <a:pt x="1825086" y="3138925"/>
                    <a:pt x="1825086" y="3213304"/>
                  </a:cubicBezTo>
                  <a:cubicBezTo>
                    <a:pt x="1825086" y="3287683"/>
                    <a:pt x="1764791" y="3347979"/>
                    <a:pt x="1690413" y="3347979"/>
                  </a:cubicBezTo>
                  <a:cubicBezTo>
                    <a:pt x="1616035" y="3347979"/>
                    <a:pt x="1555739" y="3287683"/>
                    <a:pt x="1555739" y="3213304"/>
                  </a:cubicBezTo>
                  <a:cubicBezTo>
                    <a:pt x="1555739" y="3138925"/>
                    <a:pt x="1616035" y="3078629"/>
                    <a:pt x="1690413" y="3078629"/>
                  </a:cubicBezTo>
                  <a:close/>
                  <a:moveTo>
                    <a:pt x="1178354" y="3078629"/>
                  </a:moveTo>
                  <a:cubicBezTo>
                    <a:pt x="1252731" y="3078629"/>
                    <a:pt x="1313027" y="3138925"/>
                    <a:pt x="1313027" y="3213304"/>
                  </a:cubicBezTo>
                  <a:cubicBezTo>
                    <a:pt x="1313027" y="3287683"/>
                    <a:pt x="1252731" y="3347979"/>
                    <a:pt x="1178354" y="3347979"/>
                  </a:cubicBezTo>
                  <a:cubicBezTo>
                    <a:pt x="1103975" y="3347979"/>
                    <a:pt x="1043680" y="3287683"/>
                    <a:pt x="1043680" y="3213304"/>
                  </a:cubicBezTo>
                  <a:cubicBezTo>
                    <a:pt x="1043680" y="3138925"/>
                    <a:pt x="1103975" y="3078629"/>
                    <a:pt x="1178354" y="3078629"/>
                  </a:cubicBezTo>
                  <a:close/>
                  <a:moveTo>
                    <a:pt x="666484" y="3078629"/>
                  </a:moveTo>
                  <a:cubicBezTo>
                    <a:pt x="740861" y="3078629"/>
                    <a:pt x="801157" y="3138925"/>
                    <a:pt x="801157" y="3213304"/>
                  </a:cubicBezTo>
                  <a:cubicBezTo>
                    <a:pt x="801157" y="3287683"/>
                    <a:pt x="740861" y="3347979"/>
                    <a:pt x="666484" y="3347979"/>
                  </a:cubicBezTo>
                  <a:cubicBezTo>
                    <a:pt x="592105" y="3347979"/>
                    <a:pt x="531810" y="3287683"/>
                    <a:pt x="531810" y="3213304"/>
                  </a:cubicBezTo>
                  <a:cubicBezTo>
                    <a:pt x="531810" y="3138925"/>
                    <a:pt x="592105" y="3078629"/>
                    <a:pt x="666484" y="3078629"/>
                  </a:cubicBezTo>
                  <a:close/>
                  <a:moveTo>
                    <a:pt x="154426" y="3078629"/>
                  </a:moveTo>
                  <a:cubicBezTo>
                    <a:pt x="228804" y="3078629"/>
                    <a:pt x="289099" y="3138925"/>
                    <a:pt x="289099" y="3213304"/>
                  </a:cubicBezTo>
                  <a:cubicBezTo>
                    <a:pt x="289099" y="3287683"/>
                    <a:pt x="228804" y="3347979"/>
                    <a:pt x="154426" y="3347979"/>
                  </a:cubicBezTo>
                  <a:cubicBezTo>
                    <a:pt x="80048" y="3347979"/>
                    <a:pt x="19752" y="3287683"/>
                    <a:pt x="19752" y="3213304"/>
                  </a:cubicBezTo>
                  <a:cubicBezTo>
                    <a:pt x="19752" y="3138925"/>
                    <a:pt x="80048" y="3078629"/>
                    <a:pt x="154426" y="3078629"/>
                  </a:cubicBezTo>
                  <a:close/>
                  <a:moveTo>
                    <a:pt x="11929965" y="2638717"/>
                  </a:moveTo>
                  <a:cubicBezTo>
                    <a:pt x="11996520" y="2638717"/>
                    <a:pt x="12050474" y="2692670"/>
                    <a:pt x="12050474" y="2759225"/>
                  </a:cubicBezTo>
                  <a:cubicBezTo>
                    <a:pt x="12050474" y="2825780"/>
                    <a:pt x="11996520" y="2879734"/>
                    <a:pt x="11929965" y="2879734"/>
                  </a:cubicBezTo>
                  <a:cubicBezTo>
                    <a:pt x="11863411" y="2879734"/>
                    <a:pt x="11809457" y="2825780"/>
                    <a:pt x="11809457" y="2759225"/>
                  </a:cubicBezTo>
                  <a:cubicBezTo>
                    <a:pt x="11809457" y="2692670"/>
                    <a:pt x="11863411" y="2638717"/>
                    <a:pt x="11929965" y="2638717"/>
                  </a:cubicBezTo>
                  <a:close/>
                  <a:moveTo>
                    <a:pt x="11417900" y="2638717"/>
                  </a:moveTo>
                  <a:cubicBezTo>
                    <a:pt x="11484454" y="2638717"/>
                    <a:pt x="11538408" y="2692670"/>
                    <a:pt x="11538408" y="2759225"/>
                  </a:cubicBezTo>
                  <a:cubicBezTo>
                    <a:pt x="11538408" y="2825780"/>
                    <a:pt x="11484454" y="2879734"/>
                    <a:pt x="11417900" y="2879734"/>
                  </a:cubicBezTo>
                  <a:cubicBezTo>
                    <a:pt x="11351345" y="2879734"/>
                    <a:pt x="11297391" y="2825780"/>
                    <a:pt x="11297391" y="2759225"/>
                  </a:cubicBezTo>
                  <a:cubicBezTo>
                    <a:pt x="11297391" y="2692670"/>
                    <a:pt x="11351345" y="2638717"/>
                    <a:pt x="11417900" y="2638717"/>
                  </a:cubicBezTo>
                  <a:close/>
                  <a:moveTo>
                    <a:pt x="10906022" y="2638717"/>
                  </a:moveTo>
                  <a:cubicBezTo>
                    <a:pt x="10972576" y="2638717"/>
                    <a:pt x="11026530" y="2692670"/>
                    <a:pt x="11026530" y="2759225"/>
                  </a:cubicBezTo>
                  <a:cubicBezTo>
                    <a:pt x="11026530" y="2825780"/>
                    <a:pt x="10972576" y="2879734"/>
                    <a:pt x="10906022" y="2879734"/>
                  </a:cubicBezTo>
                  <a:cubicBezTo>
                    <a:pt x="10839467" y="2879734"/>
                    <a:pt x="10785513" y="2825780"/>
                    <a:pt x="10785513" y="2759225"/>
                  </a:cubicBezTo>
                  <a:cubicBezTo>
                    <a:pt x="10785513" y="2692670"/>
                    <a:pt x="10839467" y="2638717"/>
                    <a:pt x="10906022" y="2638717"/>
                  </a:cubicBezTo>
                  <a:close/>
                  <a:moveTo>
                    <a:pt x="10393956" y="2638717"/>
                  </a:moveTo>
                  <a:cubicBezTo>
                    <a:pt x="10460511" y="2638717"/>
                    <a:pt x="10514465" y="2692670"/>
                    <a:pt x="10514465" y="2759225"/>
                  </a:cubicBezTo>
                  <a:cubicBezTo>
                    <a:pt x="10514465" y="2825780"/>
                    <a:pt x="10460511" y="2879734"/>
                    <a:pt x="10393956" y="2879734"/>
                  </a:cubicBezTo>
                  <a:cubicBezTo>
                    <a:pt x="10327402" y="2879734"/>
                    <a:pt x="10273448" y="2825780"/>
                    <a:pt x="10273448" y="2759225"/>
                  </a:cubicBezTo>
                  <a:cubicBezTo>
                    <a:pt x="10273448" y="2692670"/>
                    <a:pt x="10327402" y="2638717"/>
                    <a:pt x="10393956" y="2638717"/>
                  </a:cubicBezTo>
                  <a:close/>
                  <a:moveTo>
                    <a:pt x="9882080" y="2638717"/>
                  </a:moveTo>
                  <a:cubicBezTo>
                    <a:pt x="9948634" y="2638717"/>
                    <a:pt x="10002588" y="2692670"/>
                    <a:pt x="10002588" y="2759225"/>
                  </a:cubicBezTo>
                  <a:cubicBezTo>
                    <a:pt x="10002588" y="2825780"/>
                    <a:pt x="9948634" y="2879734"/>
                    <a:pt x="9882080" y="2879734"/>
                  </a:cubicBezTo>
                  <a:cubicBezTo>
                    <a:pt x="9815525" y="2879734"/>
                    <a:pt x="9761571" y="2825780"/>
                    <a:pt x="9761571" y="2759225"/>
                  </a:cubicBezTo>
                  <a:cubicBezTo>
                    <a:pt x="9761571" y="2692670"/>
                    <a:pt x="9815525" y="2638717"/>
                    <a:pt x="9882080" y="2638717"/>
                  </a:cubicBezTo>
                  <a:close/>
                  <a:moveTo>
                    <a:pt x="9370013" y="2638717"/>
                  </a:moveTo>
                  <a:cubicBezTo>
                    <a:pt x="9436568" y="2638717"/>
                    <a:pt x="9490522" y="2692670"/>
                    <a:pt x="9490522" y="2759225"/>
                  </a:cubicBezTo>
                  <a:cubicBezTo>
                    <a:pt x="9490522" y="2825780"/>
                    <a:pt x="9436568" y="2879734"/>
                    <a:pt x="9370013" y="2879734"/>
                  </a:cubicBezTo>
                  <a:cubicBezTo>
                    <a:pt x="9303458" y="2879734"/>
                    <a:pt x="9249505" y="2825780"/>
                    <a:pt x="9249505" y="2759225"/>
                  </a:cubicBezTo>
                  <a:cubicBezTo>
                    <a:pt x="9249505" y="2692670"/>
                    <a:pt x="9303458" y="2638717"/>
                    <a:pt x="9370013" y="2638717"/>
                  </a:cubicBezTo>
                  <a:close/>
                  <a:moveTo>
                    <a:pt x="8858136" y="2638717"/>
                  </a:moveTo>
                  <a:cubicBezTo>
                    <a:pt x="8924691" y="2638717"/>
                    <a:pt x="8978645" y="2692670"/>
                    <a:pt x="8978645" y="2759225"/>
                  </a:cubicBezTo>
                  <a:cubicBezTo>
                    <a:pt x="8978645" y="2825780"/>
                    <a:pt x="8924691" y="2879734"/>
                    <a:pt x="8858136" y="2879734"/>
                  </a:cubicBezTo>
                  <a:cubicBezTo>
                    <a:pt x="8791581" y="2879734"/>
                    <a:pt x="8737628" y="2825780"/>
                    <a:pt x="8737628" y="2759225"/>
                  </a:cubicBezTo>
                  <a:cubicBezTo>
                    <a:pt x="8737628" y="2692670"/>
                    <a:pt x="8791581" y="2638717"/>
                    <a:pt x="8858136" y="2638717"/>
                  </a:cubicBezTo>
                  <a:close/>
                  <a:moveTo>
                    <a:pt x="8346070" y="2638717"/>
                  </a:moveTo>
                  <a:cubicBezTo>
                    <a:pt x="8412626" y="2638717"/>
                    <a:pt x="8466579" y="2692670"/>
                    <a:pt x="8466579" y="2759225"/>
                  </a:cubicBezTo>
                  <a:cubicBezTo>
                    <a:pt x="8466579" y="2825780"/>
                    <a:pt x="8412626" y="2879734"/>
                    <a:pt x="8346070" y="2879734"/>
                  </a:cubicBezTo>
                  <a:cubicBezTo>
                    <a:pt x="8279515" y="2879734"/>
                    <a:pt x="8225562" y="2825780"/>
                    <a:pt x="8225562" y="2759225"/>
                  </a:cubicBezTo>
                  <a:cubicBezTo>
                    <a:pt x="8225562" y="2692670"/>
                    <a:pt x="8279515" y="2638717"/>
                    <a:pt x="8346070" y="2638717"/>
                  </a:cubicBezTo>
                  <a:close/>
                  <a:moveTo>
                    <a:pt x="7834193" y="2638717"/>
                  </a:moveTo>
                  <a:cubicBezTo>
                    <a:pt x="7900748" y="2638717"/>
                    <a:pt x="7954702" y="2692670"/>
                    <a:pt x="7954702" y="2759225"/>
                  </a:cubicBezTo>
                  <a:cubicBezTo>
                    <a:pt x="7954702" y="2825780"/>
                    <a:pt x="7900748" y="2879734"/>
                    <a:pt x="7834193" y="2879734"/>
                  </a:cubicBezTo>
                  <a:cubicBezTo>
                    <a:pt x="7767638" y="2879734"/>
                    <a:pt x="7713685" y="2825780"/>
                    <a:pt x="7713685" y="2759225"/>
                  </a:cubicBezTo>
                  <a:cubicBezTo>
                    <a:pt x="7713685" y="2692670"/>
                    <a:pt x="7767638" y="2638717"/>
                    <a:pt x="7834193" y="2638717"/>
                  </a:cubicBezTo>
                  <a:close/>
                  <a:moveTo>
                    <a:pt x="7322127" y="2638717"/>
                  </a:moveTo>
                  <a:cubicBezTo>
                    <a:pt x="7388682" y="2638717"/>
                    <a:pt x="7442635" y="2692670"/>
                    <a:pt x="7442635" y="2759225"/>
                  </a:cubicBezTo>
                  <a:cubicBezTo>
                    <a:pt x="7442635" y="2825780"/>
                    <a:pt x="7388682" y="2879734"/>
                    <a:pt x="7322127" y="2879734"/>
                  </a:cubicBezTo>
                  <a:cubicBezTo>
                    <a:pt x="7255572" y="2879734"/>
                    <a:pt x="7201619" y="2825780"/>
                    <a:pt x="7201619" y="2759225"/>
                  </a:cubicBezTo>
                  <a:cubicBezTo>
                    <a:pt x="7201619" y="2692670"/>
                    <a:pt x="7255572" y="2638717"/>
                    <a:pt x="7322127" y="2638717"/>
                  </a:cubicBezTo>
                  <a:close/>
                  <a:moveTo>
                    <a:pt x="6810061" y="2638717"/>
                  </a:moveTo>
                  <a:cubicBezTo>
                    <a:pt x="6876616" y="2638717"/>
                    <a:pt x="6930570" y="2692670"/>
                    <a:pt x="6930570" y="2759225"/>
                  </a:cubicBezTo>
                  <a:cubicBezTo>
                    <a:pt x="6930570" y="2825780"/>
                    <a:pt x="6876616" y="2879734"/>
                    <a:pt x="6810061" y="2879734"/>
                  </a:cubicBezTo>
                  <a:cubicBezTo>
                    <a:pt x="6743506" y="2879734"/>
                    <a:pt x="6689553" y="2825780"/>
                    <a:pt x="6689553" y="2759225"/>
                  </a:cubicBezTo>
                  <a:cubicBezTo>
                    <a:pt x="6689553" y="2692670"/>
                    <a:pt x="6743506" y="2638717"/>
                    <a:pt x="6810061" y="2638717"/>
                  </a:cubicBezTo>
                  <a:close/>
                  <a:moveTo>
                    <a:pt x="6298184" y="2638717"/>
                  </a:moveTo>
                  <a:cubicBezTo>
                    <a:pt x="6364739" y="2638717"/>
                    <a:pt x="6418693" y="2692670"/>
                    <a:pt x="6418693" y="2759225"/>
                  </a:cubicBezTo>
                  <a:cubicBezTo>
                    <a:pt x="6418693" y="2825780"/>
                    <a:pt x="6364739" y="2879734"/>
                    <a:pt x="6298184" y="2879734"/>
                  </a:cubicBezTo>
                  <a:cubicBezTo>
                    <a:pt x="6231629" y="2879734"/>
                    <a:pt x="6177677" y="2825780"/>
                    <a:pt x="6177677" y="2759225"/>
                  </a:cubicBezTo>
                  <a:cubicBezTo>
                    <a:pt x="6177677" y="2692670"/>
                    <a:pt x="6231629" y="2638717"/>
                    <a:pt x="6298184" y="2638717"/>
                  </a:cubicBezTo>
                  <a:close/>
                  <a:moveTo>
                    <a:pt x="5786126" y="2638717"/>
                  </a:moveTo>
                  <a:cubicBezTo>
                    <a:pt x="5852678" y="2638717"/>
                    <a:pt x="5906628" y="2692670"/>
                    <a:pt x="5906628" y="2759225"/>
                  </a:cubicBezTo>
                  <a:cubicBezTo>
                    <a:pt x="5906628" y="2825780"/>
                    <a:pt x="5852678" y="2879734"/>
                    <a:pt x="5786126" y="2879734"/>
                  </a:cubicBezTo>
                  <a:cubicBezTo>
                    <a:pt x="5719573" y="2879734"/>
                    <a:pt x="5665623" y="2825780"/>
                    <a:pt x="5665623" y="2759225"/>
                  </a:cubicBezTo>
                  <a:cubicBezTo>
                    <a:pt x="5665623" y="2692670"/>
                    <a:pt x="5719573" y="2638717"/>
                    <a:pt x="5786126" y="2638717"/>
                  </a:cubicBezTo>
                  <a:close/>
                  <a:moveTo>
                    <a:pt x="5274270" y="2638717"/>
                  </a:moveTo>
                  <a:cubicBezTo>
                    <a:pt x="5340824" y="2638717"/>
                    <a:pt x="5394775" y="2692670"/>
                    <a:pt x="5394775" y="2759225"/>
                  </a:cubicBezTo>
                  <a:cubicBezTo>
                    <a:pt x="5394775" y="2825780"/>
                    <a:pt x="5340824" y="2879734"/>
                    <a:pt x="5274270" y="2879734"/>
                  </a:cubicBezTo>
                  <a:cubicBezTo>
                    <a:pt x="5207718" y="2879734"/>
                    <a:pt x="5153767" y="2825780"/>
                    <a:pt x="5153767" y="2759225"/>
                  </a:cubicBezTo>
                  <a:cubicBezTo>
                    <a:pt x="5153767" y="2692670"/>
                    <a:pt x="5207718" y="2638717"/>
                    <a:pt x="5274270" y="2638717"/>
                  </a:cubicBezTo>
                  <a:close/>
                  <a:moveTo>
                    <a:pt x="4762180" y="2638717"/>
                  </a:moveTo>
                  <a:cubicBezTo>
                    <a:pt x="4828758" y="2638717"/>
                    <a:pt x="4882728" y="2692670"/>
                    <a:pt x="4882728" y="2759225"/>
                  </a:cubicBezTo>
                  <a:cubicBezTo>
                    <a:pt x="4882728" y="2825780"/>
                    <a:pt x="4828758" y="2879734"/>
                    <a:pt x="4762180" y="2879734"/>
                  </a:cubicBezTo>
                  <a:cubicBezTo>
                    <a:pt x="4695639" y="2879734"/>
                    <a:pt x="4641689" y="2825780"/>
                    <a:pt x="4641689" y="2759225"/>
                  </a:cubicBezTo>
                  <a:cubicBezTo>
                    <a:pt x="4641689" y="2692670"/>
                    <a:pt x="4695639" y="2638717"/>
                    <a:pt x="4762180" y="2638717"/>
                  </a:cubicBezTo>
                  <a:close/>
                  <a:moveTo>
                    <a:pt x="4250316" y="2638717"/>
                  </a:moveTo>
                  <a:cubicBezTo>
                    <a:pt x="4316876" y="2638717"/>
                    <a:pt x="4370831" y="2692670"/>
                    <a:pt x="4370831" y="2759225"/>
                  </a:cubicBezTo>
                  <a:cubicBezTo>
                    <a:pt x="4370831" y="2825780"/>
                    <a:pt x="4316876" y="2879734"/>
                    <a:pt x="4250316" y="2879734"/>
                  </a:cubicBezTo>
                  <a:cubicBezTo>
                    <a:pt x="4183758" y="2879734"/>
                    <a:pt x="4129855" y="2825780"/>
                    <a:pt x="4129855" y="2759225"/>
                  </a:cubicBezTo>
                  <a:cubicBezTo>
                    <a:pt x="4129855" y="2692670"/>
                    <a:pt x="4183758" y="2638717"/>
                    <a:pt x="4250316" y="2638717"/>
                  </a:cubicBezTo>
                  <a:close/>
                  <a:moveTo>
                    <a:pt x="3738287" y="2638717"/>
                  </a:moveTo>
                  <a:cubicBezTo>
                    <a:pt x="3804840" y="2638717"/>
                    <a:pt x="3858795" y="2692670"/>
                    <a:pt x="3858795" y="2759225"/>
                  </a:cubicBezTo>
                  <a:cubicBezTo>
                    <a:pt x="3858795" y="2825780"/>
                    <a:pt x="3804840" y="2879734"/>
                    <a:pt x="3738287" y="2879734"/>
                  </a:cubicBezTo>
                  <a:cubicBezTo>
                    <a:pt x="3671724" y="2879734"/>
                    <a:pt x="3617773" y="2825780"/>
                    <a:pt x="3617773" y="2759225"/>
                  </a:cubicBezTo>
                  <a:cubicBezTo>
                    <a:pt x="3617773" y="2692670"/>
                    <a:pt x="3671724" y="2638717"/>
                    <a:pt x="3738287" y="2638717"/>
                  </a:cubicBezTo>
                  <a:close/>
                  <a:moveTo>
                    <a:pt x="3226242" y="2638717"/>
                  </a:moveTo>
                  <a:cubicBezTo>
                    <a:pt x="3292801" y="2638717"/>
                    <a:pt x="3346764" y="2692670"/>
                    <a:pt x="3346764" y="2759225"/>
                  </a:cubicBezTo>
                  <a:cubicBezTo>
                    <a:pt x="3346764" y="2825780"/>
                    <a:pt x="3292801" y="2879734"/>
                    <a:pt x="3226242" y="2879734"/>
                  </a:cubicBezTo>
                  <a:cubicBezTo>
                    <a:pt x="3159683" y="2879734"/>
                    <a:pt x="3105731" y="2825780"/>
                    <a:pt x="3105731" y="2759225"/>
                  </a:cubicBezTo>
                  <a:cubicBezTo>
                    <a:pt x="3105731" y="2692670"/>
                    <a:pt x="3159683" y="2638717"/>
                    <a:pt x="3226242" y="2638717"/>
                  </a:cubicBezTo>
                  <a:close/>
                  <a:moveTo>
                    <a:pt x="2714362" y="2638717"/>
                  </a:moveTo>
                  <a:cubicBezTo>
                    <a:pt x="2780917" y="2638717"/>
                    <a:pt x="2834873" y="2692670"/>
                    <a:pt x="2834873" y="2759225"/>
                  </a:cubicBezTo>
                  <a:cubicBezTo>
                    <a:pt x="2834873" y="2825780"/>
                    <a:pt x="2780917" y="2879734"/>
                    <a:pt x="2714362" y="2879734"/>
                  </a:cubicBezTo>
                  <a:cubicBezTo>
                    <a:pt x="2647808" y="2879734"/>
                    <a:pt x="2593854" y="2825780"/>
                    <a:pt x="2593854" y="2759225"/>
                  </a:cubicBezTo>
                  <a:cubicBezTo>
                    <a:pt x="2593854" y="2692670"/>
                    <a:pt x="2647808" y="2638717"/>
                    <a:pt x="2714362" y="2638717"/>
                  </a:cubicBezTo>
                  <a:close/>
                  <a:moveTo>
                    <a:pt x="2202306" y="2638717"/>
                  </a:moveTo>
                  <a:cubicBezTo>
                    <a:pt x="2268862" y="2638717"/>
                    <a:pt x="2322813" y="2692670"/>
                    <a:pt x="2322813" y="2759225"/>
                  </a:cubicBezTo>
                  <a:cubicBezTo>
                    <a:pt x="2322813" y="2825780"/>
                    <a:pt x="2268860" y="2879734"/>
                    <a:pt x="2202306" y="2879734"/>
                  </a:cubicBezTo>
                  <a:cubicBezTo>
                    <a:pt x="2135752" y="2879734"/>
                    <a:pt x="2081795" y="2825780"/>
                    <a:pt x="2081795" y="2759225"/>
                  </a:cubicBezTo>
                  <a:cubicBezTo>
                    <a:pt x="2081795" y="2692670"/>
                    <a:pt x="2135752" y="2638717"/>
                    <a:pt x="2202306" y="2638717"/>
                  </a:cubicBezTo>
                  <a:close/>
                  <a:moveTo>
                    <a:pt x="1690412" y="2638717"/>
                  </a:moveTo>
                  <a:cubicBezTo>
                    <a:pt x="1756967" y="2638717"/>
                    <a:pt x="1810920" y="2692670"/>
                    <a:pt x="1810920" y="2759225"/>
                  </a:cubicBezTo>
                  <a:cubicBezTo>
                    <a:pt x="1810920" y="2825780"/>
                    <a:pt x="1756967" y="2879734"/>
                    <a:pt x="1690412" y="2879734"/>
                  </a:cubicBezTo>
                  <a:cubicBezTo>
                    <a:pt x="1623857" y="2879734"/>
                    <a:pt x="1569905" y="2825780"/>
                    <a:pt x="1569905" y="2759225"/>
                  </a:cubicBezTo>
                  <a:cubicBezTo>
                    <a:pt x="1569905" y="2692670"/>
                    <a:pt x="1623857" y="2638717"/>
                    <a:pt x="1690412" y="2638717"/>
                  </a:cubicBezTo>
                  <a:close/>
                  <a:moveTo>
                    <a:pt x="1178354" y="2638717"/>
                  </a:moveTo>
                  <a:cubicBezTo>
                    <a:pt x="1244908" y="2638717"/>
                    <a:pt x="1298862" y="2692670"/>
                    <a:pt x="1298862" y="2759225"/>
                  </a:cubicBezTo>
                  <a:cubicBezTo>
                    <a:pt x="1298862" y="2825780"/>
                    <a:pt x="1244908" y="2879734"/>
                    <a:pt x="1178354" y="2879734"/>
                  </a:cubicBezTo>
                  <a:cubicBezTo>
                    <a:pt x="1111799" y="2879734"/>
                    <a:pt x="1057846" y="2825780"/>
                    <a:pt x="1057846" y="2759225"/>
                  </a:cubicBezTo>
                  <a:cubicBezTo>
                    <a:pt x="1057846" y="2692670"/>
                    <a:pt x="1111799" y="2638717"/>
                    <a:pt x="1178354" y="2638717"/>
                  </a:cubicBezTo>
                  <a:close/>
                  <a:moveTo>
                    <a:pt x="666483" y="2638717"/>
                  </a:moveTo>
                  <a:cubicBezTo>
                    <a:pt x="733037" y="2638717"/>
                    <a:pt x="786991" y="2692670"/>
                    <a:pt x="786991" y="2759225"/>
                  </a:cubicBezTo>
                  <a:cubicBezTo>
                    <a:pt x="786991" y="2825780"/>
                    <a:pt x="733037" y="2879734"/>
                    <a:pt x="666483" y="2879734"/>
                  </a:cubicBezTo>
                  <a:cubicBezTo>
                    <a:pt x="599928" y="2879734"/>
                    <a:pt x="545976" y="2825780"/>
                    <a:pt x="545976" y="2759225"/>
                  </a:cubicBezTo>
                  <a:cubicBezTo>
                    <a:pt x="545976" y="2692670"/>
                    <a:pt x="599928" y="2638717"/>
                    <a:pt x="666483" y="2638717"/>
                  </a:cubicBezTo>
                  <a:close/>
                  <a:moveTo>
                    <a:pt x="154426" y="2638717"/>
                  </a:moveTo>
                  <a:cubicBezTo>
                    <a:pt x="220980" y="2638717"/>
                    <a:pt x="274934" y="2692670"/>
                    <a:pt x="274934" y="2759225"/>
                  </a:cubicBezTo>
                  <a:cubicBezTo>
                    <a:pt x="274934" y="2825780"/>
                    <a:pt x="220980" y="2879734"/>
                    <a:pt x="154426" y="2879734"/>
                  </a:cubicBezTo>
                  <a:cubicBezTo>
                    <a:pt x="87871" y="2879734"/>
                    <a:pt x="33919" y="2825780"/>
                    <a:pt x="33919" y="2759225"/>
                  </a:cubicBezTo>
                  <a:cubicBezTo>
                    <a:pt x="33919" y="2692670"/>
                    <a:pt x="87871" y="2638717"/>
                    <a:pt x="154426" y="2638717"/>
                  </a:cubicBezTo>
                  <a:close/>
                  <a:moveTo>
                    <a:pt x="11929965" y="2198994"/>
                  </a:moveTo>
                  <a:cubicBezTo>
                    <a:pt x="11988591" y="2198994"/>
                    <a:pt x="12036118" y="2246520"/>
                    <a:pt x="12036118" y="2305147"/>
                  </a:cubicBezTo>
                  <a:cubicBezTo>
                    <a:pt x="12036118" y="2363774"/>
                    <a:pt x="11988591" y="2411300"/>
                    <a:pt x="11929965" y="2411300"/>
                  </a:cubicBezTo>
                  <a:cubicBezTo>
                    <a:pt x="11871339" y="2411300"/>
                    <a:pt x="11823812" y="2363774"/>
                    <a:pt x="11823812" y="2305147"/>
                  </a:cubicBezTo>
                  <a:cubicBezTo>
                    <a:pt x="11823812" y="2246520"/>
                    <a:pt x="11871339" y="2198994"/>
                    <a:pt x="11929965" y="2198994"/>
                  </a:cubicBezTo>
                  <a:close/>
                  <a:moveTo>
                    <a:pt x="11417900" y="2198994"/>
                  </a:moveTo>
                  <a:cubicBezTo>
                    <a:pt x="11476527" y="2198994"/>
                    <a:pt x="11524053" y="2246520"/>
                    <a:pt x="11524053" y="2305147"/>
                  </a:cubicBezTo>
                  <a:cubicBezTo>
                    <a:pt x="11524053" y="2363774"/>
                    <a:pt x="11476527" y="2411300"/>
                    <a:pt x="11417900" y="2411300"/>
                  </a:cubicBezTo>
                  <a:cubicBezTo>
                    <a:pt x="11359274" y="2411300"/>
                    <a:pt x="11311747" y="2363774"/>
                    <a:pt x="11311747" y="2305147"/>
                  </a:cubicBezTo>
                  <a:cubicBezTo>
                    <a:pt x="11311747" y="2246520"/>
                    <a:pt x="11359274" y="2198994"/>
                    <a:pt x="11417900" y="2198994"/>
                  </a:cubicBezTo>
                  <a:close/>
                  <a:moveTo>
                    <a:pt x="10906023" y="2198994"/>
                  </a:moveTo>
                  <a:cubicBezTo>
                    <a:pt x="10964649" y="2198994"/>
                    <a:pt x="11012176" y="2246520"/>
                    <a:pt x="11012176" y="2305147"/>
                  </a:cubicBezTo>
                  <a:cubicBezTo>
                    <a:pt x="11012176" y="2363774"/>
                    <a:pt x="10964649" y="2411300"/>
                    <a:pt x="10906023" y="2411300"/>
                  </a:cubicBezTo>
                  <a:cubicBezTo>
                    <a:pt x="10847396" y="2411300"/>
                    <a:pt x="10799870" y="2363774"/>
                    <a:pt x="10799870" y="2305147"/>
                  </a:cubicBezTo>
                  <a:cubicBezTo>
                    <a:pt x="10799870" y="2246520"/>
                    <a:pt x="10847396" y="2198994"/>
                    <a:pt x="10906023" y="2198994"/>
                  </a:cubicBezTo>
                  <a:close/>
                  <a:moveTo>
                    <a:pt x="10393957" y="2198994"/>
                  </a:moveTo>
                  <a:cubicBezTo>
                    <a:pt x="10452583" y="2198994"/>
                    <a:pt x="10500110" y="2246520"/>
                    <a:pt x="10500110" y="2305147"/>
                  </a:cubicBezTo>
                  <a:cubicBezTo>
                    <a:pt x="10500110" y="2363774"/>
                    <a:pt x="10452583" y="2411300"/>
                    <a:pt x="10393957" y="2411300"/>
                  </a:cubicBezTo>
                  <a:cubicBezTo>
                    <a:pt x="10335331" y="2411300"/>
                    <a:pt x="10287804" y="2363774"/>
                    <a:pt x="10287804" y="2305147"/>
                  </a:cubicBezTo>
                  <a:cubicBezTo>
                    <a:pt x="10287804" y="2246520"/>
                    <a:pt x="10335331" y="2198994"/>
                    <a:pt x="10393957" y="2198994"/>
                  </a:cubicBezTo>
                  <a:close/>
                  <a:moveTo>
                    <a:pt x="9882079" y="2198994"/>
                  </a:moveTo>
                  <a:cubicBezTo>
                    <a:pt x="9940706" y="2198994"/>
                    <a:pt x="9988232" y="2246520"/>
                    <a:pt x="9988232" y="2305147"/>
                  </a:cubicBezTo>
                  <a:cubicBezTo>
                    <a:pt x="9988232" y="2363774"/>
                    <a:pt x="9940706" y="2411300"/>
                    <a:pt x="9882079" y="2411300"/>
                  </a:cubicBezTo>
                  <a:cubicBezTo>
                    <a:pt x="9823453" y="2411300"/>
                    <a:pt x="9775926" y="2363774"/>
                    <a:pt x="9775926" y="2305147"/>
                  </a:cubicBezTo>
                  <a:cubicBezTo>
                    <a:pt x="9775926" y="2246520"/>
                    <a:pt x="9823453" y="2198994"/>
                    <a:pt x="9882079" y="2198994"/>
                  </a:cubicBezTo>
                  <a:close/>
                  <a:moveTo>
                    <a:pt x="9370014" y="2198994"/>
                  </a:moveTo>
                  <a:cubicBezTo>
                    <a:pt x="9428568" y="2198994"/>
                    <a:pt x="9476167" y="2246593"/>
                    <a:pt x="9476167" y="2305147"/>
                  </a:cubicBezTo>
                  <a:cubicBezTo>
                    <a:pt x="9476167" y="2363701"/>
                    <a:pt x="9428568" y="2411300"/>
                    <a:pt x="9370014" y="2411300"/>
                  </a:cubicBezTo>
                  <a:cubicBezTo>
                    <a:pt x="9311460" y="2411300"/>
                    <a:pt x="9263861" y="2363701"/>
                    <a:pt x="9263861" y="2305147"/>
                  </a:cubicBezTo>
                  <a:cubicBezTo>
                    <a:pt x="9263861" y="2246593"/>
                    <a:pt x="9311460" y="2198994"/>
                    <a:pt x="9370014" y="2198994"/>
                  </a:cubicBezTo>
                  <a:close/>
                  <a:moveTo>
                    <a:pt x="8858136" y="2198994"/>
                  </a:moveTo>
                  <a:cubicBezTo>
                    <a:pt x="8916763" y="2198994"/>
                    <a:pt x="8964289" y="2246520"/>
                    <a:pt x="8964289" y="2305147"/>
                  </a:cubicBezTo>
                  <a:cubicBezTo>
                    <a:pt x="8964289" y="2363774"/>
                    <a:pt x="8916762" y="2411300"/>
                    <a:pt x="8858136" y="2411300"/>
                  </a:cubicBezTo>
                  <a:cubicBezTo>
                    <a:pt x="8799509" y="2411300"/>
                    <a:pt x="8751983" y="2363774"/>
                    <a:pt x="8751983" y="2305147"/>
                  </a:cubicBezTo>
                  <a:cubicBezTo>
                    <a:pt x="8751983" y="2246520"/>
                    <a:pt x="8799510" y="2198994"/>
                    <a:pt x="8858136" y="2198994"/>
                  </a:cubicBezTo>
                  <a:close/>
                  <a:moveTo>
                    <a:pt x="8346071" y="2198994"/>
                  </a:moveTo>
                  <a:cubicBezTo>
                    <a:pt x="8404698" y="2198994"/>
                    <a:pt x="8452224" y="2246520"/>
                    <a:pt x="8452224" y="2305147"/>
                  </a:cubicBezTo>
                  <a:cubicBezTo>
                    <a:pt x="8452224" y="2363774"/>
                    <a:pt x="8404698" y="2411300"/>
                    <a:pt x="8346071" y="2411300"/>
                  </a:cubicBezTo>
                  <a:cubicBezTo>
                    <a:pt x="8287444" y="2411300"/>
                    <a:pt x="8239918" y="2363774"/>
                    <a:pt x="8239918" y="2305147"/>
                  </a:cubicBezTo>
                  <a:cubicBezTo>
                    <a:pt x="8239918" y="2246520"/>
                    <a:pt x="8287445" y="2198994"/>
                    <a:pt x="8346071" y="2198994"/>
                  </a:cubicBezTo>
                  <a:close/>
                  <a:moveTo>
                    <a:pt x="7834194" y="2198994"/>
                  </a:moveTo>
                  <a:cubicBezTo>
                    <a:pt x="7892748" y="2198994"/>
                    <a:pt x="7940347" y="2246593"/>
                    <a:pt x="7940347" y="2305147"/>
                  </a:cubicBezTo>
                  <a:cubicBezTo>
                    <a:pt x="7940347" y="2363701"/>
                    <a:pt x="7892748" y="2411300"/>
                    <a:pt x="7834194" y="2411300"/>
                  </a:cubicBezTo>
                  <a:cubicBezTo>
                    <a:pt x="7775640" y="2411300"/>
                    <a:pt x="7728041" y="2363701"/>
                    <a:pt x="7728041" y="2305147"/>
                  </a:cubicBezTo>
                  <a:cubicBezTo>
                    <a:pt x="7728041" y="2246593"/>
                    <a:pt x="7775640" y="2198994"/>
                    <a:pt x="7834194" y="2198994"/>
                  </a:cubicBezTo>
                  <a:close/>
                  <a:moveTo>
                    <a:pt x="7322128" y="2198994"/>
                  </a:moveTo>
                  <a:cubicBezTo>
                    <a:pt x="7380755" y="2198994"/>
                    <a:pt x="7428281" y="2246520"/>
                    <a:pt x="7428281" y="2305147"/>
                  </a:cubicBezTo>
                  <a:cubicBezTo>
                    <a:pt x="7428281" y="2363774"/>
                    <a:pt x="7380755" y="2411300"/>
                    <a:pt x="7322128" y="2411300"/>
                  </a:cubicBezTo>
                  <a:cubicBezTo>
                    <a:pt x="7263501" y="2411300"/>
                    <a:pt x="7215975" y="2363774"/>
                    <a:pt x="7215975" y="2305147"/>
                  </a:cubicBezTo>
                  <a:cubicBezTo>
                    <a:pt x="7215975" y="2246520"/>
                    <a:pt x="7263502" y="2198994"/>
                    <a:pt x="7322128" y="2198994"/>
                  </a:cubicBezTo>
                  <a:close/>
                  <a:moveTo>
                    <a:pt x="6810062" y="2198994"/>
                  </a:moveTo>
                  <a:cubicBezTo>
                    <a:pt x="6868689" y="2198994"/>
                    <a:pt x="6916215" y="2246520"/>
                    <a:pt x="6916215" y="2305147"/>
                  </a:cubicBezTo>
                  <a:cubicBezTo>
                    <a:pt x="6916215" y="2363774"/>
                    <a:pt x="6868688" y="2411300"/>
                    <a:pt x="6810062" y="2411300"/>
                  </a:cubicBezTo>
                  <a:cubicBezTo>
                    <a:pt x="6751435" y="2411300"/>
                    <a:pt x="6703909" y="2363774"/>
                    <a:pt x="6703909" y="2305147"/>
                  </a:cubicBezTo>
                  <a:cubicBezTo>
                    <a:pt x="6703909" y="2246520"/>
                    <a:pt x="6751436" y="2198994"/>
                    <a:pt x="6810062" y="2198994"/>
                  </a:cubicBezTo>
                  <a:close/>
                  <a:moveTo>
                    <a:pt x="6298186" y="2198994"/>
                  </a:moveTo>
                  <a:cubicBezTo>
                    <a:pt x="6356812" y="2198994"/>
                    <a:pt x="6404338" y="2246520"/>
                    <a:pt x="6404338" y="2305147"/>
                  </a:cubicBezTo>
                  <a:cubicBezTo>
                    <a:pt x="6404338" y="2363774"/>
                    <a:pt x="6356812" y="2411300"/>
                    <a:pt x="6298186" y="2411300"/>
                  </a:cubicBezTo>
                  <a:cubicBezTo>
                    <a:pt x="6239558" y="2411300"/>
                    <a:pt x="6192032" y="2363774"/>
                    <a:pt x="6192032" y="2305147"/>
                  </a:cubicBezTo>
                  <a:cubicBezTo>
                    <a:pt x="6192032" y="2246520"/>
                    <a:pt x="6239559" y="2198994"/>
                    <a:pt x="6298186" y="2198994"/>
                  </a:cubicBezTo>
                  <a:close/>
                  <a:moveTo>
                    <a:pt x="5786126" y="2198994"/>
                  </a:moveTo>
                  <a:cubicBezTo>
                    <a:pt x="5844751" y="2198994"/>
                    <a:pt x="5892275" y="2246520"/>
                    <a:pt x="5892275" y="2305147"/>
                  </a:cubicBezTo>
                  <a:cubicBezTo>
                    <a:pt x="5892275" y="2363774"/>
                    <a:pt x="5844751" y="2411300"/>
                    <a:pt x="5786126" y="2411300"/>
                  </a:cubicBezTo>
                  <a:cubicBezTo>
                    <a:pt x="5727502" y="2411300"/>
                    <a:pt x="5679979" y="2363774"/>
                    <a:pt x="5679979" y="2305147"/>
                  </a:cubicBezTo>
                  <a:cubicBezTo>
                    <a:pt x="5679979" y="2246520"/>
                    <a:pt x="5727502" y="2198994"/>
                    <a:pt x="5786126" y="2198994"/>
                  </a:cubicBezTo>
                  <a:close/>
                  <a:moveTo>
                    <a:pt x="5274270" y="2198994"/>
                  </a:moveTo>
                  <a:cubicBezTo>
                    <a:pt x="5332896" y="2198994"/>
                    <a:pt x="5380420" y="2246520"/>
                    <a:pt x="5380420" y="2305147"/>
                  </a:cubicBezTo>
                  <a:cubicBezTo>
                    <a:pt x="5380420" y="2363774"/>
                    <a:pt x="5332895" y="2411300"/>
                    <a:pt x="5274270" y="2411300"/>
                  </a:cubicBezTo>
                  <a:cubicBezTo>
                    <a:pt x="5215644" y="2411300"/>
                    <a:pt x="5168119" y="2363774"/>
                    <a:pt x="5168119" y="2305147"/>
                  </a:cubicBezTo>
                  <a:cubicBezTo>
                    <a:pt x="5168119" y="2246520"/>
                    <a:pt x="5215645" y="2198994"/>
                    <a:pt x="5274270" y="2198994"/>
                  </a:cubicBezTo>
                  <a:close/>
                  <a:moveTo>
                    <a:pt x="4762180" y="2198994"/>
                  </a:moveTo>
                  <a:cubicBezTo>
                    <a:pt x="4820832" y="2198994"/>
                    <a:pt x="4868369" y="2246520"/>
                    <a:pt x="4868369" y="2305147"/>
                  </a:cubicBezTo>
                  <a:cubicBezTo>
                    <a:pt x="4868369" y="2363774"/>
                    <a:pt x="4820832" y="2411300"/>
                    <a:pt x="4762180" y="2411300"/>
                  </a:cubicBezTo>
                  <a:cubicBezTo>
                    <a:pt x="4703568" y="2411300"/>
                    <a:pt x="4656043" y="2363774"/>
                    <a:pt x="4656043" y="2305147"/>
                  </a:cubicBezTo>
                  <a:cubicBezTo>
                    <a:pt x="4656043" y="2246520"/>
                    <a:pt x="4703568" y="2198994"/>
                    <a:pt x="4762180" y="2198994"/>
                  </a:cubicBezTo>
                  <a:close/>
                  <a:moveTo>
                    <a:pt x="4250316" y="2198994"/>
                  </a:moveTo>
                  <a:cubicBezTo>
                    <a:pt x="4308947" y="2198994"/>
                    <a:pt x="4356476" y="2246520"/>
                    <a:pt x="4356476" y="2305147"/>
                  </a:cubicBezTo>
                  <a:cubicBezTo>
                    <a:pt x="4356476" y="2363774"/>
                    <a:pt x="4308947" y="2411300"/>
                    <a:pt x="4250316" y="2411300"/>
                  </a:cubicBezTo>
                  <a:cubicBezTo>
                    <a:pt x="4191688" y="2411300"/>
                    <a:pt x="4144156" y="2363774"/>
                    <a:pt x="4144156" y="2305147"/>
                  </a:cubicBezTo>
                  <a:cubicBezTo>
                    <a:pt x="4144156" y="2246520"/>
                    <a:pt x="4191688" y="2198994"/>
                    <a:pt x="4250316" y="2198994"/>
                  </a:cubicBezTo>
                  <a:close/>
                  <a:moveTo>
                    <a:pt x="3738289" y="2198994"/>
                  </a:moveTo>
                  <a:cubicBezTo>
                    <a:pt x="3796911" y="2198994"/>
                    <a:pt x="3844442" y="2246520"/>
                    <a:pt x="3844442" y="2305147"/>
                  </a:cubicBezTo>
                  <a:cubicBezTo>
                    <a:pt x="3844442" y="2363774"/>
                    <a:pt x="3796911" y="2411300"/>
                    <a:pt x="3738289" y="2411300"/>
                  </a:cubicBezTo>
                  <a:cubicBezTo>
                    <a:pt x="3679655" y="2411300"/>
                    <a:pt x="3632128" y="2363774"/>
                    <a:pt x="3632128" y="2305147"/>
                  </a:cubicBezTo>
                  <a:cubicBezTo>
                    <a:pt x="3632128" y="2246520"/>
                    <a:pt x="3679655" y="2198994"/>
                    <a:pt x="3738289" y="2198994"/>
                  </a:cubicBezTo>
                  <a:close/>
                  <a:moveTo>
                    <a:pt x="3226242" y="2198994"/>
                  </a:moveTo>
                  <a:cubicBezTo>
                    <a:pt x="3284873" y="2198994"/>
                    <a:pt x="3332405" y="2246520"/>
                    <a:pt x="3332405" y="2305147"/>
                  </a:cubicBezTo>
                  <a:cubicBezTo>
                    <a:pt x="3332405" y="2363774"/>
                    <a:pt x="3284873" y="2411300"/>
                    <a:pt x="3226242" y="2411300"/>
                  </a:cubicBezTo>
                  <a:cubicBezTo>
                    <a:pt x="3167617" y="2411300"/>
                    <a:pt x="3120089" y="2363774"/>
                    <a:pt x="3120089" y="2305147"/>
                  </a:cubicBezTo>
                  <a:cubicBezTo>
                    <a:pt x="3120089" y="2246520"/>
                    <a:pt x="3167617" y="2198994"/>
                    <a:pt x="3226242" y="2198994"/>
                  </a:cubicBezTo>
                  <a:close/>
                  <a:moveTo>
                    <a:pt x="2714363" y="2198994"/>
                  </a:moveTo>
                  <a:cubicBezTo>
                    <a:pt x="2772989" y="2198994"/>
                    <a:pt x="2820518" y="2246520"/>
                    <a:pt x="2820518" y="2305147"/>
                  </a:cubicBezTo>
                  <a:cubicBezTo>
                    <a:pt x="2820518" y="2363774"/>
                    <a:pt x="2772989" y="2411300"/>
                    <a:pt x="2714363" y="2411300"/>
                  </a:cubicBezTo>
                  <a:cubicBezTo>
                    <a:pt x="2655735" y="2411300"/>
                    <a:pt x="2608208" y="2363774"/>
                    <a:pt x="2608208" y="2305147"/>
                  </a:cubicBezTo>
                  <a:cubicBezTo>
                    <a:pt x="2608208" y="2246520"/>
                    <a:pt x="2655735" y="2198994"/>
                    <a:pt x="2714363" y="2198994"/>
                  </a:cubicBezTo>
                  <a:close/>
                  <a:moveTo>
                    <a:pt x="2202306" y="2198994"/>
                  </a:moveTo>
                  <a:cubicBezTo>
                    <a:pt x="2260932" y="2198994"/>
                    <a:pt x="2308457" y="2246520"/>
                    <a:pt x="2308457" y="2305147"/>
                  </a:cubicBezTo>
                  <a:cubicBezTo>
                    <a:pt x="2308457" y="2363774"/>
                    <a:pt x="2260932" y="2411300"/>
                    <a:pt x="2202306" y="2411300"/>
                  </a:cubicBezTo>
                  <a:cubicBezTo>
                    <a:pt x="2143679" y="2411300"/>
                    <a:pt x="2096153" y="2363774"/>
                    <a:pt x="2096153" y="2305147"/>
                  </a:cubicBezTo>
                  <a:cubicBezTo>
                    <a:pt x="2096153" y="2246520"/>
                    <a:pt x="2143679" y="2198994"/>
                    <a:pt x="2202306" y="2198994"/>
                  </a:cubicBezTo>
                  <a:close/>
                  <a:moveTo>
                    <a:pt x="1690413" y="2198994"/>
                  </a:moveTo>
                  <a:cubicBezTo>
                    <a:pt x="1749039" y="2198994"/>
                    <a:pt x="1796565" y="2246520"/>
                    <a:pt x="1796565" y="2305147"/>
                  </a:cubicBezTo>
                  <a:cubicBezTo>
                    <a:pt x="1796565" y="2363774"/>
                    <a:pt x="1749039" y="2411300"/>
                    <a:pt x="1690413" y="2411300"/>
                  </a:cubicBezTo>
                  <a:cubicBezTo>
                    <a:pt x="1631786" y="2411300"/>
                    <a:pt x="1584260" y="2363774"/>
                    <a:pt x="1584260" y="2305147"/>
                  </a:cubicBezTo>
                  <a:cubicBezTo>
                    <a:pt x="1584260" y="2246520"/>
                    <a:pt x="1631786" y="2198994"/>
                    <a:pt x="1690413" y="2198994"/>
                  </a:cubicBezTo>
                  <a:close/>
                  <a:moveTo>
                    <a:pt x="1178353" y="2198994"/>
                  </a:moveTo>
                  <a:cubicBezTo>
                    <a:pt x="1236980" y="2198994"/>
                    <a:pt x="1284506" y="2246520"/>
                    <a:pt x="1284506" y="2305147"/>
                  </a:cubicBezTo>
                  <a:cubicBezTo>
                    <a:pt x="1284506" y="2363774"/>
                    <a:pt x="1236980" y="2411300"/>
                    <a:pt x="1178353" y="2411300"/>
                  </a:cubicBezTo>
                  <a:cubicBezTo>
                    <a:pt x="1119727" y="2411300"/>
                    <a:pt x="1072201" y="2363774"/>
                    <a:pt x="1072201" y="2305147"/>
                  </a:cubicBezTo>
                  <a:cubicBezTo>
                    <a:pt x="1072201" y="2246520"/>
                    <a:pt x="1119727" y="2198994"/>
                    <a:pt x="1178353" y="2198994"/>
                  </a:cubicBezTo>
                  <a:close/>
                  <a:moveTo>
                    <a:pt x="666483" y="2198994"/>
                  </a:moveTo>
                  <a:cubicBezTo>
                    <a:pt x="725110" y="2198994"/>
                    <a:pt x="772636" y="2246520"/>
                    <a:pt x="772636" y="2305147"/>
                  </a:cubicBezTo>
                  <a:cubicBezTo>
                    <a:pt x="772636" y="2363774"/>
                    <a:pt x="725110" y="2411300"/>
                    <a:pt x="666483" y="2411300"/>
                  </a:cubicBezTo>
                  <a:cubicBezTo>
                    <a:pt x="607857" y="2411300"/>
                    <a:pt x="560331" y="2363774"/>
                    <a:pt x="560331" y="2305147"/>
                  </a:cubicBezTo>
                  <a:cubicBezTo>
                    <a:pt x="560331" y="2246520"/>
                    <a:pt x="607857" y="2198994"/>
                    <a:pt x="666483" y="2198994"/>
                  </a:cubicBezTo>
                  <a:close/>
                  <a:moveTo>
                    <a:pt x="154426" y="2198994"/>
                  </a:moveTo>
                  <a:cubicBezTo>
                    <a:pt x="213052" y="2198994"/>
                    <a:pt x="260578" y="2246520"/>
                    <a:pt x="260578" y="2305147"/>
                  </a:cubicBezTo>
                  <a:cubicBezTo>
                    <a:pt x="260578" y="2363774"/>
                    <a:pt x="213052" y="2411300"/>
                    <a:pt x="154426" y="2411300"/>
                  </a:cubicBezTo>
                  <a:cubicBezTo>
                    <a:pt x="95799" y="2411300"/>
                    <a:pt x="48274" y="2363774"/>
                    <a:pt x="48274" y="2305147"/>
                  </a:cubicBezTo>
                  <a:cubicBezTo>
                    <a:pt x="48274" y="2246520"/>
                    <a:pt x="95799" y="2198994"/>
                    <a:pt x="154426" y="2198994"/>
                  </a:cubicBezTo>
                  <a:close/>
                  <a:moveTo>
                    <a:pt x="11929966" y="1759082"/>
                  </a:moveTo>
                  <a:cubicBezTo>
                    <a:pt x="11980769" y="1759082"/>
                    <a:pt x="12021952" y="1800266"/>
                    <a:pt x="12021952" y="1851069"/>
                  </a:cubicBezTo>
                  <a:cubicBezTo>
                    <a:pt x="12021952" y="1901872"/>
                    <a:pt x="11980769" y="1943055"/>
                    <a:pt x="11929966" y="1943055"/>
                  </a:cubicBezTo>
                  <a:cubicBezTo>
                    <a:pt x="11879163" y="1943055"/>
                    <a:pt x="11837979" y="1901872"/>
                    <a:pt x="11837979" y="1851069"/>
                  </a:cubicBezTo>
                  <a:cubicBezTo>
                    <a:pt x="11837979" y="1800266"/>
                    <a:pt x="11879163" y="1759082"/>
                    <a:pt x="11929966" y="1759082"/>
                  </a:cubicBezTo>
                  <a:close/>
                  <a:moveTo>
                    <a:pt x="11417900" y="1759082"/>
                  </a:moveTo>
                  <a:cubicBezTo>
                    <a:pt x="11468703" y="1759082"/>
                    <a:pt x="11509887" y="1800266"/>
                    <a:pt x="11509887" y="1851069"/>
                  </a:cubicBezTo>
                  <a:cubicBezTo>
                    <a:pt x="11509887" y="1901872"/>
                    <a:pt x="11468703" y="1943055"/>
                    <a:pt x="11417900" y="1943055"/>
                  </a:cubicBezTo>
                  <a:cubicBezTo>
                    <a:pt x="11367097" y="1943055"/>
                    <a:pt x="11325913" y="1901872"/>
                    <a:pt x="11325913" y="1851069"/>
                  </a:cubicBezTo>
                  <a:cubicBezTo>
                    <a:pt x="11325913" y="1800266"/>
                    <a:pt x="11367097" y="1759082"/>
                    <a:pt x="11417900" y="1759082"/>
                  </a:cubicBezTo>
                  <a:close/>
                  <a:moveTo>
                    <a:pt x="10906023" y="1759082"/>
                  </a:moveTo>
                  <a:cubicBezTo>
                    <a:pt x="10956826" y="1759082"/>
                    <a:pt x="10998010" y="1800266"/>
                    <a:pt x="10998010" y="1851069"/>
                  </a:cubicBezTo>
                  <a:cubicBezTo>
                    <a:pt x="10998010" y="1901872"/>
                    <a:pt x="10956826" y="1943055"/>
                    <a:pt x="10906023" y="1943055"/>
                  </a:cubicBezTo>
                  <a:cubicBezTo>
                    <a:pt x="10855220" y="1943055"/>
                    <a:pt x="10814037" y="1901872"/>
                    <a:pt x="10814037" y="1851069"/>
                  </a:cubicBezTo>
                  <a:cubicBezTo>
                    <a:pt x="10814037" y="1800266"/>
                    <a:pt x="10855220" y="1759082"/>
                    <a:pt x="10906023" y="1759082"/>
                  </a:cubicBezTo>
                  <a:close/>
                  <a:moveTo>
                    <a:pt x="10393957" y="1759082"/>
                  </a:moveTo>
                  <a:cubicBezTo>
                    <a:pt x="10444760" y="1759082"/>
                    <a:pt x="10485943" y="1800266"/>
                    <a:pt x="10485943" y="1851069"/>
                  </a:cubicBezTo>
                  <a:cubicBezTo>
                    <a:pt x="10485943" y="1901872"/>
                    <a:pt x="10444760" y="1943055"/>
                    <a:pt x="10393957" y="1943055"/>
                  </a:cubicBezTo>
                  <a:cubicBezTo>
                    <a:pt x="10343153" y="1943055"/>
                    <a:pt x="10301970" y="1901872"/>
                    <a:pt x="10301970" y="1851069"/>
                  </a:cubicBezTo>
                  <a:cubicBezTo>
                    <a:pt x="10301970" y="1800266"/>
                    <a:pt x="10343153" y="1759082"/>
                    <a:pt x="10393957" y="1759082"/>
                  </a:cubicBezTo>
                  <a:close/>
                  <a:moveTo>
                    <a:pt x="9882080" y="1759082"/>
                  </a:moveTo>
                  <a:cubicBezTo>
                    <a:pt x="9932883" y="1759082"/>
                    <a:pt x="9974067" y="1800266"/>
                    <a:pt x="9974067" y="1851069"/>
                  </a:cubicBezTo>
                  <a:cubicBezTo>
                    <a:pt x="9974067" y="1901872"/>
                    <a:pt x="9932883" y="1943055"/>
                    <a:pt x="9882080" y="1943055"/>
                  </a:cubicBezTo>
                  <a:cubicBezTo>
                    <a:pt x="9831277" y="1943055"/>
                    <a:pt x="9790093" y="1901872"/>
                    <a:pt x="9790093" y="1851069"/>
                  </a:cubicBezTo>
                  <a:cubicBezTo>
                    <a:pt x="9790093" y="1800266"/>
                    <a:pt x="9831277" y="1759082"/>
                    <a:pt x="9882080" y="1759082"/>
                  </a:cubicBezTo>
                  <a:close/>
                  <a:moveTo>
                    <a:pt x="9370014" y="1759082"/>
                  </a:moveTo>
                  <a:cubicBezTo>
                    <a:pt x="9420824" y="1759082"/>
                    <a:pt x="9462000" y="1800259"/>
                    <a:pt x="9462000" y="1851069"/>
                  </a:cubicBezTo>
                  <a:cubicBezTo>
                    <a:pt x="9462000" y="1901879"/>
                    <a:pt x="9420824" y="1943055"/>
                    <a:pt x="9370014" y="1943055"/>
                  </a:cubicBezTo>
                  <a:cubicBezTo>
                    <a:pt x="9319204" y="1943055"/>
                    <a:pt x="9278027" y="1901879"/>
                    <a:pt x="9278027" y="1851069"/>
                  </a:cubicBezTo>
                  <a:cubicBezTo>
                    <a:pt x="9278027" y="1800259"/>
                    <a:pt x="9319204" y="1759082"/>
                    <a:pt x="9370014" y="1759082"/>
                  </a:cubicBezTo>
                  <a:close/>
                  <a:moveTo>
                    <a:pt x="8858137" y="1759082"/>
                  </a:moveTo>
                  <a:cubicBezTo>
                    <a:pt x="8908940" y="1759082"/>
                    <a:pt x="8950123" y="1800266"/>
                    <a:pt x="8950123" y="1851069"/>
                  </a:cubicBezTo>
                  <a:cubicBezTo>
                    <a:pt x="8950123" y="1901872"/>
                    <a:pt x="8908940" y="1943055"/>
                    <a:pt x="8858137" y="1943055"/>
                  </a:cubicBezTo>
                  <a:cubicBezTo>
                    <a:pt x="8807334" y="1943055"/>
                    <a:pt x="8766150" y="1901872"/>
                    <a:pt x="8766150" y="1851069"/>
                  </a:cubicBezTo>
                  <a:cubicBezTo>
                    <a:pt x="8766150" y="1800266"/>
                    <a:pt x="8807334" y="1759082"/>
                    <a:pt x="8858137" y="1759082"/>
                  </a:cubicBezTo>
                  <a:close/>
                  <a:moveTo>
                    <a:pt x="8346071" y="1759082"/>
                  </a:moveTo>
                  <a:cubicBezTo>
                    <a:pt x="8396874" y="1759082"/>
                    <a:pt x="8438058" y="1800266"/>
                    <a:pt x="8438058" y="1851069"/>
                  </a:cubicBezTo>
                  <a:cubicBezTo>
                    <a:pt x="8438058" y="1901872"/>
                    <a:pt x="8396874" y="1943055"/>
                    <a:pt x="8346071" y="1943055"/>
                  </a:cubicBezTo>
                  <a:cubicBezTo>
                    <a:pt x="8295268" y="1943055"/>
                    <a:pt x="8254084" y="1901872"/>
                    <a:pt x="8254084" y="1851069"/>
                  </a:cubicBezTo>
                  <a:cubicBezTo>
                    <a:pt x="8254084" y="1800266"/>
                    <a:pt x="8295268" y="1759082"/>
                    <a:pt x="8346071" y="1759082"/>
                  </a:cubicBezTo>
                  <a:close/>
                  <a:moveTo>
                    <a:pt x="7834005" y="1759082"/>
                  </a:moveTo>
                  <a:cubicBezTo>
                    <a:pt x="7884815" y="1759082"/>
                    <a:pt x="7925992" y="1800259"/>
                    <a:pt x="7925992" y="1851069"/>
                  </a:cubicBezTo>
                  <a:cubicBezTo>
                    <a:pt x="7925992" y="1901879"/>
                    <a:pt x="7884815" y="1943055"/>
                    <a:pt x="7834005" y="1943055"/>
                  </a:cubicBezTo>
                  <a:cubicBezTo>
                    <a:pt x="7783195" y="1943055"/>
                    <a:pt x="7742018" y="1901879"/>
                    <a:pt x="7742018" y="1851069"/>
                  </a:cubicBezTo>
                  <a:cubicBezTo>
                    <a:pt x="7742018" y="1800259"/>
                    <a:pt x="7783195" y="1759082"/>
                    <a:pt x="7834005" y="1759082"/>
                  </a:cubicBezTo>
                  <a:close/>
                  <a:moveTo>
                    <a:pt x="7322128" y="1759082"/>
                  </a:moveTo>
                  <a:cubicBezTo>
                    <a:pt x="7372931" y="1759082"/>
                    <a:pt x="7414115" y="1800266"/>
                    <a:pt x="7414115" y="1851069"/>
                  </a:cubicBezTo>
                  <a:cubicBezTo>
                    <a:pt x="7414115" y="1901872"/>
                    <a:pt x="7372931" y="1943055"/>
                    <a:pt x="7322128" y="1943055"/>
                  </a:cubicBezTo>
                  <a:cubicBezTo>
                    <a:pt x="7271325" y="1943055"/>
                    <a:pt x="7230141" y="1901872"/>
                    <a:pt x="7230141" y="1851069"/>
                  </a:cubicBezTo>
                  <a:cubicBezTo>
                    <a:pt x="7230141" y="1800266"/>
                    <a:pt x="7271325" y="1759082"/>
                    <a:pt x="7322128" y="1759082"/>
                  </a:cubicBezTo>
                  <a:close/>
                  <a:moveTo>
                    <a:pt x="6810062" y="1759082"/>
                  </a:moveTo>
                  <a:cubicBezTo>
                    <a:pt x="6860865" y="1759082"/>
                    <a:pt x="6902048" y="1800266"/>
                    <a:pt x="6902048" y="1851069"/>
                  </a:cubicBezTo>
                  <a:cubicBezTo>
                    <a:pt x="6902048" y="1901872"/>
                    <a:pt x="6860865" y="1943055"/>
                    <a:pt x="6810062" y="1943055"/>
                  </a:cubicBezTo>
                  <a:cubicBezTo>
                    <a:pt x="6759259" y="1943055"/>
                    <a:pt x="6718075" y="1901872"/>
                    <a:pt x="6718075" y="1851069"/>
                  </a:cubicBezTo>
                  <a:cubicBezTo>
                    <a:pt x="6718075" y="1800266"/>
                    <a:pt x="6759259" y="1759082"/>
                    <a:pt x="6810062" y="1759082"/>
                  </a:cubicBezTo>
                  <a:close/>
                  <a:moveTo>
                    <a:pt x="6298186" y="1759082"/>
                  </a:moveTo>
                  <a:cubicBezTo>
                    <a:pt x="6348988" y="1759082"/>
                    <a:pt x="6390172" y="1800266"/>
                    <a:pt x="6390172" y="1851069"/>
                  </a:cubicBezTo>
                  <a:cubicBezTo>
                    <a:pt x="6390172" y="1901872"/>
                    <a:pt x="6348988" y="1943055"/>
                    <a:pt x="6298186" y="1943055"/>
                  </a:cubicBezTo>
                  <a:cubicBezTo>
                    <a:pt x="6247383" y="1943055"/>
                    <a:pt x="6206198" y="1901872"/>
                    <a:pt x="6206198" y="1851069"/>
                  </a:cubicBezTo>
                  <a:cubicBezTo>
                    <a:pt x="6206198" y="1800266"/>
                    <a:pt x="6247383" y="1759082"/>
                    <a:pt x="6298186" y="1759082"/>
                  </a:cubicBezTo>
                  <a:close/>
                  <a:moveTo>
                    <a:pt x="5786126" y="1759082"/>
                  </a:moveTo>
                  <a:cubicBezTo>
                    <a:pt x="5836927" y="1759082"/>
                    <a:pt x="5878110" y="1800266"/>
                    <a:pt x="5878110" y="1851069"/>
                  </a:cubicBezTo>
                  <a:cubicBezTo>
                    <a:pt x="5878110" y="1901872"/>
                    <a:pt x="5836927" y="1943055"/>
                    <a:pt x="5786126" y="1943055"/>
                  </a:cubicBezTo>
                  <a:cubicBezTo>
                    <a:pt x="5735326" y="1943055"/>
                    <a:pt x="5694144" y="1901872"/>
                    <a:pt x="5694144" y="1851069"/>
                  </a:cubicBezTo>
                  <a:cubicBezTo>
                    <a:pt x="5694144" y="1800266"/>
                    <a:pt x="5735326" y="1759082"/>
                    <a:pt x="5786126" y="1759082"/>
                  </a:cubicBezTo>
                  <a:close/>
                  <a:moveTo>
                    <a:pt x="5274270" y="1759082"/>
                  </a:moveTo>
                  <a:cubicBezTo>
                    <a:pt x="5325073" y="1759082"/>
                    <a:pt x="5366255" y="1800266"/>
                    <a:pt x="5366255" y="1851069"/>
                  </a:cubicBezTo>
                  <a:cubicBezTo>
                    <a:pt x="5366255" y="1901872"/>
                    <a:pt x="5325073" y="1943055"/>
                    <a:pt x="5274270" y="1943055"/>
                  </a:cubicBezTo>
                  <a:cubicBezTo>
                    <a:pt x="5223463" y="1943055"/>
                    <a:pt x="5182283" y="1901872"/>
                    <a:pt x="5182283" y="1851069"/>
                  </a:cubicBezTo>
                  <a:cubicBezTo>
                    <a:pt x="5182283" y="1800266"/>
                    <a:pt x="5223463" y="1759082"/>
                    <a:pt x="5274270" y="1759082"/>
                  </a:cubicBezTo>
                  <a:close/>
                  <a:moveTo>
                    <a:pt x="4762180" y="1759082"/>
                  </a:moveTo>
                  <a:cubicBezTo>
                    <a:pt x="4813000" y="1759082"/>
                    <a:pt x="4854198" y="1800266"/>
                    <a:pt x="4854198" y="1851069"/>
                  </a:cubicBezTo>
                  <a:cubicBezTo>
                    <a:pt x="4854198" y="1901872"/>
                    <a:pt x="4813000" y="1943055"/>
                    <a:pt x="4762180" y="1943055"/>
                  </a:cubicBezTo>
                  <a:cubicBezTo>
                    <a:pt x="4711390" y="1943055"/>
                    <a:pt x="4670207" y="1901872"/>
                    <a:pt x="4670207" y="1851069"/>
                  </a:cubicBezTo>
                  <a:cubicBezTo>
                    <a:pt x="4670207" y="1800266"/>
                    <a:pt x="4711390" y="1759082"/>
                    <a:pt x="4762180" y="1759082"/>
                  </a:cubicBezTo>
                  <a:close/>
                  <a:moveTo>
                    <a:pt x="4250316" y="1759082"/>
                  </a:moveTo>
                  <a:cubicBezTo>
                    <a:pt x="4301123" y="1759082"/>
                    <a:pt x="4342309" y="1800266"/>
                    <a:pt x="4342309" y="1851069"/>
                  </a:cubicBezTo>
                  <a:cubicBezTo>
                    <a:pt x="4342309" y="1901872"/>
                    <a:pt x="4301123" y="1943055"/>
                    <a:pt x="4250316" y="1943055"/>
                  </a:cubicBezTo>
                  <a:cubicBezTo>
                    <a:pt x="4199512" y="1943055"/>
                    <a:pt x="4158324" y="1901872"/>
                    <a:pt x="4158324" y="1851069"/>
                  </a:cubicBezTo>
                  <a:cubicBezTo>
                    <a:pt x="4158324" y="1800266"/>
                    <a:pt x="4199512" y="1759082"/>
                    <a:pt x="4250316" y="1759082"/>
                  </a:cubicBezTo>
                  <a:close/>
                  <a:moveTo>
                    <a:pt x="3738289" y="1759082"/>
                  </a:moveTo>
                  <a:cubicBezTo>
                    <a:pt x="3789088" y="1759082"/>
                    <a:pt x="3830274" y="1800266"/>
                    <a:pt x="3830274" y="1851069"/>
                  </a:cubicBezTo>
                  <a:cubicBezTo>
                    <a:pt x="3830274" y="1901872"/>
                    <a:pt x="3789088" y="1943055"/>
                    <a:pt x="3738289" y="1943055"/>
                  </a:cubicBezTo>
                  <a:cubicBezTo>
                    <a:pt x="3687479" y="1943055"/>
                    <a:pt x="3646291" y="1901872"/>
                    <a:pt x="3646291" y="1851069"/>
                  </a:cubicBezTo>
                  <a:cubicBezTo>
                    <a:pt x="3646291" y="1800266"/>
                    <a:pt x="3687479" y="1759082"/>
                    <a:pt x="3738289" y="1759082"/>
                  </a:cubicBezTo>
                  <a:close/>
                  <a:moveTo>
                    <a:pt x="3226242" y="1759082"/>
                  </a:moveTo>
                  <a:cubicBezTo>
                    <a:pt x="3277050" y="1759082"/>
                    <a:pt x="3318235" y="1800266"/>
                    <a:pt x="3318235" y="1851069"/>
                  </a:cubicBezTo>
                  <a:cubicBezTo>
                    <a:pt x="3318235" y="1901872"/>
                    <a:pt x="3277050" y="1943055"/>
                    <a:pt x="3226242" y="1943055"/>
                  </a:cubicBezTo>
                  <a:cubicBezTo>
                    <a:pt x="3175434" y="1943055"/>
                    <a:pt x="3134252" y="1901872"/>
                    <a:pt x="3134252" y="1851069"/>
                  </a:cubicBezTo>
                  <a:cubicBezTo>
                    <a:pt x="3134252" y="1800266"/>
                    <a:pt x="3175434" y="1759082"/>
                    <a:pt x="3226242" y="1759082"/>
                  </a:cubicBezTo>
                  <a:close/>
                  <a:moveTo>
                    <a:pt x="2714363" y="1759082"/>
                  </a:moveTo>
                  <a:cubicBezTo>
                    <a:pt x="2765166" y="1759082"/>
                    <a:pt x="2806350" y="1800266"/>
                    <a:pt x="2806350" y="1851069"/>
                  </a:cubicBezTo>
                  <a:cubicBezTo>
                    <a:pt x="2806350" y="1901872"/>
                    <a:pt x="2765166" y="1943055"/>
                    <a:pt x="2714363" y="1943055"/>
                  </a:cubicBezTo>
                  <a:cubicBezTo>
                    <a:pt x="2663558" y="1943055"/>
                    <a:pt x="2622376" y="1901872"/>
                    <a:pt x="2622376" y="1851069"/>
                  </a:cubicBezTo>
                  <a:cubicBezTo>
                    <a:pt x="2622376" y="1800266"/>
                    <a:pt x="2663558" y="1759082"/>
                    <a:pt x="2714363" y="1759082"/>
                  </a:cubicBezTo>
                  <a:close/>
                  <a:moveTo>
                    <a:pt x="2202305" y="1759082"/>
                  </a:moveTo>
                  <a:cubicBezTo>
                    <a:pt x="2253108" y="1759082"/>
                    <a:pt x="2294291" y="1800266"/>
                    <a:pt x="2294291" y="1851069"/>
                  </a:cubicBezTo>
                  <a:cubicBezTo>
                    <a:pt x="2294291" y="1901872"/>
                    <a:pt x="2253108" y="1943055"/>
                    <a:pt x="2202305" y="1943055"/>
                  </a:cubicBezTo>
                  <a:cubicBezTo>
                    <a:pt x="2151502" y="1943055"/>
                    <a:pt x="2110320" y="1901872"/>
                    <a:pt x="2110320" y="1851069"/>
                  </a:cubicBezTo>
                  <a:cubicBezTo>
                    <a:pt x="2110320" y="1800266"/>
                    <a:pt x="2151502" y="1759082"/>
                    <a:pt x="2202305" y="1759082"/>
                  </a:cubicBezTo>
                  <a:close/>
                  <a:moveTo>
                    <a:pt x="1690412" y="1759082"/>
                  </a:moveTo>
                  <a:cubicBezTo>
                    <a:pt x="1741215" y="1759082"/>
                    <a:pt x="1782398" y="1800266"/>
                    <a:pt x="1782398" y="1851069"/>
                  </a:cubicBezTo>
                  <a:cubicBezTo>
                    <a:pt x="1782398" y="1901872"/>
                    <a:pt x="1741215" y="1943055"/>
                    <a:pt x="1690412" y="1943055"/>
                  </a:cubicBezTo>
                  <a:cubicBezTo>
                    <a:pt x="1639610" y="1943055"/>
                    <a:pt x="1598426" y="1901872"/>
                    <a:pt x="1598426" y="1851069"/>
                  </a:cubicBezTo>
                  <a:cubicBezTo>
                    <a:pt x="1598426" y="1800266"/>
                    <a:pt x="1639610" y="1759082"/>
                    <a:pt x="1690412" y="1759082"/>
                  </a:cubicBezTo>
                  <a:close/>
                  <a:moveTo>
                    <a:pt x="1178353" y="1759082"/>
                  </a:moveTo>
                  <a:cubicBezTo>
                    <a:pt x="1229156" y="1759082"/>
                    <a:pt x="1270339" y="1800266"/>
                    <a:pt x="1270339" y="1851069"/>
                  </a:cubicBezTo>
                  <a:cubicBezTo>
                    <a:pt x="1270339" y="1901872"/>
                    <a:pt x="1229156" y="1943055"/>
                    <a:pt x="1178353" y="1943055"/>
                  </a:cubicBezTo>
                  <a:cubicBezTo>
                    <a:pt x="1127551" y="1943055"/>
                    <a:pt x="1086367" y="1901872"/>
                    <a:pt x="1086367" y="1851069"/>
                  </a:cubicBezTo>
                  <a:cubicBezTo>
                    <a:pt x="1086367" y="1800266"/>
                    <a:pt x="1127551" y="1759082"/>
                    <a:pt x="1178353" y="1759082"/>
                  </a:cubicBezTo>
                  <a:close/>
                  <a:moveTo>
                    <a:pt x="666483" y="1759082"/>
                  </a:moveTo>
                  <a:cubicBezTo>
                    <a:pt x="717286" y="1759082"/>
                    <a:pt x="758469" y="1800266"/>
                    <a:pt x="758469" y="1851069"/>
                  </a:cubicBezTo>
                  <a:cubicBezTo>
                    <a:pt x="758469" y="1901872"/>
                    <a:pt x="717286" y="1943055"/>
                    <a:pt x="666483" y="1943055"/>
                  </a:cubicBezTo>
                  <a:cubicBezTo>
                    <a:pt x="615681" y="1943055"/>
                    <a:pt x="574497" y="1901872"/>
                    <a:pt x="574497" y="1851069"/>
                  </a:cubicBezTo>
                  <a:cubicBezTo>
                    <a:pt x="574497" y="1800266"/>
                    <a:pt x="615681" y="1759082"/>
                    <a:pt x="666483" y="1759082"/>
                  </a:cubicBezTo>
                  <a:close/>
                  <a:moveTo>
                    <a:pt x="154424" y="1759082"/>
                  </a:moveTo>
                  <a:cubicBezTo>
                    <a:pt x="205227" y="1759082"/>
                    <a:pt x="246411" y="1800266"/>
                    <a:pt x="246411" y="1851069"/>
                  </a:cubicBezTo>
                  <a:cubicBezTo>
                    <a:pt x="246411" y="1901872"/>
                    <a:pt x="205227" y="1943055"/>
                    <a:pt x="154424" y="1943055"/>
                  </a:cubicBezTo>
                  <a:cubicBezTo>
                    <a:pt x="103622" y="1943055"/>
                    <a:pt x="62438" y="1901872"/>
                    <a:pt x="62438" y="1851069"/>
                  </a:cubicBezTo>
                  <a:cubicBezTo>
                    <a:pt x="62438" y="1800266"/>
                    <a:pt x="103622" y="1759082"/>
                    <a:pt x="154424" y="1759082"/>
                  </a:cubicBezTo>
                  <a:close/>
                  <a:moveTo>
                    <a:pt x="11929965" y="1319549"/>
                  </a:moveTo>
                  <a:cubicBezTo>
                    <a:pt x="11972840" y="1319549"/>
                    <a:pt x="12007597" y="1354306"/>
                    <a:pt x="12007597" y="1397181"/>
                  </a:cubicBezTo>
                  <a:cubicBezTo>
                    <a:pt x="12007597" y="1440054"/>
                    <a:pt x="11972840" y="1474811"/>
                    <a:pt x="11929965" y="1474811"/>
                  </a:cubicBezTo>
                  <a:cubicBezTo>
                    <a:pt x="11887091" y="1474811"/>
                    <a:pt x="11852334" y="1440054"/>
                    <a:pt x="11852334" y="1397181"/>
                  </a:cubicBezTo>
                  <a:cubicBezTo>
                    <a:pt x="11852334" y="1354306"/>
                    <a:pt x="11887091" y="1319549"/>
                    <a:pt x="11929965" y="1319549"/>
                  </a:cubicBezTo>
                  <a:close/>
                  <a:moveTo>
                    <a:pt x="11417900" y="1319549"/>
                  </a:moveTo>
                  <a:cubicBezTo>
                    <a:pt x="11460775" y="1319549"/>
                    <a:pt x="11495531" y="1354306"/>
                    <a:pt x="11495531" y="1397181"/>
                  </a:cubicBezTo>
                  <a:cubicBezTo>
                    <a:pt x="11495531" y="1440054"/>
                    <a:pt x="11460775" y="1474811"/>
                    <a:pt x="11417900" y="1474811"/>
                  </a:cubicBezTo>
                  <a:cubicBezTo>
                    <a:pt x="11375025" y="1474811"/>
                    <a:pt x="11340268" y="1440054"/>
                    <a:pt x="11340268" y="1397181"/>
                  </a:cubicBezTo>
                  <a:cubicBezTo>
                    <a:pt x="11340268" y="1354306"/>
                    <a:pt x="11375025" y="1319549"/>
                    <a:pt x="11417900" y="1319549"/>
                  </a:cubicBezTo>
                  <a:close/>
                  <a:moveTo>
                    <a:pt x="10906023" y="1319549"/>
                  </a:moveTo>
                  <a:cubicBezTo>
                    <a:pt x="10948898" y="1319549"/>
                    <a:pt x="10983654" y="1354306"/>
                    <a:pt x="10983654" y="1397181"/>
                  </a:cubicBezTo>
                  <a:cubicBezTo>
                    <a:pt x="10983654" y="1440054"/>
                    <a:pt x="10948898" y="1474811"/>
                    <a:pt x="10906023" y="1474811"/>
                  </a:cubicBezTo>
                  <a:cubicBezTo>
                    <a:pt x="10863148" y="1474811"/>
                    <a:pt x="10828392" y="1440054"/>
                    <a:pt x="10828392" y="1397181"/>
                  </a:cubicBezTo>
                  <a:cubicBezTo>
                    <a:pt x="10828392" y="1354306"/>
                    <a:pt x="10863148" y="1319549"/>
                    <a:pt x="10906023" y="1319549"/>
                  </a:cubicBezTo>
                  <a:close/>
                  <a:moveTo>
                    <a:pt x="10393956" y="1319549"/>
                  </a:moveTo>
                  <a:cubicBezTo>
                    <a:pt x="10436831" y="1319549"/>
                    <a:pt x="10471588" y="1354306"/>
                    <a:pt x="10471588" y="1397181"/>
                  </a:cubicBezTo>
                  <a:cubicBezTo>
                    <a:pt x="10471588" y="1440054"/>
                    <a:pt x="10436831" y="1474811"/>
                    <a:pt x="10393956" y="1474811"/>
                  </a:cubicBezTo>
                  <a:cubicBezTo>
                    <a:pt x="10351081" y="1474811"/>
                    <a:pt x="10316325" y="1440054"/>
                    <a:pt x="10316325" y="1397181"/>
                  </a:cubicBezTo>
                  <a:cubicBezTo>
                    <a:pt x="10316325" y="1354306"/>
                    <a:pt x="10351081" y="1319549"/>
                    <a:pt x="10393956" y="1319549"/>
                  </a:cubicBezTo>
                  <a:close/>
                  <a:moveTo>
                    <a:pt x="9882080" y="1319549"/>
                  </a:moveTo>
                  <a:cubicBezTo>
                    <a:pt x="9924955" y="1319549"/>
                    <a:pt x="9959711" y="1354306"/>
                    <a:pt x="9959711" y="1397181"/>
                  </a:cubicBezTo>
                  <a:cubicBezTo>
                    <a:pt x="9959711" y="1440054"/>
                    <a:pt x="9924955" y="1474811"/>
                    <a:pt x="9882080" y="1474811"/>
                  </a:cubicBezTo>
                  <a:cubicBezTo>
                    <a:pt x="9839205" y="1474811"/>
                    <a:pt x="9804449" y="1440054"/>
                    <a:pt x="9804449" y="1397181"/>
                  </a:cubicBezTo>
                  <a:cubicBezTo>
                    <a:pt x="9804449" y="1354306"/>
                    <a:pt x="9839205" y="1319549"/>
                    <a:pt x="9882080" y="1319549"/>
                  </a:cubicBezTo>
                  <a:close/>
                  <a:moveTo>
                    <a:pt x="9370013" y="1319549"/>
                  </a:moveTo>
                  <a:cubicBezTo>
                    <a:pt x="9412890" y="1319549"/>
                    <a:pt x="9447645" y="1354303"/>
                    <a:pt x="9447645" y="1397181"/>
                  </a:cubicBezTo>
                  <a:cubicBezTo>
                    <a:pt x="9447645" y="1440056"/>
                    <a:pt x="9412890" y="1474811"/>
                    <a:pt x="9370013" y="1474811"/>
                  </a:cubicBezTo>
                  <a:cubicBezTo>
                    <a:pt x="9327137" y="1474811"/>
                    <a:pt x="9292382" y="1440056"/>
                    <a:pt x="9292382" y="1397181"/>
                  </a:cubicBezTo>
                  <a:cubicBezTo>
                    <a:pt x="9292382" y="1354303"/>
                    <a:pt x="9327137" y="1319549"/>
                    <a:pt x="9370013" y="1319549"/>
                  </a:cubicBezTo>
                  <a:close/>
                  <a:moveTo>
                    <a:pt x="8858136" y="1319549"/>
                  </a:moveTo>
                  <a:cubicBezTo>
                    <a:pt x="8901013" y="1319549"/>
                    <a:pt x="8935768" y="1354303"/>
                    <a:pt x="8935768" y="1397181"/>
                  </a:cubicBezTo>
                  <a:cubicBezTo>
                    <a:pt x="8935768" y="1440056"/>
                    <a:pt x="8901013" y="1474811"/>
                    <a:pt x="8858136" y="1474811"/>
                  </a:cubicBezTo>
                  <a:cubicBezTo>
                    <a:pt x="8815260" y="1474811"/>
                    <a:pt x="8780505" y="1440056"/>
                    <a:pt x="8780505" y="1397181"/>
                  </a:cubicBezTo>
                  <a:cubicBezTo>
                    <a:pt x="8780505" y="1354303"/>
                    <a:pt x="8815260" y="1319549"/>
                    <a:pt x="8858136" y="1319549"/>
                  </a:cubicBezTo>
                  <a:close/>
                  <a:moveTo>
                    <a:pt x="8346071" y="1319549"/>
                  </a:moveTo>
                  <a:cubicBezTo>
                    <a:pt x="8388947" y="1319549"/>
                    <a:pt x="8423702" y="1354303"/>
                    <a:pt x="8423702" y="1397181"/>
                  </a:cubicBezTo>
                  <a:cubicBezTo>
                    <a:pt x="8423702" y="1440056"/>
                    <a:pt x="8388947" y="1474811"/>
                    <a:pt x="8346071" y="1474811"/>
                  </a:cubicBezTo>
                  <a:cubicBezTo>
                    <a:pt x="8303194" y="1474811"/>
                    <a:pt x="8268439" y="1440056"/>
                    <a:pt x="8268439" y="1397181"/>
                  </a:cubicBezTo>
                  <a:cubicBezTo>
                    <a:pt x="8268439" y="1354303"/>
                    <a:pt x="8303194" y="1319549"/>
                    <a:pt x="8346071" y="1319549"/>
                  </a:cubicBezTo>
                  <a:close/>
                  <a:moveTo>
                    <a:pt x="7834193" y="1319549"/>
                  </a:moveTo>
                  <a:cubicBezTo>
                    <a:pt x="7877070" y="1319549"/>
                    <a:pt x="7911825" y="1354303"/>
                    <a:pt x="7911825" y="1397181"/>
                  </a:cubicBezTo>
                  <a:cubicBezTo>
                    <a:pt x="7911825" y="1440056"/>
                    <a:pt x="7877070" y="1474811"/>
                    <a:pt x="7834193" y="1474811"/>
                  </a:cubicBezTo>
                  <a:cubicBezTo>
                    <a:pt x="7791317" y="1474811"/>
                    <a:pt x="7756562" y="1440056"/>
                    <a:pt x="7756562" y="1397181"/>
                  </a:cubicBezTo>
                  <a:cubicBezTo>
                    <a:pt x="7756562" y="1354303"/>
                    <a:pt x="7791317" y="1319549"/>
                    <a:pt x="7834193" y="1319549"/>
                  </a:cubicBezTo>
                  <a:close/>
                  <a:moveTo>
                    <a:pt x="7322128" y="1319549"/>
                  </a:moveTo>
                  <a:cubicBezTo>
                    <a:pt x="7365004" y="1319549"/>
                    <a:pt x="7399759" y="1354303"/>
                    <a:pt x="7399759" y="1397181"/>
                  </a:cubicBezTo>
                  <a:cubicBezTo>
                    <a:pt x="7399759" y="1440056"/>
                    <a:pt x="7365004" y="1474811"/>
                    <a:pt x="7322128" y="1474811"/>
                  </a:cubicBezTo>
                  <a:cubicBezTo>
                    <a:pt x="7279251" y="1474811"/>
                    <a:pt x="7244496" y="1440056"/>
                    <a:pt x="7244496" y="1397181"/>
                  </a:cubicBezTo>
                  <a:cubicBezTo>
                    <a:pt x="7244496" y="1354303"/>
                    <a:pt x="7279251" y="1319549"/>
                    <a:pt x="7322128" y="1319549"/>
                  </a:cubicBezTo>
                  <a:close/>
                  <a:moveTo>
                    <a:pt x="6810251" y="1319549"/>
                  </a:moveTo>
                  <a:cubicBezTo>
                    <a:pt x="6853127" y="1319549"/>
                    <a:pt x="6887882" y="1354303"/>
                    <a:pt x="6887882" y="1397181"/>
                  </a:cubicBezTo>
                  <a:cubicBezTo>
                    <a:pt x="6887882" y="1440056"/>
                    <a:pt x="6853127" y="1474811"/>
                    <a:pt x="6810251" y="1474811"/>
                  </a:cubicBezTo>
                  <a:cubicBezTo>
                    <a:pt x="6767374" y="1474811"/>
                    <a:pt x="6732619" y="1440056"/>
                    <a:pt x="6732619" y="1397181"/>
                  </a:cubicBezTo>
                  <a:cubicBezTo>
                    <a:pt x="6732619" y="1354303"/>
                    <a:pt x="6767374" y="1319549"/>
                    <a:pt x="6810251" y="1319549"/>
                  </a:cubicBezTo>
                  <a:close/>
                  <a:moveTo>
                    <a:pt x="6298184" y="1319549"/>
                  </a:moveTo>
                  <a:cubicBezTo>
                    <a:pt x="6341061" y="1319549"/>
                    <a:pt x="6375816" y="1354303"/>
                    <a:pt x="6375816" y="1397181"/>
                  </a:cubicBezTo>
                  <a:cubicBezTo>
                    <a:pt x="6375816" y="1440056"/>
                    <a:pt x="6341061" y="1474811"/>
                    <a:pt x="6298184" y="1474811"/>
                  </a:cubicBezTo>
                  <a:cubicBezTo>
                    <a:pt x="6255309" y="1474811"/>
                    <a:pt x="6220554" y="1440056"/>
                    <a:pt x="6220554" y="1397181"/>
                  </a:cubicBezTo>
                  <a:cubicBezTo>
                    <a:pt x="6220554" y="1354303"/>
                    <a:pt x="6255309" y="1319549"/>
                    <a:pt x="6298184" y="1319549"/>
                  </a:cubicBezTo>
                  <a:close/>
                  <a:moveTo>
                    <a:pt x="5786126" y="1319549"/>
                  </a:moveTo>
                  <a:cubicBezTo>
                    <a:pt x="5829001" y="1319549"/>
                    <a:pt x="5863754" y="1354303"/>
                    <a:pt x="5863754" y="1397181"/>
                  </a:cubicBezTo>
                  <a:cubicBezTo>
                    <a:pt x="5863754" y="1440056"/>
                    <a:pt x="5829001" y="1474811"/>
                    <a:pt x="5786126" y="1474811"/>
                  </a:cubicBezTo>
                  <a:cubicBezTo>
                    <a:pt x="5743252" y="1474811"/>
                    <a:pt x="5708497" y="1440056"/>
                    <a:pt x="5708497" y="1397181"/>
                  </a:cubicBezTo>
                  <a:cubicBezTo>
                    <a:pt x="5708497" y="1354303"/>
                    <a:pt x="5743252" y="1319549"/>
                    <a:pt x="5786126" y="1319549"/>
                  </a:cubicBezTo>
                  <a:close/>
                  <a:moveTo>
                    <a:pt x="5274270" y="1319549"/>
                  </a:moveTo>
                  <a:cubicBezTo>
                    <a:pt x="5317143" y="1319549"/>
                    <a:pt x="5351901" y="1354306"/>
                    <a:pt x="5351901" y="1397181"/>
                  </a:cubicBezTo>
                  <a:cubicBezTo>
                    <a:pt x="5351901" y="1440054"/>
                    <a:pt x="5317143" y="1474811"/>
                    <a:pt x="5274270" y="1474811"/>
                  </a:cubicBezTo>
                  <a:cubicBezTo>
                    <a:pt x="5231396" y="1474811"/>
                    <a:pt x="5196640" y="1440054"/>
                    <a:pt x="5196640" y="1397181"/>
                  </a:cubicBezTo>
                  <a:cubicBezTo>
                    <a:pt x="5196640" y="1354306"/>
                    <a:pt x="5231396" y="1319549"/>
                    <a:pt x="5274270" y="1319549"/>
                  </a:cubicBezTo>
                  <a:close/>
                  <a:moveTo>
                    <a:pt x="4762180" y="1319549"/>
                  </a:moveTo>
                  <a:cubicBezTo>
                    <a:pt x="4805070" y="1319549"/>
                    <a:pt x="4839836" y="1354306"/>
                    <a:pt x="4839836" y="1397181"/>
                  </a:cubicBezTo>
                  <a:cubicBezTo>
                    <a:pt x="4839836" y="1440054"/>
                    <a:pt x="4805070" y="1474811"/>
                    <a:pt x="4762180" y="1474811"/>
                  </a:cubicBezTo>
                  <a:cubicBezTo>
                    <a:pt x="4719317" y="1474811"/>
                    <a:pt x="4684568" y="1440054"/>
                    <a:pt x="4684568" y="1397181"/>
                  </a:cubicBezTo>
                  <a:cubicBezTo>
                    <a:pt x="4684568" y="1354306"/>
                    <a:pt x="4719317" y="1319549"/>
                    <a:pt x="4762180" y="1319549"/>
                  </a:cubicBezTo>
                  <a:close/>
                  <a:moveTo>
                    <a:pt x="4250316" y="1319549"/>
                  </a:moveTo>
                  <a:cubicBezTo>
                    <a:pt x="4293194" y="1319549"/>
                    <a:pt x="4327952" y="1354306"/>
                    <a:pt x="4327952" y="1397181"/>
                  </a:cubicBezTo>
                  <a:cubicBezTo>
                    <a:pt x="4327952" y="1440054"/>
                    <a:pt x="4293194" y="1474811"/>
                    <a:pt x="4250316" y="1474811"/>
                  </a:cubicBezTo>
                  <a:cubicBezTo>
                    <a:pt x="4207439" y="1474811"/>
                    <a:pt x="4172680" y="1440054"/>
                    <a:pt x="4172680" y="1397181"/>
                  </a:cubicBezTo>
                  <a:cubicBezTo>
                    <a:pt x="4172680" y="1354306"/>
                    <a:pt x="4207439" y="1319549"/>
                    <a:pt x="4250316" y="1319549"/>
                  </a:cubicBezTo>
                  <a:close/>
                  <a:moveTo>
                    <a:pt x="3738287" y="1319549"/>
                  </a:moveTo>
                  <a:cubicBezTo>
                    <a:pt x="3781162" y="1319549"/>
                    <a:pt x="3815917" y="1354306"/>
                    <a:pt x="3815917" y="1397181"/>
                  </a:cubicBezTo>
                  <a:cubicBezTo>
                    <a:pt x="3815917" y="1440054"/>
                    <a:pt x="3781162" y="1474811"/>
                    <a:pt x="3738287" y="1474811"/>
                  </a:cubicBezTo>
                  <a:cubicBezTo>
                    <a:pt x="3695408" y="1474811"/>
                    <a:pt x="3660647" y="1440054"/>
                    <a:pt x="3660647" y="1397181"/>
                  </a:cubicBezTo>
                  <a:cubicBezTo>
                    <a:pt x="3660647" y="1354306"/>
                    <a:pt x="3695408" y="1319549"/>
                    <a:pt x="3738287" y="1319549"/>
                  </a:cubicBezTo>
                  <a:close/>
                  <a:moveTo>
                    <a:pt x="3226239" y="1319549"/>
                  </a:moveTo>
                  <a:cubicBezTo>
                    <a:pt x="3269119" y="1319549"/>
                    <a:pt x="3303877" y="1354306"/>
                    <a:pt x="3303877" y="1397181"/>
                  </a:cubicBezTo>
                  <a:cubicBezTo>
                    <a:pt x="3303877" y="1440054"/>
                    <a:pt x="3269119" y="1474811"/>
                    <a:pt x="3226239" y="1474811"/>
                  </a:cubicBezTo>
                  <a:cubicBezTo>
                    <a:pt x="3183364" y="1474811"/>
                    <a:pt x="3148605" y="1440054"/>
                    <a:pt x="3148605" y="1397181"/>
                  </a:cubicBezTo>
                  <a:cubicBezTo>
                    <a:pt x="3148605" y="1354306"/>
                    <a:pt x="3183364" y="1319549"/>
                    <a:pt x="3226239" y="1319549"/>
                  </a:cubicBezTo>
                  <a:close/>
                  <a:moveTo>
                    <a:pt x="2714362" y="1319549"/>
                  </a:moveTo>
                  <a:cubicBezTo>
                    <a:pt x="2757237" y="1319549"/>
                    <a:pt x="2791993" y="1354306"/>
                    <a:pt x="2791993" y="1397181"/>
                  </a:cubicBezTo>
                  <a:cubicBezTo>
                    <a:pt x="2791993" y="1440054"/>
                    <a:pt x="2757237" y="1474811"/>
                    <a:pt x="2714362" y="1474811"/>
                  </a:cubicBezTo>
                  <a:cubicBezTo>
                    <a:pt x="2671488" y="1474811"/>
                    <a:pt x="2636733" y="1440054"/>
                    <a:pt x="2636733" y="1397181"/>
                  </a:cubicBezTo>
                  <a:cubicBezTo>
                    <a:pt x="2636733" y="1354306"/>
                    <a:pt x="2671488" y="1319549"/>
                    <a:pt x="2714362" y="1319549"/>
                  </a:cubicBezTo>
                  <a:close/>
                  <a:moveTo>
                    <a:pt x="2202305" y="1319549"/>
                  </a:moveTo>
                  <a:cubicBezTo>
                    <a:pt x="2245179" y="1319549"/>
                    <a:pt x="2279935" y="1354306"/>
                    <a:pt x="2279935" y="1397181"/>
                  </a:cubicBezTo>
                  <a:cubicBezTo>
                    <a:pt x="2279935" y="1440054"/>
                    <a:pt x="2245179" y="1474811"/>
                    <a:pt x="2202305" y="1474811"/>
                  </a:cubicBezTo>
                  <a:cubicBezTo>
                    <a:pt x="2159431" y="1474811"/>
                    <a:pt x="2124675" y="1440054"/>
                    <a:pt x="2124675" y="1397181"/>
                  </a:cubicBezTo>
                  <a:cubicBezTo>
                    <a:pt x="2124675" y="1354306"/>
                    <a:pt x="2159431" y="1319549"/>
                    <a:pt x="2202305" y="1319549"/>
                  </a:cubicBezTo>
                  <a:close/>
                  <a:moveTo>
                    <a:pt x="1690412" y="1319549"/>
                  </a:moveTo>
                  <a:cubicBezTo>
                    <a:pt x="1733286" y="1319549"/>
                    <a:pt x="1768043" y="1354306"/>
                    <a:pt x="1768043" y="1397181"/>
                  </a:cubicBezTo>
                  <a:cubicBezTo>
                    <a:pt x="1768043" y="1440054"/>
                    <a:pt x="1733286" y="1474811"/>
                    <a:pt x="1690412" y="1474811"/>
                  </a:cubicBezTo>
                  <a:cubicBezTo>
                    <a:pt x="1647538" y="1474811"/>
                    <a:pt x="1612781" y="1440054"/>
                    <a:pt x="1612781" y="1397181"/>
                  </a:cubicBezTo>
                  <a:cubicBezTo>
                    <a:pt x="1612781" y="1354306"/>
                    <a:pt x="1647538" y="1319549"/>
                    <a:pt x="1690412" y="1319549"/>
                  </a:cubicBezTo>
                  <a:close/>
                  <a:moveTo>
                    <a:pt x="1178353" y="1319549"/>
                  </a:moveTo>
                  <a:cubicBezTo>
                    <a:pt x="1221227" y="1319549"/>
                    <a:pt x="1255984" y="1354306"/>
                    <a:pt x="1255984" y="1397181"/>
                  </a:cubicBezTo>
                  <a:cubicBezTo>
                    <a:pt x="1255984" y="1440054"/>
                    <a:pt x="1221227" y="1474811"/>
                    <a:pt x="1178353" y="1474811"/>
                  </a:cubicBezTo>
                  <a:cubicBezTo>
                    <a:pt x="1135478" y="1474811"/>
                    <a:pt x="1100722" y="1440054"/>
                    <a:pt x="1100722" y="1397181"/>
                  </a:cubicBezTo>
                  <a:cubicBezTo>
                    <a:pt x="1100722" y="1354306"/>
                    <a:pt x="1135478" y="1319549"/>
                    <a:pt x="1178353" y="1319549"/>
                  </a:cubicBezTo>
                  <a:close/>
                  <a:moveTo>
                    <a:pt x="666483" y="1319549"/>
                  </a:moveTo>
                  <a:cubicBezTo>
                    <a:pt x="709357" y="1319549"/>
                    <a:pt x="744113" y="1354306"/>
                    <a:pt x="744113" y="1397181"/>
                  </a:cubicBezTo>
                  <a:cubicBezTo>
                    <a:pt x="744113" y="1440054"/>
                    <a:pt x="709357" y="1474811"/>
                    <a:pt x="666483" y="1474811"/>
                  </a:cubicBezTo>
                  <a:cubicBezTo>
                    <a:pt x="623608" y="1474811"/>
                    <a:pt x="588852" y="1440054"/>
                    <a:pt x="588852" y="1397181"/>
                  </a:cubicBezTo>
                  <a:cubicBezTo>
                    <a:pt x="588852" y="1354306"/>
                    <a:pt x="623608" y="1319549"/>
                    <a:pt x="666483" y="1319549"/>
                  </a:cubicBezTo>
                  <a:close/>
                  <a:moveTo>
                    <a:pt x="154424" y="1319549"/>
                  </a:moveTo>
                  <a:cubicBezTo>
                    <a:pt x="197298" y="1319549"/>
                    <a:pt x="232055" y="1354306"/>
                    <a:pt x="232055" y="1397181"/>
                  </a:cubicBezTo>
                  <a:cubicBezTo>
                    <a:pt x="232055" y="1440054"/>
                    <a:pt x="197298" y="1474811"/>
                    <a:pt x="154424" y="1474811"/>
                  </a:cubicBezTo>
                  <a:cubicBezTo>
                    <a:pt x="111550" y="1474811"/>
                    <a:pt x="76793" y="1440054"/>
                    <a:pt x="76793" y="1397181"/>
                  </a:cubicBezTo>
                  <a:cubicBezTo>
                    <a:pt x="76793" y="1354306"/>
                    <a:pt x="111550" y="1319549"/>
                    <a:pt x="154424" y="1319549"/>
                  </a:cubicBezTo>
                  <a:close/>
                  <a:moveTo>
                    <a:pt x="11929965" y="879636"/>
                  </a:moveTo>
                  <a:cubicBezTo>
                    <a:pt x="11965016" y="879636"/>
                    <a:pt x="11993430" y="908050"/>
                    <a:pt x="11993430" y="943101"/>
                  </a:cubicBezTo>
                  <a:cubicBezTo>
                    <a:pt x="11993430" y="978153"/>
                    <a:pt x="11965016" y="1006567"/>
                    <a:pt x="11929965" y="1006567"/>
                  </a:cubicBezTo>
                  <a:cubicBezTo>
                    <a:pt x="11894915" y="1006567"/>
                    <a:pt x="11866500" y="978153"/>
                    <a:pt x="11866500" y="943101"/>
                  </a:cubicBezTo>
                  <a:cubicBezTo>
                    <a:pt x="11866500" y="908050"/>
                    <a:pt x="11894915" y="879636"/>
                    <a:pt x="11929965" y="879636"/>
                  </a:cubicBezTo>
                  <a:close/>
                  <a:moveTo>
                    <a:pt x="11417899" y="879636"/>
                  </a:moveTo>
                  <a:cubicBezTo>
                    <a:pt x="11452950" y="879636"/>
                    <a:pt x="11481364" y="908050"/>
                    <a:pt x="11481364" y="943101"/>
                  </a:cubicBezTo>
                  <a:cubicBezTo>
                    <a:pt x="11481364" y="978153"/>
                    <a:pt x="11452950" y="1006567"/>
                    <a:pt x="11417899" y="1006567"/>
                  </a:cubicBezTo>
                  <a:cubicBezTo>
                    <a:pt x="11382849" y="1006567"/>
                    <a:pt x="11354434" y="978153"/>
                    <a:pt x="11354434" y="943101"/>
                  </a:cubicBezTo>
                  <a:cubicBezTo>
                    <a:pt x="11354434" y="908050"/>
                    <a:pt x="11382849" y="879636"/>
                    <a:pt x="11417899" y="879636"/>
                  </a:cubicBezTo>
                  <a:close/>
                  <a:moveTo>
                    <a:pt x="10906023" y="879636"/>
                  </a:moveTo>
                  <a:cubicBezTo>
                    <a:pt x="10941073" y="879636"/>
                    <a:pt x="10969488" y="908050"/>
                    <a:pt x="10969488" y="943101"/>
                  </a:cubicBezTo>
                  <a:cubicBezTo>
                    <a:pt x="10969488" y="978153"/>
                    <a:pt x="10941073" y="1006567"/>
                    <a:pt x="10906023" y="1006567"/>
                  </a:cubicBezTo>
                  <a:cubicBezTo>
                    <a:pt x="10870972" y="1006567"/>
                    <a:pt x="10842558" y="978153"/>
                    <a:pt x="10842558" y="943101"/>
                  </a:cubicBezTo>
                  <a:cubicBezTo>
                    <a:pt x="10842558" y="908050"/>
                    <a:pt x="10870972" y="879636"/>
                    <a:pt x="10906023" y="879636"/>
                  </a:cubicBezTo>
                  <a:close/>
                  <a:moveTo>
                    <a:pt x="10393956" y="879636"/>
                  </a:moveTo>
                  <a:cubicBezTo>
                    <a:pt x="10429006" y="879636"/>
                    <a:pt x="10457421" y="908050"/>
                    <a:pt x="10457421" y="943101"/>
                  </a:cubicBezTo>
                  <a:cubicBezTo>
                    <a:pt x="10457421" y="978153"/>
                    <a:pt x="10429006" y="1006567"/>
                    <a:pt x="10393956" y="1006567"/>
                  </a:cubicBezTo>
                  <a:cubicBezTo>
                    <a:pt x="10358906" y="1006567"/>
                    <a:pt x="10330491" y="978153"/>
                    <a:pt x="10330491" y="943101"/>
                  </a:cubicBezTo>
                  <a:cubicBezTo>
                    <a:pt x="10330491" y="908050"/>
                    <a:pt x="10358906" y="879636"/>
                    <a:pt x="10393956" y="879636"/>
                  </a:cubicBezTo>
                  <a:close/>
                  <a:moveTo>
                    <a:pt x="9882079" y="879636"/>
                  </a:moveTo>
                  <a:cubicBezTo>
                    <a:pt x="9917130" y="879636"/>
                    <a:pt x="9945544" y="908050"/>
                    <a:pt x="9945544" y="943101"/>
                  </a:cubicBezTo>
                  <a:cubicBezTo>
                    <a:pt x="9945544" y="978153"/>
                    <a:pt x="9917130" y="1006567"/>
                    <a:pt x="9882079" y="1006567"/>
                  </a:cubicBezTo>
                  <a:cubicBezTo>
                    <a:pt x="9847029" y="1006567"/>
                    <a:pt x="9818615" y="978153"/>
                    <a:pt x="9818615" y="943101"/>
                  </a:cubicBezTo>
                  <a:cubicBezTo>
                    <a:pt x="9818615" y="908050"/>
                    <a:pt x="9847029" y="879636"/>
                    <a:pt x="9882079" y="879636"/>
                  </a:cubicBezTo>
                  <a:close/>
                  <a:moveTo>
                    <a:pt x="5274270" y="879636"/>
                  </a:moveTo>
                  <a:cubicBezTo>
                    <a:pt x="5309318" y="879636"/>
                    <a:pt x="5337733" y="908050"/>
                    <a:pt x="5337733" y="943101"/>
                  </a:cubicBezTo>
                  <a:cubicBezTo>
                    <a:pt x="5337733" y="978153"/>
                    <a:pt x="5309318" y="1006567"/>
                    <a:pt x="5274270" y="1006567"/>
                  </a:cubicBezTo>
                  <a:cubicBezTo>
                    <a:pt x="5239220" y="1006567"/>
                    <a:pt x="5210807" y="978153"/>
                    <a:pt x="5210807" y="943101"/>
                  </a:cubicBezTo>
                  <a:cubicBezTo>
                    <a:pt x="5210807" y="908050"/>
                    <a:pt x="5239220" y="879636"/>
                    <a:pt x="5274270" y="879636"/>
                  </a:cubicBezTo>
                  <a:close/>
                  <a:moveTo>
                    <a:pt x="4762180" y="879636"/>
                  </a:moveTo>
                  <a:cubicBezTo>
                    <a:pt x="4797244" y="879636"/>
                    <a:pt x="4825668" y="908050"/>
                    <a:pt x="4825668" y="943101"/>
                  </a:cubicBezTo>
                  <a:cubicBezTo>
                    <a:pt x="4825668" y="978153"/>
                    <a:pt x="4797244" y="1006567"/>
                    <a:pt x="4762180" y="1006567"/>
                  </a:cubicBezTo>
                  <a:cubicBezTo>
                    <a:pt x="4727138" y="1006567"/>
                    <a:pt x="4698732" y="978153"/>
                    <a:pt x="4698732" y="943101"/>
                  </a:cubicBezTo>
                  <a:cubicBezTo>
                    <a:pt x="4698732" y="908050"/>
                    <a:pt x="4727138" y="879636"/>
                    <a:pt x="4762180" y="879636"/>
                  </a:cubicBezTo>
                  <a:close/>
                  <a:moveTo>
                    <a:pt x="4250316" y="879636"/>
                  </a:moveTo>
                  <a:cubicBezTo>
                    <a:pt x="4285370" y="879636"/>
                    <a:pt x="4313785" y="908050"/>
                    <a:pt x="4313785" y="943101"/>
                  </a:cubicBezTo>
                  <a:cubicBezTo>
                    <a:pt x="4313785" y="978153"/>
                    <a:pt x="4285370" y="1006567"/>
                    <a:pt x="4250316" y="1006567"/>
                  </a:cubicBezTo>
                  <a:cubicBezTo>
                    <a:pt x="4215264" y="1006567"/>
                    <a:pt x="4186848" y="978153"/>
                    <a:pt x="4186848" y="943101"/>
                  </a:cubicBezTo>
                  <a:cubicBezTo>
                    <a:pt x="4186848" y="908050"/>
                    <a:pt x="4215264" y="879636"/>
                    <a:pt x="4250316" y="879636"/>
                  </a:cubicBezTo>
                  <a:close/>
                  <a:moveTo>
                    <a:pt x="3738289" y="879636"/>
                  </a:moveTo>
                  <a:cubicBezTo>
                    <a:pt x="3773338" y="879636"/>
                    <a:pt x="3801749" y="908050"/>
                    <a:pt x="3801749" y="943101"/>
                  </a:cubicBezTo>
                  <a:cubicBezTo>
                    <a:pt x="3801749" y="978153"/>
                    <a:pt x="3773338" y="1006567"/>
                    <a:pt x="3738289" y="1006567"/>
                  </a:cubicBezTo>
                  <a:cubicBezTo>
                    <a:pt x="3703233" y="1006567"/>
                    <a:pt x="3674814" y="978153"/>
                    <a:pt x="3674814" y="943101"/>
                  </a:cubicBezTo>
                  <a:cubicBezTo>
                    <a:pt x="3674814" y="908050"/>
                    <a:pt x="3703233" y="879636"/>
                    <a:pt x="3738289" y="879636"/>
                  </a:cubicBezTo>
                  <a:close/>
                  <a:moveTo>
                    <a:pt x="3226242" y="879636"/>
                  </a:moveTo>
                  <a:cubicBezTo>
                    <a:pt x="3261296" y="879636"/>
                    <a:pt x="3289709" y="908050"/>
                    <a:pt x="3289709" y="943101"/>
                  </a:cubicBezTo>
                  <a:cubicBezTo>
                    <a:pt x="3289709" y="978153"/>
                    <a:pt x="3261296" y="1006567"/>
                    <a:pt x="3226242" y="1006567"/>
                  </a:cubicBezTo>
                  <a:cubicBezTo>
                    <a:pt x="3191188" y="1006567"/>
                    <a:pt x="3162775" y="978153"/>
                    <a:pt x="3162775" y="943101"/>
                  </a:cubicBezTo>
                  <a:cubicBezTo>
                    <a:pt x="3162775" y="908050"/>
                    <a:pt x="3191188" y="879636"/>
                    <a:pt x="3226242" y="879636"/>
                  </a:cubicBezTo>
                  <a:close/>
                  <a:moveTo>
                    <a:pt x="2714362" y="879636"/>
                  </a:moveTo>
                  <a:cubicBezTo>
                    <a:pt x="2749413" y="879636"/>
                    <a:pt x="2777827" y="908050"/>
                    <a:pt x="2777827" y="943101"/>
                  </a:cubicBezTo>
                  <a:cubicBezTo>
                    <a:pt x="2777827" y="978153"/>
                    <a:pt x="2749413" y="1006567"/>
                    <a:pt x="2714362" y="1006567"/>
                  </a:cubicBezTo>
                  <a:cubicBezTo>
                    <a:pt x="2679313" y="1006567"/>
                    <a:pt x="2650897" y="978153"/>
                    <a:pt x="2650897" y="943101"/>
                  </a:cubicBezTo>
                  <a:cubicBezTo>
                    <a:pt x="2650897" y="908050"/>
                    <a:pt x="2679313" y="879636"/>
                    <a:pt x="2714362" y="879636"/>
                  </a:cubicBezTo>
                  <a:close/>
                  <a:moveTo>
                    <a:pt x="2202305" y="879636"/>
                  </a:moveTo>
                  <a:cubicBezTo>
                    <a:pt x="2237356" y="879636"/>
                    <a:pt x="2265769" y="908050"/>
                    <a:pt x="2265769" y="943101"/>
                  </a:cubicBezTo>
                  <a:cubicBezTo>
                    <a:pt x="2265769" y="978153"/>
                    <a:pt x="2237356" y="1006567"/>
                    <a:pt x="2202305" y="1006567"/>
                  </a:cubicBezTo>
                  <a:cubicBezTo>
                    <a:pt x="2167254" y="1006567"/>
                    <a:pt x="2138841" y="978153"/>
                    <a:pt x="2138841" y="943101"/>
                  </a:cubicBezTo>
                  <a:cubicBezTo>
                    <a:pt x="2138841" y="908050"/>
                    <a:pt x="2167254" y="879636"/>
                    <a:pt x="2202305" y="879636"/>
                  </a:cubicBezTo>
                  <a:close/>
                  <a:moveTo>
                    <a:pt x="1690412" y="879636"/>
                  </a:moveTo>
                  <a:cubicBezTo>
                    <a:pt x="1725463" y="879636"/>
                    <a:pt x="1753877" y="908050"/>
                    <a:pt x="1753877" y="943101"/>
                  </a:cubicBezTo>
                  <a:cubicBezTo>
                    <a:pt x="1753877" y="978153"/>
                    <a:pt x="1725463" y="1006567"/>
                    <a:pt x="1690412" y="1006567"/>
                  </a:cubicBezTo>
                  <a:cubicBezTo>
                    <a:pt x="1655361" y="1006567"/>
                    <a:pt x="1626948" y="978153"/>
                    <a:pt x="1626948" y="943101"/>
                  </a:cubicBezTo>
                  <a:cubicBezTo>
                    <a:pt x="1626948" y="908050"/>
                    <a:pt x="1655361" y="879636"/>
                    <a:pt x="1690412" y="879636"/>
                  </a:cubicBezTo>
                  <a:close/>
                  <a:moveTo>
                    <a:pt x="1178353" y="879636"/>
                  </a:moveTo>
                  <a:cubicBezTo>
                    <a:pt x="1213404" y="879636"/>
                    <a:pt x="1241817" y="908050"/>
                    <a:pt x="1241817" y="943101"/>
                  </a:cubicBezTo>
                  <a:cubicBezTo>
                    <a:pt x="1241817" y="978153"/>
                    <a:pt x="1213404" y="1006567"/>
                    <a:pt x="1178353" y="1006567"/>
                  </a:cubicBezTo>
                  <a:cubicBezTo>
                    <a:pt x="1143302" y="1006567"/>
                    <a:pt x="1114888" y="978153"/>
                    <a:pt x="1114888" y="943101"/>
                  </a:cubicBezTo>
                  <a:cubicBezTo>
                    <a:pt x="1114888" y="908050"/>
                    <a:pt x="1143302" y="879636"/>
                    <a:pt x="1178353" y="879636"/>
                  </a:cubicBezTo>
                  <a:close/>
                  <a:moveTo>
                    <a:pt x="666483" y="879636"/>
                  </a:moveTo>
                  <a:cubicBezTo>
                    <a:pt x="701534" y="879636"/>
                    <a:pt x="729947" y="908050"/>
                    <a:pt x="729947" y="943101"/>
                  </a:cubicBezTo>
                  <a:cubicBezTo>
                    <a:pt x="729947" y="978153"/>
                    <a:pt x="701534" y="1006567"/>
                    <a:pt x="666483" y="1006567"/>
                  </a:cubicBezTo>
                  <a:cubicBezTo>
                    <a:pt x="631432" y="1006567"/>
                    <a:pt x="603018" y="978153"/>
                    <a:pt x="603018" y="943101"/>
                  </a:cubicBezTo>
                  <a:cubicBezTo>
                    <a:pt x="603018" y="908050"/>
                    <a:pt x="631432" y="879636"/>
                    <a:pt x="666483" y="879636"/>
                  </a:cubicBezTo>
                  <a:close/>
                  <a:moveTo>
                    <a:pt x="154424" y="879636"/>
                  </a:moveTo>
                  <a:cubicBezTo>
                    <a:pt x="189475" y="879636"/>
                    <a:pt x="217889" y="908050"/>
                    <a:pt x="217889" y="943101"/>
                  </a:cubicBezTo>
                  <a:cubicBezTo>
                    <a:pt x="217889" y="978153"/>
                    <a:pt x="189475" y="1006567"/>
                    <a:pt x="154424" y="1006567"/>
                  </a:cubicBezTo>
                  <a:cubicBezTo>
                    <a:pt x="119373" y="1006567"/>
                    <a:pt x="90960" y="978153"/>
                    <a:pt x="90960" y="943101"/>
                  </a:cubicBezTo>
                  <a:cubicBezTo>
                    <a:pt x="90960" y="908050"/>
                    <a:pt x="119373" y="879636"/>
                    <a:pt x="154424" y="879636"/>
                  </a:cubicBezTo>
                  <a:close/>
                  <a:moveTo>
                    <a:pt x="9370014" y="879635"/>
                  </a:moveTo>
                  <a:cubicBezTo>
                    <a:pt x="9405147" y="879635"/>
                    <a:pt x="9433479" y="907968"/>
                    <a:pt x="9433479" y="943100"/>
                  </a:cubicBezTo>
                  <a:cubicBezTo>
                    <a:pt x="9433479" y="978044"/>
                    <a:pt x="9405147" y="1006566"/>
                    <a:pt x="9370014" y="1006566"/>
                  </a:cubicBezTo>
                  <a:cubicBezTo>
                    <a:pt x="9334882" y="1006566"/>
                    <a:pt x="9306549" y="978234"/>
                    <a:pt x="9306549" y="943100"/>
                  </a:cubicBezTo>
                  <a:cubicBezTo>
                    <a:pt x="9306549" y="907968"/>
                    <a:pt x="9334882" y="879635"/>
                    <a:pt x="9370014" y="879635"/>
                  </a:cubicBezTo>
                  <a:close/>
                  <a:moveTo>
                    <a:pt x="8857948" y="879635"/>
                  </a:moveTo>
                  <a:cubicBezTo>
                    <a:pt x="8893080" y="879635"/>
                    <a:pt x="8921412" y="907968"/>
                    <a:pt x="8921412" y="943100"/>
                  </a:cubicBezTo>
                  <a:cubicBezTo>
                    <a:pt x="8921412" y="978044"/>
                    <a:pt x="8893080" y="1006566"/>
                    <a:pt x="8857948" y="1006566"/>
                  </a:cubicBezTo>
                  <a:cubicBezTo>
                    <a:pt x="8822815" y="1006566"/>
                    <a:pt x="8794482" y="978234"/>
                    <a:pt x="8794482" y="943100"/>
                  </a:cubicBezTo>
                  <a:cubicBezTo>
                    <a:pt x="8794482" y="907968"/>
                    <a:pt x="8822815" y="879635"/>
                    <a:pt x="8857948" y="879635"/>
                  </a:cubicBezTo>
                  <a:close/>
                  <a:moveTo>
                    <a:pt x="8346071" y="879635"/>
                  </a:moveTo>
                  <a:cubicBezTo>
                    <a:pt x="8381203" y="879635"/>
                    <a:pt x="8409535" y="907968"/>
                    <a:pt x="8409535" y="943100"/>
                  </a:cubicBezTo>
                  <a:cubicBezTo>
                    <a:pt x="8409535" y="978044"/>
                    <a:pt x="8381203" y="1006566"/>
                    <a:pt x="8346071" y="1006566"/>
                  </a:cubicBezTo>
                  <a:cubicBezTo>
                    <a:pt x="8310938" y="1006566"/>
                    <a:pt x="8282605" y="978234"/>
                    <a:pt x="8282605" y="943100"/>
                  </a:cubicBezTo>
                  <a:cubicBezTo>
                    <a:pt x="8282605" y="907968"/>
                    <a:pt x="8310938" y="879635"/>
                    <a:pt x="8346071" y="879635"/>
                  </a:cubicBezTo>
                  <a:close/>
                  <a:moveTo>
                    <a:pt x="7834005" y="879635"/>
                  </a:moveTo>
                  <a:cubicBezTo>
                    <a:pt x="7869138" y="879635"/>
                    <a:pt x="7897470" y="907968"/>
                    <a:pt x="7897470" y="943100"/>
                  </a:cubicBezTo>
                  <a:cubicBezTo>
                    <a:pt x="7897470" y="978044"/>
                    <a:pt x="7869138" y="1006566"/>
                    <a:pt x="7834005" y="1006566"/>
                  </a:cubicBezTo>
                  <a:cubicBezTo>
                    <a:pt x="7798873" y="1006566"/>
                    <a:pt x="7770540" y="978234"/>
                    <a:pt x="7770540" y="943100"/>
                  </a:cubicBezTo>
                  <a:cubicBezTo>
                    <a:pt x="7770540" y="907968"/>
                    <a:pt x="7798873" y="879635"/>
                    <a:pt x="7834005" y="879635"/>
                  </a:cubicBezTo>
                  <a:close/>
                  <a:moveTo>
                    <a:pt x="7322128" y="879635"/>
                  </a:moveTo>
                  <a:cubicBezTo>
                    <a:pt x="7357260" y="879635"/>
                    <a:pt x="7385592" y="907968"/>
                    <a:pt x="7385592" y="943100"/>
                  </a:cubicBezTo>
                  <a:cubicBezTo>
                    <a:pt x="7385592" y="978044"/>
                    <a:pt x="7357260" y="1006566"/>
                    <a:pt x="7322128" y="1006566"/>
                  </a:cubicBezTo>
                  <a:cubicBezTo>
                    <a:pt x="7286995" y="1006566"/>
                    <a:pt x="7258662" y="978234"/>
                    <a:pt x="7258662" y="943100"/>
                  </a:cubicBezTo>
                  <a:cubicBezTo>
                    <a:pt x="7258662" y="907968"/>
                    <a:pt x="7286995" y="879635"/>
                    <a:pt x="7322128" y="879635"/>
                  </a:cubicBezTo>
                  <a:close/>
                  <a:moveTo>
                    <a:pt x="6810062" y="879635"/>
                  </a:moveTo>
                  <a:cubicBezTo>
                    <a:pt x="6845195" y="879635"/>
                    <a:pt x="6873527" y="907968"/>
                    <a:pt x="6873527" y="943100"/>
                  </a:cubicBezTo>
                  <a:cubicBezTo>
                    <a:pt x="6873527" y="978044"/>
                    <a:pt x="6845195" y="1006566"/>
                    <a:pt x="6810062" y="1006566"/>
                  </a:cubicBezTo>
                  <a:cubicBezTo>
                    <a:pt x="6774930" y="1006566"/>
                    <a:pt x="6746597" y="978234"/>
                    <a:pt x="6746597" y="943100"/>
                  </a:cubicBezTo>
                  <a:cubicBezTo>
                    <a:pt x="6746597" y="907968"/>
                    <a:pt x="6774930" y="879635"/>
                    <a:pt x="6810062" y="879635"/>
                  </a:cubicBezTo>
                  <a:close/>
                  <a:moveTo>
                    <a:pt x="6298186" y="879635"/>
                  </a:moveTo>
                  <a:cubicBezTo>
                    <a:pt x="6333318" y="879635"/>
                    <a:pt x="6361650" y="907968"/>
                    <a:pt x="6361650" y="943100"/>
                  </a:cubicBezTo>
                  <a:cubicBezTo>
                    <a:pt x="6361650" y="978044"/>
                    <a:pt x="6333318" y="1006566"/>
                    <a:pt x="6298186" y="1006566"/>
                  </a:cubicBezTo>
                  <a:cubicBezTo>
                    <a:pt x="6263054" y="1006566"/>
                    <a:pt x="6234720" y="978234"/>
                    <a:pt x="6234720" y="943100"/>
                  </a:cubicBezTo>
                  <a:cubicBezTo>
                    <a:pt x="6234720" y="907968"/>
                    <a:pt x="6263054" y="879635"/>
                    <a:pt x="6298186" y="879635"/>
                  </a:cubicBezTo>
                  <a:close/>
                  <a:moveTo>
                    <a:pt x="5786126" y="879635"/>
                  </a:moveTo>
                  <a:cubicBezTo>
                    <a:pt x="5821257" y="879635"/>
                    <a:pt x="5849588" y="907968"/>
                    <a:pt x="5849588" y="943100"/>
                  </a:cubicBezTo>
                  <a:cubicBezTo>
                    <a:pt x="5849588" y="978044"/>
                    <a:pt x="5821257" y="1006566"/>
                    <a:pt x="5786126" y="1006566"/>
                  </a:cubicBezTo>
                  <a:cubicBezTo>
                    <a:pt x="5750994" y="1006566"/>
                    <a:pt x="5722663" y="978234"/>
                    <a:pt x="5722663" y="943100"/>
                  </a:cubicBezTo>
                  <a:cubicBezTo>
                    <a:pt x="5722663" y="907968"/>
                    <a:pt x="5750994" y="879635"/>
                    <a:pt x="5786126" y="879635"/>
                  </a:cubicBezTo>
                  <a:close/>
                  <a:moveTo>
                    <a:pt x="11417900" y="439913"/>
                  </a:moveTo>
                  <a:cubicBezTo>
                    <a:pt x="11445022" y="439913"/>
                    <a:pt x="11467010" y="461900"/>
                    <a:pt x="11467010" y="489022"/>
                  </a:cubicBezTo>
                  <a:cubicBezTo>
                    <a:pt x="11467010" y="516146"/>
                    <a:pt x="11445022" y="538132"/>
                    <a:pt x="11417900" y="538132"/>
                  </a:cubicBezTo>
                  <a:cubicBezTo>
                    <a:pt x="11390778" y="538132"/>
                    <a:pt x="11368791" y="516146"/>
                    <a:pt x="11368791" y="489022"/>
                  </a:cubicBezTo>
                  <a:cubicBezTo>
                    <a:pt x="11368791" y="461900"/>
                    <a:pt x="11390778" y="439913"/>
                    <a:pt x="11417900" y="439913"/>
                  </a:cubicBezTo>
                  <a:close/>
                  <a:moveTo>
                    <a:pt x="10906024" y="439913"/>
                  </a:moveTo>
                  <a:cubicBezTo>
                    <a:pt x="10933146" y="439913"/>
                    <a:pt x="10955133" y="461900"/>
                    <a:pt x="10955133" y="489022"/>
                  </a:cubicBezTo>
                  <a:cubicBezTo>
                    <a:pt x="10955133" y="516146"/>
                    <a:pt x="10933146" y="538132"/>
                    <a:pt x="10906024" y="538132"/>
                  </a:cubicBezTo>
                  <a:cubicBezTo>
                    <a:pt x="10878901" y="538132"/>
                    <a:pt x="10856914" y="516146"/>
                    <a:pt x="10856914" y="489022"/>
                  </a:cubicBezTo>
                  <a:cubicBezTo>
                    <a:pt x="10856914" y="461900"/>
                    <a:pt x="10878901" y="439913"/>
                    <a:pt x="10906024" y="439913"/>
                  </a:cubicBezTo>
                  <a:close/>
                  <a:moveTo>
                    <a:pt x="10393958" y="439913"/>
                  </a:moveTo>
                  <a:cubicBezTo>
                    <a:pt x="10421080" y="439913"/>
                    <a:pt x="10443067" y="461900"/>
                    <a:pt x="10443067" y="489022"/>
                  </a:cubicBezTo>
                  <a:cubicBezTo>
                    <a:pt x="10443067" y="516146"/>
                    <a:pt x="10421080" y="538132"/>
                    <a:pt x="10393958" y="538132"/>
                  </a:cubicBezTo>
                  <a:cubicBezTo>
                    <a:pt x="10366836" y="538132"/>
                    <a:pt x="10344848" y="516146"/>
                    <a:pt x="10344848" y="489022"/>
                  </a:cubicBezTo>
                  <a:cubicBezTo>
                    <a:pt x="10344848" y="461900"/>
                    <a:pt x="10366836" y="439913"/>
                    <a:pt x="10393958" y="439913"/>
                  </a:cubicBezTo>
                  <a:close/>
                  <a:moveTo>
                    <a:pt x="9882080" y="439913"/>
                  </a:moveTo>
                  <a:cubicBezTo>
                    <a:pt x="9909202" y="439913"/>
                    <a:pt x="9931190" y="461900"/>
                    <a:pt x="9931190" y="489022"/>
                  </a:cubicBezTo>
                  <a:cubicBezTo>
                    <a:pt x="9931190" y="516146"/>
                    <a:pt x="9909202" y="538132"/>
                    <a:pt x="9882080" y="538132"/>
                  </a:cubicBezTo>
                  <a:cubicBezTo>
                    <a:pt x="9854958" y="538132"/>
                    <a:pt x="9832971" y="516146"/>
                    <a:pt x="9832971" y="489022"/>
                  </a:cubicBezTo>
                  <a:cubicBezTo>
                    <a:pt x="9832971" y="461900"/>
                    <a:pt x="9854958" y="439913"/>
                    <a:pt x="9882080" y="439913"/>
                  </a:cubicBezTo>
                  <a:close/>
                  <a:moveTo>
                    <a:pt x="9370013" y="439913"/>
                  </a:moveTo>
                  <a:cubicBezTo>
                    <a:pt x="9397023" y="439913"/>
                    <a:pt x="9419123" y="462011"/>
                    <a:pt x="9419123" y="489022"/>
                  </a:cubicBezTo>
                  <a:cubicBezTo>
                    <a:pt x="9419123" y="516221"/>
                    <a:pt x="9397023" y="538132"/>
                    <a:pt x="9370013" y="538132"/>
                  </a:cubicBezTo>
                  <a:cubicBezTo>
                    <a:pt x="9343003" y="538132"/>
                    <a:pt x="9320903" y="516032"/>
                    <a:pt x="9320903" y="489022"/>
                  </a:cubicBezTo>
                  <a:cubicBezTo>
                    <a:pt x="9320903" y="462011"/>
                    <a:pt x="9343003" y="439913"/>
                    <a:pt x="9370013" y="439913"/>
                  </a:cubicBezTo>
                  <a:close/>
                  <a:moveTo>
                    <a:pt x="8858137" y="439913"/>
                  </a:moveTo>
                  <a:cubicBezTo>
                    <a:pt x="8885147" y="439913"/>
                    <a:pt x="8907247" y="462011"/>
                    <a:pt x="8907247" y="489022"/>
                  </a:cubicBezTo>
                  <a:cubicBezTo>
                    <a:pt x="8907247" y="516221"/>
                    <a:pt x="8885147" y="538132"/>
                    <a:pt x="8858137" y="538132"/>
                  </a:cubicBezTo>
                  <a:cubicBezTo>
                    <a:pt x="8831126" y="538132"/>
                    <a:pt x="8809027" y="516032"/>
                    <a:pt x="8809027" y="489022"/>
                  </a:cubicBezTo>
                  <a:cubicBezTo>
                    <a:pt x="8809027" y="462011"/>
                    <a:pt x="8831126" y="439913"/>
                    <a:pt x="8858137" y="439913"/>
                  </a:cubicBezTo>
                  <a:close/>
                  <a:moveTo>
                    <a:pt x="8346071" y="439913"/>
                  </a:moveTo>
                  <a:cubicBezTo>
                    <a:pt x="8373081" y="439913"/>
                    <a:pt x="8395181" y="462011"/>
                    <a:pt x="8395181" y="489022"/>
                  </a:cubicBezTo>
                  <a:cubicBezTo>
                    <a:pt x="8395181" y="516221"/>
                    <a:pt x="8373081" y="538132"/>
                    <a:pt x="8346071" y="538132"/>
                  </a:cubicBezTo>
                  <a:cubicBezTo>
                    <a:pt x="8319061" y="538132"/>
                    <a:pt x="8296961" y="516032"/>
                    <a:pt x="8296961" y="489022"/>
                  </a:cubicBezTo>
                  <a:cubicBezTo>
                    <a:pt x="8296961" y="462011"/>
                    <a:pt x="8319061" y="439913"/>
                    <a:pt x="8346071" y="439913"/>
                  </a:cubicBezTo>
                  <a:close/>
                  <a:moveTo>
                    <a:pt x="7834193" y="439913"/>
                  </a:moveTo>
                  <a:cubicBezTo>
                    <a:pt x="7861203" y="439913"/>
                    <a:pt x="7883303" y="462011"/>
                    <a:pt x="7883303" y="489022"/>
                  </a:cubicBezTo>
                  <a:cubicBezTo>
                    <a:pt x="7883303" y="516221"/>
                    <a:pt x="7861203" y="538132"/>
                    <a:pt x="7834193" y="538132"/>
                  </a:cubicBezTo>
                  <a:cubicBezTo>
                    <a:pt x="7807183" y="538132"/>
                    <a:pt x="7785083" y="516032"/>
                    <a:pt x="7785083" y="489022"/>
                  </a:cubicBezTo>
                  <a:cubicBezTo>
                    <a:pt x="7785083" y="462011"/>
                    <a:pt x="7807183" y="439913"/>
                    <a:pt x="7834193" y="439913"/>
                  </a:cubicBezTo>
                  <a:close/>
                  <a:moveTo>
                    <a:pt x="7322128" y="439913"/>
                  </a:moveTo>
                  <a:cubicBezTo>
                    <a:pt x="7349138" y="439913"/>
                    <a:pt x="7371238" y="462011"/>
                    <a:pt x="7371238" y="489022"/>
                  </a:cubicBezTo>
                  <a:cubicBezTo>
                    <a:pt x="7371238" y="516221"/>
                    <a:pt x="7349138" y="538132"/>
                    <a:pt x="7322128" y="538132"/>
                  </a:cubicBezTo>
                  <a:cubicBezTo>
                    <a:pt x="7295117" y="538132"/>
                    <a:pt x="7273018" y="516032"/>
                    <a:pt x="7273018" y="489022"/>
                  </a:cubicBezTo>
                  <a:cubicBezTo>
                    <a:pt x="7273018" y="462011"/>
                    <a:pt x="7295117" y="439913"/>
                    <a:pt x="7322128" y="439913"/>
                  </a:cubicBezTo>
                  <a:close/>
                  <a:moveTo>
                    <a:pt x="6810251" y="439913"/>
                  </a:moveTo>
                  <a:cubicBezTo>
                    <a:pt x="6837261" y="439913"/>
                    <a:pt x="6859361" y="462011"/>
                    <a:pt x="6859361" y="489022"/>
                  </a:cubicBezTo>
                  <a:cubicBezTo>
                    <a:pt x="6859361" y="516221"/>
                    <a:pt x="6837261" y="538132"/>
                    <a:pt x="6810251" y="538132"/>
                  </a:cubicBezTo>
                  <a:cubicBezTo>
                    <a:pt x="6783241" y="538132"/>
                    <a:pt x="6761141" y="516032"/>
                    <a:pt x="6761141" y="489022"/>
                  </a:cubicBezTo>
                  <a:cubicBezTo>
                    <a:pt x="6761141" y="462011"/>
                    <a:pt x="6783241" y="439913"/>
                    <a:pt x="6810251" y="439913"/>
                  </a:cubicBezTo>
                  <a:close/>
                  <a:moveTo>
                    <a:pt x="6298184" y="439913"/>
                  </a:moveTo>
                  <a:cubicBezTo>
                    <a:pt x="6325195" y="439913"/>
                    <a:pt x="6347295" y="462011"/>
                    <a:pt x="6347295" y="489022"/>
                  </a:cubicBezTo>
                  <a:cubicBezTo>
                    <a:pt x="6347295" y="516221"/>
                    <a:pt x="6325195" y="538132"/>
                    <a:pt x="6298184" y="538132"/>
                  </a:cubicBezTo>
                  <a:cubicBezTo>
                    <a:pt x="6271175" y="538132"/>
                    <a:pt x="6249074" y="516032"/>
                    <a:pt x="6249074" y="489022"/>
                  </a:cubicBezTo>
                  <a:cubicBezTo>
                    <a:pt x="6249074" y="462011"/>
                    <a:pt x="6271175" y="439913"/>
                    <a:pt x="6298184" y="439913"/>
                  </a:cubicBezTo>
                  <a:close/>
                  <a:moveTo>
                    <a:pt x="5786315" y="439913"/>
                  </a:moveTo>
                  <a:cubicBezTo>
                    <a:pt x="5813325" y="439913"/>
                    <a:pt x="5835423" y="462011"/>
                    <a:pt x="5835423" y="489022"/>
                  </a:cubicBezTo>
                  <a:cubicBezTo>
                    <a:pt x="5835423" y="516221"/>
                    <a:pt x="5813325" y="538132"/>
                    <a:pt x="5786315" y="538132"/>
                  </a:cubicBezTo>
                  <a:cubicBezTo>
                    <a:pt x="5759305" y="538132"/>
                    <a:pt x="5737207" y="516032"/>
                    <a:pt x="5737207" y="489022"/>
                  </a:cubicBezTo>
                  <a:cubicBezTo>
                    <a:pt x="5737207" y="462011"/>
                    <a:pt x="5759305" y="439913"/>
                    <a:pt x="5786315" y="439913"/>
                  </a:cubicBezTo>
                  <a:close/>
                  <a:moveTo>
                    <a:pt x="5274270" y="439913"/>
                  </a:moveTo>
                  <a:cubicBezTo>
                    <a:pt x="5301393" y="439913"/>
                    <a:pt x="5323380" y="461900"/>
                    <a:pt x="5323380" y="489022"/>
                  </a:cubicBezTo>
                  <a:cubicBezTo>
                    <a:pt x="5323380" y="516146"/>
                    <a:pt x="5301393" y="538132"/>
                    <a:pt x="5274270" y="538132"/>
                  </a:cubicBezTo>
                  <a:cubicBezTo>
                    <a:pt x="5247148" y="538132"/>
                    <a:pt x="5225158" y="516146"/>
                    <a:pt x="5225158" y="489022"/>
                  </a:cubicBezTo>
                  <a:cubicBezTo>
                    <a:pt x="5225158" y="461900"/>
                    <a:pt x="5247148" y="439913"/>
                    <a:pt x="5274270" y="439913"/>
                  </a:cubicBezTo>
                  <a:close/>
                  <a:moveTo>
                    <a:pt x="4762180" y="439913"/>
                  </a:moveTo>
                  <a:cubicBezTo>
                    <a:pt x="4789311" y="439913"/>
                    <a:pt x="4811308" y="461900"/>
                    <a:pt x="4811308" y="489022"/>
                  </a:cubicBezTo>
                  <a:cubicBezTo>
                    <a:pt x="4811308" y="516146"/>
                    <a:pt x="4789311" y="538132"/>
                    <a:pt x="4762180" y="538132"/>
                  </a:cubicBezTo>
                  <a:cubicBezTo>
                    <a:pt x="4735061" y="538132"/>
                    <a:pt x="4713081" y="516146"/>
                    <a:pt x="4713081" y="489022"/>
                  </a:cubicBezTo>
                  <a:cubicBezTo>
                    <a:pt x="4713081" y="461900"/>
                    <a:pt x="4735061" y="439913"/>
                    <a:pt x="4762180" y="439913"/>
                  </a:cubicBezTo>
                  <a:close/>
                  <a:moveTo>
                    <a:pt x="4250316" y="439913"/>
                  </a:moveTo>
                  <a:cubicBezTo>
                    <a:pt x="4277442" y="439913"/>
                    <a:pt x="4299428" y="461900"/>
                    <a:pt x="4299428" y="489022"/>
                  </a:cubicBezTo>
                  <a:cubicBezTo>
                    <a:pt x="4299428" y="516146"/>
                    <a:pt x="4277442" y="538132"/>
                    <a:pt x="4250316" y="538132"/>
                  </a:cubicBezTo>
                  <a:cubicBezTo>
                    <a:pt x="4223194" y="538132"/>
                    <a:pt x="4201204" y="516146"/>
                    <a:pt x="4201204" y="489022"/>
                  </a:cubicBezTo>
                  <a:cubicBezTo>
                    <a:pt x="4201204" y="461900"/>
                    <a:pt x="4223194" y="439913"/>
                    <a:pt x="4250316" y="439913"/>
                  </a:cubicBezTo>
                  <a:close/>
                  <a:moveTo>
                    <a:pt x="3738287" y="439913"/>
                  </a:moveTo>
                  <a:cubicBezTo>
                    <a:pt x="3765415" y="439913"/>
                    <a:pt x="3787395" y="461900"/>
                    <a:pt x="3787395" y="489022"/>
                  </a:cubicBezTo>
                  <a:cubicBezTo>
                    <a:pt x="3787395" y="516146"/>
                    <a:pt x="3765415" y="538132"/>
                    <a:pt x="3738287" y="538132"/>
                  </a:cubicBezTo>
                  <a:cubicBezTo>
                    <a:pt x="3711162" y="538132"/>
                    <a:pt x="3689172" y="516146"/>
                    <a:pt x="3689172" y="489022"/>
                  </a:cubicBezTo>
                  <a:cubicBezTo>
                    <a:pt x="3689172" y="461900"/>
                    <a:pt x="3711162" y="439913"/>
                    <a:pt x="3738287" y="439913"/>
                  </a:cubicBezTo>
                  <a:close/>
                  <a:moveTo>
                    <a:pt x="3226241" y="439913"/>
                  </a:moveTo>
                  <a:cubicBezTo>
                    <a:pt x="3253367" y="439913"/>
                    <a:pt x="3275356" y="461900"/>
                    <a:pt x="3275356" y="489022"/>
                  </a:cubicBezTo>
                  <a:cubicBezTo>
                    <a:pt x="3275356" y="516146"/>
                    <a:pt x="3253367" y="538132"/>
                    <a:pt x="3226241" y="538132"/>
                  </a:cubicBezTo>
                  <a:cubicBezTo>
                    <a:pt x="3199115" y="538132"/>
                    <a:pt x="3177127" y="516146"/>
                    <a:pt x="3177127" y="489022"/>
                  </a:cubicBezTo>
                  <a:cubicBezTo>
                    <a:pt x="3177127" y="461900"/>
                    <a:pt x="3199115" y="439913"/>
                    <a:pt x="3226241" y="439913"/>
                  </a:cubicBezTo>
                  <a:close/>
                  <a:moveTo>
                    <a:pt x="2714361" y="439913"/>
                  </a:moveTo>
                  <a:cubicBezTo>
                    <a:pt x="2741485" y="439913"/>
                    <a:pt x="2763472" y="461900"/>
                    <a:pt x="2763472" y="489022"/>
                  </a:cubicBezTo>
                  <a:cubicBezTo>
                    <a:pt x="2763472" y="516146"/>
                    <a:pt x="2741485" y="538132"/>
                    <a:pt x="2714361" y="538132"/>
                  </a:cubicBezTo>
                  <a:cubicBezTo>
                    <a:pt x="2687239" y="538132"/>
                    <a:pt x="2665250" y="516146"/>
                    <a:pt x="2665250" y="489022"/>
                  </a:cubicBezTo>
                  <a:cubicBezTo>
                    <a:pt x="2665250" y="461900"/>
                    <a:pt x="2687239" y="439913"/>
                    <a:pt x="2714361" y="439913"/>
                  </a:cubicBezTo>
                  <a:close/>
                  <a:moveTo>
                    <a:pt x="2202305" y="439913"/>
                  </a:moveTo>
                  <a:cubicBezTo>
                    <a:pt x="2229428" y="439913"/>
                    <a:pt x="2251415" y="461900"/>
                    <a:pt x="2251415" y="489022"/>
                  </a:cubicBezTo>
                  <a:cubicBezTo>
                    <a:pt x="2251415" y="516146"/>
                    <a:pt x="2229428" y="538132"/>
                    <a:pt x="2202305" y="538132"/>
                  </a:cubicBezTo>
                  <a:cubicBezTo>
                    <a:pt x="2175182" y="538132"/>
                    <a:pt x="2153195" y="516146"/>
                    <a:pt x="2153195" y="489022"/>
                  </a:cubicBezTo>
                  <a:cubicBezTo>
                    <a:pt x="2153195" y="461900"/>
                    <a:pt x="2175182" y="439913"/>
                    <a:pt x="2202305" y="439913"/>
                  </a:cubicBezTo>
                  <a:close/>
                  <a:moveTo>
                    <a:pt x="1690412" y="439913"/>
                  </a:moveTo>
                  <a:cubicBezTo>
                    <a:pt x="1717535" y="439913"/>
                    <a:pt x="1739522" y="461900"/>
                    <a:pt x="1739522" y="489022"/>
                  </a:cubicBezTo>
                  <a:cubicBezTo>
                    <a:pt x="1739522" y="516146"/>
                    <a:pt x="1717535" y="538132"/>
                    <a:pt x="1690412" y="538132"/>
                  </a:cubicBezTo>
                  <a:cubicBezTo>
                    <a:pt x="1663289" y="538132"/>
                    <a:pt x="1641302" y="516146"/>
                    <a:pt x="1641302" y="489022"/>
                  </a:cubicBezTo>
                  <a:cubicBezTo>
                    <a:pt x="1641302" y="461900"/>
                    <a:pt x="1663289" y="439913"/>
                    <a:pt x="1690412" y="439913"/>
                  </a:cubicBezTo>
                  <a:close/>
                  <a:moveTo>
                    <a:pt x="1178353" y="439913"/>
                  </a:moveTo>
                  <a:cubicBezTo>
                    <a:pt x="1205476" y="439913"/>
                    <a:pt x="1227462" y="461900"/>
                    <a:pt x="1227462" y="489022"/>
                  </a:cubicBezTo>
                  <a:cubicBezTo>
                    <a:pt x="1227462" y="516146"/>
                    <a:pt x="1205476" y="538132"/>
                    <a:pt x="1178353" y="538132"/>
                  </a:cubicBezTo>
                  <a:cubicBezTo>
                    <a:pt x="1151230" y="538132"/>
                    <a:pt x="1129243" y="516146"/>
                    <a:pt x="1129243" y="489022"/>
                  </a:cubicBezTo>
                  <a:cubicBezTo>
                    <a:pt x="1129243" y="461900"/>
                    <a:pt x="1151230" y="439913"/>
                    <a:pt x="1178353" y="439913"/>
                  </a:cubicBezTo>
                  <a:close/>
                  <a:moveTo>
                    <a:pt x="666483" y="439913"/>
                  </a:moveTo>
                  <a:cubicBezTo>
                    <a:pt x="693606" y="439913"/>
                    <a:pt x="715592" y="461900"/>
                    <a:pt x="715592" y="489022"/>
                  </a:cubicBezTo>
                  <a:cubicBezTo>
                    <a:pt x="715592" y="516146"/>
                    <a:pt x="693606" y="538132"/>
                    <a:pt x="666483" y="538132"/>
                  </a:cubicBezTo>
                  <a:cubicBezTo>
                    <a:pt x="639360" y="538132"/>
                    <a:pt x="617373" y="516146"/>
                    <a:pt x="617373" y="489022"/>
                  </a:cubicBezTo>
                  <a:cubicBezTo>
                    <a:pt x="617373" y="461900"/>
                    <a:pt x="639360" y="439913"/>
                    <a:pt x="666483" y="439913"/>
                  </a:cubicBezTo>
                  <a:close/>
                  <a:moveTo>
                    <a:pt x="154424" y="439913"/>
                  </a:moveTo>
                  <a:cubicBezTo>
                    <a:pt x="181547" y="439913"/>
                    <a:pt x="203534" y="461900"/>
                    <a:pt x="203534" y="489022"/>
                  </a:cubicBezTo>
                  <a:cubicBezTo>
                    <a:pt x="203534" y="516146"/>
                    <a:pt x="181547" y="538132"/>
                    <a:pt x="154424" y="538132"/>
                  </a:cubicBezTo>
                  <a:cubicBezTo>
                    <a:pt x="127301" y="538132"/>
                    <a:pt x="105315" y="516146"/>
                    <a:pt x="105315" y="489022"/>
                  </a:cubicBezTo>
                  <a:cubicBezTo>
                    <a:pt x="105315" y="461900"/>
                    <a:pt x="127301" y="439913"/>
                    <a:pt x="154424" y="439913"/>
                  </a:cubicBezTo>
                  <a:close/>
                  <a:moveTo>
                    <a:pt x="11929966" y="439912"/>
                  </a:moveTo>
                  <a:cubicBezTo>
                    <a:pt x="11957088" y="439912"/>
                    <a:pt x="11979075" y="461899"/>
                    <a:pt x="11979075" y="489022"/>
                  </a:cubicBezTo>
                  <a:cubicBezTo>
                    <a:pt x="11979075" y="516145"/>
                    <a:pt x="11957088" y="538132"/>
                    <a:pt x="11929966" y="538132"/>
                  </a:cubicBezTo>
                  <a:cubicBezTo>
                    <a:pt x="11902844" y="538132"/>
                    <a:pt x="11880856" y="516145"/>
                    <a:pt x="11880856" y="489022"/>
                  </a:cubicBezTo>
                  <a:cubicBezTo>
                    <a:pt x="11880856" y="461899"/>
                    <a:pt x="11902844" y="439912"/>
                    <a:pt x="11929966" y="439912"/>
                  </a:cubicBezTo>
                  <a:close/>
                  <a:moveTo>
                    <a:pt x="11929965" y="0"/>
                  </a:moveTo>
                  <a:cubicBezTo>
                    <a:pt x="11949232" y="0"/>
                    <a:pt x="11964908" y="15677"/>
                    <a:pt x="11964908" y="34944"/>
                  </a:cubicBezTo>
                  <a:cubicBezTo>
                    <a:pt x="11964908" y="54210"/>
                    <a:pt x="11949232" y="69887"/>
                    <a:pt x="11929965" y="69887"/>
                  </a:cubicBezTo>
                  <a:cubicBezTo>
                    <a:pt x="11910699" y="69887"/>
                    <a:pt x="11895022" y="54210"/>
                    <a:pt x="11895022" y="34944"/>
                  </a:cubicBezTo>
                  <a:cubicBezTo>
                    <a:pt x="11895022" y="15677"/>
                    <a:pt x="11910699" y="0"/>
                    <a:pt x="11929965" y="0"/>
                  </a:cubicBezTo>
                  <a:close/>
                  <a:moveTo>
                    <a:pt x="11417900" y="0"/>
                  </a:moveTo>
                  <a:cubicBezTo>
                    <a:pt x="11437199" y="0"/>
                    <a:pt x="11452843" y="15646"/>
                    <a:pt x="11452843" y="34944"/>
                  </a:cubicBezTo>
                  <a:cubicBezTo>
                    <a:pt x="11452843" y="54243"/>
                    <a:pt x="11437199" y="69887"/>
                    <a:pt x="11417900" y="69887"/>
                  </a:cubicBezTo>
                  <a:cubicBezTo>
                    <a:pt x="11398601" y="69887"/>
                    <a:pt x="11382957" y="54243"/>
                    <a:pt x="11382957" y="34944"/>
                  </a:cubicBezTo>
                  <a:cubicBezTo>
                    <a:pt x="11382957" y="15646"/>
                    <a:pt x="11398601" y="0"/>
                    <a:pt x="11417900" y="0"/>
                  </a:cubicBezTo>
                  <a:close/>
                  <a:moveTo>
                    <a:pt x="10906023" y="0"/>
                  </a:moveTo>
                  <a:cubicBezTo>
                    <a:pt x="10925322" y="0"/>
                    <a:pt x="10940966" y="15646"/>
                    <a:pt x="10940966" y="34944"/>
                  </a:cubicBezTo>
                  <a:cubicBezTo>
                    <a:pt x="10940966" y="54243"/>
                    <a:pt x="10925322" y="69887"/>
                    <a:pt x="10906023" y="69887"/>
                  </a:cubicBezTo>
                  <a:cubicBezTo>
                    <a:pt x="10886724" y="69887"/>
                    <a:pt x="10871080" y="54243"/>
                    <a:pt x="10871080" y="34944"/>
                  </a:cubicBezTo>
                  <a:cubicBezTo>
                    <a:pt x="10871080" y="15646"/>
                    <a:pt x="10886724" y="0"/>
                    <a:pt x="10906023" y="0"/>
                  </a:cubicBezTo>
                  <a:close/>
                  <a:moveTo>
                    <a:pt x="10393958" y="0"/>
                  </a:moveTo>
                  <a:cubicBezTo>
                    <a:pt x="10413256" y="0"/>
                    <a:pt x="10428901" y="15646"/>
                    <a:pt x="10428901" y="34944"/>
                  </a:cubicBezTo>
                  <a:cubicBezTo>
                    <a:pt x="10428901" y="54243"/>
                    <a:pt x="10413256" y="69887"/>
                    <a:pt x="10393958" y="69887"/>
                  </a:cubicBezTo>
                  <a:cubicBezTo>
                    <a:pt x="10374659" y="69887"/>
                    <a:pt x="10359014" y="54243"/>
                    <a:pt x="10359014" y="34944"/>
                  </a:cubicBezTo>
                  <a:cubicBezTo>
                    <a:pt x="10359014" y="15646"/>
                    <a:pt x="10374659" y="0"/>
                    <a:pt x="10393958" y="0"/>
                  </a:cubicBezTo>
                  <a:close/>
                  <a:moveTo>
                    <a:pt x="9882080" y="0"/>
                  </a:moveTo>
                  <a:cubicBezTo>
                    <a:pt x="9901379" y="0"/>
                    <a:pt x="9917023" y="15646"/>
                    <a:pt x="9917023" y="34944"/>
                  </a:cubicBezTo>
                  <a:cubicBezTo>
                    <a:pt x="9917023" y="54243"/>
                    <a:pt x="9901379" y="69887"/>
                    <a:pt x="9882080" y="69887"/>
                  </a:cubicBezTo>
                  <a:cubicBezTo>
                    <a:pt x="9862781" y="69887"/>
                    <a:pt x="9847137" y="54243"/>
                    <a:pt x="9847137" y="34944"/>
                  </a:cubicBezTo>
                  <a:cubicBezTo>
                    <a:pt x="9847137" y="15646"/>
                    <a:pt x="9862781" y="0"/>
                    <a:pt x="9882080" y="0"/>
                  </a:cubicBezTo>
                  <a:close/>
                  <a:moveTo>
                    <a:pt x="9370014" y="0"/>
                  </a:moveTo>
                  <a:cubicBezTo>
                    <a:pt x="9389280" y="0"/>
                    <a:pt x="9404958" y="15677"/>
                    <a:pt x="9404958" y="34944"/>
                  </a:cubicBezTo>
                  <a:cubicBezTo>
                    <a:pt x="9404958" y="54210"/>
                    <a:pt x="9389280" y="69887"/>
                    <a:pt x="9370014" y="69887"/>
                  </a:cubicBezTo>
                  <a:cubicBezTo>
                    <a:pt x="9350748" y="69887"/>
                    <a:pt x="9335070" y="54210"/>
                    <a:pt x="9335070" y="34944"/>
                  </a:cubicBezTo>
                  <a:cubicBezTo>
                    <a:pt x="9335070" y="15677"/>
                    <a:pt x="9350748" y="0"/>
                    <a:pt x="9370014" y="0"/>
                  </a:cubicBezTo>
                  <a:close/>
                  <a:moveTo>
                    <a:pt x="8857948" y="0"/>
                  </a:moveTo>
                  <a:cubicBezTo>
                    <a:pt x="8877214" y="0"/>
                    <a:pt x="8892891" y="15677"/>
                    <a:pt x="8892891" y="34944"/>
                  </a:cubicBezTo>
                  <a:cubicBezTo>
                    <a:pt x="8892891" y="54210"/>
                    <a:pt x="8877214" y="69887"/>
                    <a:pt x="8857948" y="69887"/>
                  </a:cubicBezTo>
                  <a:cubicBezTo>
                    <a:pt x="8838681" y="69887"/>
                    <a:pt x="8823004" y="54210"/>
                    <a:pt x="8823004" y="34944"/>
                  </a:cubicBezTo>
                  <a:cubicBezTo>
                    <a:pt x="8823004" y="15677"/>
                    <a:pt x="8838681" y="0"/>
                    <a:pt x="8857948" y="0"/>
                  </a:cubicBezTo>
                  <a:close/>
                  <a:moveTo>
                    <a:pt x="8346071" y="0"/>
                  </a:moveTo>
                  <a:cubicBezTo>
                    <a:pt x="8365337" y="0"/>
                    <a:pt x="8381015" y="15677"/>
                    <a:pt x="8381015" y="34944"/>
                  </a:cubicBezTo>
                  <a:cubicBezTo>
                    <a:pt x="8381015" y="54210"/>
                    <a:pt x="8365337" y="69887"/>
                    <a:pt x="8346071" y="69887"/>
                  </a:cubicBezTo>
                  <a:cubicBezTo>
                    <a:pt x="8326804" y="69887"/>
                    <a:pt x="8311127" y="54210"/>
                    <a:pt x="8311127" y="34944"/>
                  </a:cubicBezTo>
                  <a:cubicBezTo>
                    <a:pt x="8311127" y="15677"/>
                    <a:pt x="8326804" y="0"/>
                    <a:pt x="8346071" y="0"/>
                  </a:cubicBezTo>
                  <a:close/>
                  <a:moveTo>
                    <a:pt x="7834004" y="0"/>
                  </a:moveTo>
                  <a:cubicBezTo>
                    <a:pt x="7853271" y="0"/>
                    <a:pt x="7868948" y="15677"/>
                    <a:pt x="7868948" y="34944"/>
                  </a:cubicBezTo>
                  <a:cubicBezTo>
                    <a:pt x="7868948" y="54210"/>
                    <a:pt x="7853271" y="69887"/>
                    <a:pt x="7834004" y="69887"/>
                  </a:cubicBezTo>
                  <a:cubicBezTo>
                    <a:pt x="7814738" y="69887"/>
                    <a:pt x="7799061" y="54210"/>
                    <a:pt x="7799061" y="34944"/>
                  </a:cubicBezTo>
                  <a:cubicBezTo>
                    <a:pt x="7799061" y="15677"/>
                    <a:pt x="7814738" y="0"/>
                    <a:pt x="7834004" y="0"/>
                  </a:cubicBezTo>
                  <a:close/>
                  <a:moveTo>
                    <a:pt x="7322128" y="0"/>
                  </a:moveTo>
                  <a:cubicBezTo>
                    <a:pt x="7341394" y="0"/>
                    <a:pt x="7357071" y="15677"/>
                    <a:pt x="7357071" y="34944"/>
                  </a:cubicBezTo>
                  <a:cubicBezTo>
                    <a:pt x="7357071" y="54210"/>
                    <a:pt x="7341394" y="69887"/>
                    <a:pt x="7322128" y="69887"/>
                  </a:cubicBezTo>
                  <a:cubicBezTo>
                    <a:pt x="7302861" y="69887"/>
                    <a:pt x="7287184" y="54210"/>
                    <a:pt x="7287184" y="34944"/>
                  </a:cubicBezTo>
                  <a:cubicBezTo>
                    <a:pt x="7287184" y="15677"/>
                    <a:pt x="7302861" y="0"/>
                    <a:pt x="7322128" y="0"/>
                  </a:cubicBezTo>
                  <a:close/>
                  <a:moveTo>
                    <a:pt x="6810062" y="0"/>
                  </a:moveTo>
                  <a:cubicBezTo>
                    <a:pt x="6829328" y="0"/>
                    <a:pt x="6845006" y="15677"/>
                    <a:pt x="6845006" y="34944"/>
                  </a:cubicBezTo>
                  <a:cubicBezTo>
                    <a:pt x="6845006" y="54210"/>
                    <a:pt x="6829328" y="69887"/>
                    <a:pt x="6810062" y="69887"/>
                  </a:cubicBezTo>
                  <a:cubicBezTo>
                    <a:pt x="6790796" y="69887"/>
                    <a:pt x="6775118" y="54210"/>
                    <a:pt x="6775118" y="34944"/>
                  </a:cubicBezTo>
                  <a:cubicBezTo>
                    <a:pt x="6775118" y="15677"/>
                    <a:pt x="6790796" y="0"/>
                    <a:pt x="6810062" y="0"/>
                  </a:cubicBezTo>
                  <a:close/>
                  <a:moveTo>
                    <a:pt x="6298186" y="0"/>
                  </a:moveTo>
                  <a:cubicBezTo>
                    <a:pt x="6317451" y="0"/>
                    <a:pt x="6333129" y="15677"/>
                    <a:pt x="6333129" y="34944"/>
                  </a:cubicBezTo>
                  <a:cubicBezTo>
                    <a:pt x="6333129" y="54210"/>
                    <a:pt x="6317451" y="69887"/>
                    <a:pt x="6298186" y="69887"/>
                  </a:cubicBezTo>
                  <a:cubicBezTo>
                    <a:pt x="6278919" y="69887"/>
                    <a:pt x="6263242" y="54210"/>
                    <a:pt x="6263242" y="34944"/>
                  </a:cubicBezTo>
                  <a:cubicBezTo>
                    <a:pt x="6263242" y="15677"/>
                    <a:pt x="6278919" y="0"/>
                    <a:pt x="6298186" y="0"/>
                  </a:cubicBezTo>
                  <a:close/>
                  <a:moveTo>
                    <a:pt x="5786126" y="0"/>
                  </a:moveTo>
                  <a:cubicBezTo>
                    <a:pt x="5805392" y="0"/>
                    <a:pt x="5821068" y="15677"/>
                    <a:pt x="5821068" y="34944"/>
                  </a:cubicBezTo>
                  <a:cubicBezTo>
                    <a:pt x="5821068" y="54210"/>
                    <a:pt x="5805392" y="69887"/>
                    <a:pt x="5786126" y="69887"/>
                  </a:cubicBezTo>
                  <a:cubicBezTo>
                    <a:pt x="5766859" y="69887"/>
                    <a:pt x="5751183" y="54210"/>
                    <a:pt x="5751183" y="34944"/>
                  </a:cubicBezTo>
                  <a:cubicBezTo>
                    <a:pt x="5751183" y="15677"/>
                    <a:pt x="5766859" y="0"/>
                    <a:pt x="5786126" y="0"/>
                  </a:cubicBezTo>
                  <a:close/>
                  <a:moveTo>
                    <a:pt x="5274270" y="0"/>
                  </a:moveTo>
                  <a:cubicBezTo>
                    <a:pt x="5293570" y="0"/>
                    <a:pt x="5309213" y="15646"/>
                    <a:pt x="5309213" y="34944"/>
                  </a:cubicBezTo>
                  <a:cubicBezTo>
                    <a:pt x="5309213" y="54243"/>
                    <a:pt x="5293570" y="69887"/>
                    <a:pt x="5274270" y="69887"/>
                  </a:cubicBezTo>
                  <a:cubicBezTo>
                    <a:pt x="5254974" y="69887"/>
                    <a:pt x="5239326" y="54243"/>
                    <a:pt x="5239326" y="34944"/>
                  </a:cubicBezTo>
                  <a:cubicBezTo>
                    <a:pt x="5239326" y="15646"/>
                    <a:pt x="5254974" y="0"/>
                    <a:pt x="5274270" y="0"/>
                  </a:cubicBezTo>
                  <a:close/>
                  <a:moveTo>
                    <a:pt x="4762180" y="0"/>
                  </a:moveTo>
                  <a:cubicBezTo>
                    <a:pt x="4781484" y="0"/>
                    <a:pt x="4797138" y="15646"/>
                    <a:pt x="4797138" y="34944"/>
                  </a:cubicBezTo>
                  <a:cubicBezTo>
                    <a:pt x="4797138" y="54243"/>
                    <a:pt x="4781484" y="69887"/>
                    <a:pt x="4762180" y="69887"/>
                  </a:cubicBezTo>
                  <a:cubicBezTo>
                    <a:pt x="4742882" y="69887"/>
                    <a:pt x="4727244" y="54243"/>
                    <a:pt x="4727244" y="34944"/>
                  </a:cubicBezTo>
                  <a:cubicBezTo>
                    <a:pt x="4727244" y="15646"/>
                    <a:pt x="4742882" y="0"/>
                    <a:pt x="4762180" y="0"/>
                  </a:cubicBezTo>
                  <a:close/>
                  <a:moveTo>
                    <a:pt x="4250316" y="0"/>
                  </a:moveTo>
                  <a:cubicBezTo>
                    <a:pt x="4269615" y="0"/>
                    <a:pt x="4285260" y="15646"/>
                    <a:pt x="4285260" y="34944"/>
                  </a:cubicBezTo>
                  <a:cubicBezTo>
                    <a:pt x="4285260" y="54243"/>
                    <a:pt x="4269615" y="69887"/>
                    <a:pt x="4250316" y="69887"/>
                  </a:cubicBezTo>
                  <a:cubicBezTo>
                    <a:pt x="4231016" y="69887"/>
                    <a:pt x="4215371" y="54243"/>
                    <a:pt x="4215371" y="34944"/>
                  </a:cubicBezTo>
                  <a:cubicBezTo>
                    <a:pt x="4215371" y="15646"/>
                    <a:pt x="4231016" y="0"/>
                    <a:pt x="4250316" y="0"/>
                  </a:cubicBezTo>
                  <a:close/>
                  <a:moveTo>
                    <a:pt x="3738287" y="0"/>
                  </a:moveTo>
                  <a:cubicBezTo>
                    <a:pt x="3757581" y="0"/>
                    <a:pt x="3773228" y="15646"/>
                    <a:pt x="3773228" y="34944"/>
                  </a:cubicBezTo>
                  <a:cubicBezTo>
                    <a:pt x="3773228" y="54243"/>
                    <a:pt x="3757581" y="69887"/>
                    <a:pt x="3738287" y="69887"/>
                  </a:cubicBezTo>
                  <a:cubicBezTo>
                    <a:pt x="3718987" y="69887"/>
                    <a:pt x="3703339" y="54243"/>
                    <a:pt x="3703339" y="34944"/>
                  </a:cubicBezTo>
                  <a:cubicBezTo>
                    <a:pt x="3703339" y="15646"/>
                    <a:pt x="3718987" y="0"/>
                    <a:pt x="3738287" y="0"/>
                  </a:cubicBezTo>
                  <a:close/>
                  <a:moveTo>
                    <a:pt x="3226239" y="0"/>
                  </a:moveTo>
                  <a:cubicBezTo>
                    <a:pt x="3245540" y="0"/>
                    <a:pt x="3261187" y="15646"/>
                    <a:pt x="3261187" y="34944"/>
                  </a:cubicBezTo>
                  <a:cubicBezTo>
                    <a:pt x="3261187" y="54243"/>
                    <a:pt x="3245540" y="69887"/>
                    <a:pt x="3226239" y="69887"/>
                  </a:cubicBezTo>
                  <a:cubicBezTo>
                    <a:pt x="3206939" y="69887"/>
                    <a:pt x="3191293" y="54243"/>
                    <a:pt x="3191293" y="34944"/>
                  </a:cubicBezTo>
                  <a:cubicBezTo>
                    <a:pt x="3191293" y="15646"/>
                    <a:pt x="3206939" y="0"/>
                    <a:pt x="3226239" y="0"/>
                  </a:cubicBezTo>
                  <a:close/>
                  <a:moveTo>
                    <a:pt x="2714361" y="0"/>
                  </a:moveTo>
                  <a:cubicBezTo>
                    <a:pt x="2733657" y="0"/>
                    <a:pt x="2749305" y="15646"/>
                    <a:pt x="2749305" y="34944"/>
                  </a:cubicBezTo>
                  <a:cubicBezTo>
                    <a:pt x="2749305" y="54243"/>
                    <a:pt x="2733657" y="69887"/>
                    <a:pt x="2714361" y="69887"/>
                  </a:cubicBezTo>
                  <a:cubicBezTo>
                    <a:pt x="2695063" y="69887"/>
                    <a:pt x="2679418" y="54243"/>
                    <a:pt x="2679418" y="34944"/>
                  </a:cubicBezTo>
                  <a:cubicBezTo>
                    <a:pt x="2679418" y="15646"/>
                    <a:pt x="2695063" y="0"/>
                    <a:pt x="2714361" y="0"/>
                  </a:cubicBezTo>
                  <a:close/>
                  <a:moveTo>
                    <a:pt x="2202305" y="0"/>
                  </a:moveTo>
                  <a:cubicBezTo>
                    <a:pt x="2221604" y="0"/>
                    <a:pt x="2237248" y="15646"/>
                    <a:pt x="2237248" y="34944"/>
                  </a:cubicBezTo>
                  <a:cubicBezTo>
                    <a:pt x="2237248" y="54243"/>
                    <a:pt x="2221604" y="69887"/>
                    <a:pt x="2202305" y="69887"/>
                  </a:cubicBezTo>
                  <a:cubicBezTo>
                    <a:pt x="2183006" y="69887"/>
                    <a:pt x="2167360" y="54243"/>
                    <a:pt x="2167360" y="34944"/>
                  </a:cubicBezTo>
                  <a:cubicBezTo>
                    <a:pt x="2167360" y="15646"/>
                    <a:pt x="2183006" y="0"/>
                    <a:pt x="2202305" y="0"/>
                  </a:cubicBezTo>
                  <a:close/>
                  <a:moveTo>
                    <a:pt x="1690412" y="0"/>
                  </a:moveTo>
                  <a:cubicBezTo>
                    <a:pt x="1709711" y="0"/>
                    <a:pt x="1725355" y="15646"/>
                    <a:pt x="1725355" y="34944"/>
                  </a:cubicBezTo>
                  <a:cubicBezTo>
                    <a:pt x="1725355" y="54243"/>
                    <a:pt x="1709711" y="69887"/>
                    <a:pt x="1690412" y="69887"/>
                  </a:cubicBezTo>
                  <a:cubicBezTo>
                    <a:pt x="1671113" y="69887"/>
                    <a:pt x="1655468" y="54243"/>
                    <a:pt x="1655468" y="34944"/>
                  </a:cubicBezTo>
                  <a:cubicBezTo>
                    <a:pt x="1655468" y="15646"/>
                    <a:pt x="1671113" y="0"/>
                    <a:pt x="1690412" y="0"/>
                  </a:cubicBezTo>
                  <a:close/>
                  <a:moveTo>
                    <a:pt x="1178353" y="0"/>
                  </a:moveTo>
                  <a:cubicBezTo>
                    <a:pt x="1197652" y="0"/>
                    <a:pt x="1213295" y="15646"/>
                    <a:pt x="1213295" y="34944"/>
                  </a:cubicBezTo>
                  <a:cubicBezTo>
                    <a:pt x="1213295" y="54243"/>
                    <a:pt x="1197652" y="69887"/>
                    <a:pt x="1178353" y="69887"/>
                  </a:cubicBezTo>
                  <a:cubicBezTo>
                    <a:pt x="1159054" y="69887"/>
                    <a:pt x="1143409" y="54243"/>
                    <a:pt x="1143409" y="34944"/>
                  </a:cubicBezTo>
                  <a:cubicBezTo>
                    <a:pt x="1143409" y="15646"/>
                    <a:pt x="1159054" y="0"/>
                    <a:pt x="1178353" y="0"/>
                  </a:cubicBezTo>
                  <a:close/>
                  <a:moveTo>
                    <a:pt x="666483" y="0"/>
                  </a:moveTo>
                  <a:cubicBezTo>
                    <a:pt x="685781" y="0"/>
                    <a:pt x="701425" y="15646"/>
                    <a:pt x="701425" y="34944"/>
                  </a:cubicBezTo>
                  <a:cubicBezTo>
                    <a:pt x="701425" y="54243"/>
                    <a:pt x="685780" y="69887"/>
                    <a:pt x="666483" y="69887"/>
                  </a:cubicBezTo>
                  <a:cubicBezTo>
                    <a:pt x="647184" y="69887"/>
                    <a:pt x="631539" y="54243"/>
                    <a:pt x="631539" y="34944"/>
                  </a:cubicBezTo>
                  <a:cubicBezTo>
                    <a:pt x="631539" y="15646"/>
                    <a:pt x="647184" y="0"/>
                    <a:pt x="666483" y="0"/>
                  </a:cubicBezTo>
                  <a:close/>
                  <a:moveTo>
                    <a:pt x="154424" y="0"/>
                  </a:moveTo>
                  <a:cubicBezTo>
                    <a:pt x="173722" y="0"/>
                    <a:pt x="189367" y="15646"/>
                    <a:pt x="189367" y="34944"/>
                  </a:cubicBezTo>
                  <a:cubicBezTo>
                    <a:pt x="189367" y="54243"/>
                    <a:pt x="173722" y="69887"/>
                    <a:pt x="154424" y="69887"/>
                  </a:cubicBezTo>
                  <a:cubicBezTo>
                    <a:pt x="135125" y="69887"/>
                    <a:pt x="119480" y="54243"/>
                    <a:pt x="119480" y="34944"/>
                  </a:cubicBezTo>
                  <a:cubicBezTo>
                    <a:pt x="119480" y="15646"/>
                    <a:pt x="135125" y="0"/>
                    <a:pt x="154424" y="0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2482E51-58E6-4B1B-9E8D-FC23F96D05AD}"/>
                </a:ext>
              </a:extLst>
            </p:cNvPr>
            <p:cNvSpPr/>
            <p:nvPr/>
          </p:nvSpPr>
          <p:spPr>
            <a:xfrm>
              <a:off x="11963227" y="2355186"/>
              <a:ext cx="41176" cy="41176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0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0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B85D1CED-D4F9-4635-90C3-E9183B320661}"/>
                </a:ext>
              </a:extLst>
            </p:cNvPr>
            <p:cNvSpPr/>
            <p:nvPr/>
          </p:nvSpPr>
          <p:spPr>
            <a:xfrm>
              <a:off x="1197739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97" name="Group 96">
            <a:extLst>
              <a:ext uri="{FF2B5EF4-FFF2-40B4-BE49-F238E27FC236}">
                <a16:creationId xmlns:a16="http://schemas.microsoft.com/office/drawing/2014/main" id="{BE7B1C81-3411-4D01-9313-3059EE617017}"/>
              </a:ext>
            </a:extLst>
          </p:cNvPr>
          <p:cNvGrpSpPr>
            <a:grpSpLocks/>
          </p:cNvGrpSpPr>
          <p:nvPr userDrawn="1"/>
        </p:nvGrpSpPr>
        <p:grpSpPr>
          <a:xfrm flipH="1">
            <a:off x="0" y="1879956"/>
            <a:ext cx="12206472" cy="4978044"/>
            <a:chOff x="53847" y="1915426"/>
            <a:chExt cx="12084090" cy="4928163"/>
          </a:xfrm>
          <a:gradFill flip="none" rotWithShape="1">
            <a:gsLst>
              <a:gs pos="12000">
                <a:schemeClr val="bg1">
                  <a:alpha val="0"/>
                </a:schemeClr>
              </a:gs>
              <a:gs pos="24000">
                <a:schemeClr val="accent2">
                  <a:alpha val="49000"/>
                </a:schemeClr>
              </a:gs>
              <a:gs pos="40000">
                <a:schemeClr val="bg1">
                  <a:alpha val="0"/>
                </a:schemeClr>
              </a:gs>
            </a:gsLst>
            <a:lin ang="18600000" scaled="0"/>
            <a:tileRect/>
          </a:gradFill>
        </p:grpSpPr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1C6402D-9A2E-44B4-BD93-9A434C071F5F}"/>
                </a:ext>
              </a:extLst>
            </p:cNvPr>
            <p:cNvSpPr/>
            <p:nvPr/>
          </p:nvSpPr>
          <p:spPr>
            <a:xfrm>
              <a:off x="187592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E7CDFB9-3C92-4542-AFC4-8E3161A20F11}"/>
                </a:ext>
              </a:extLst>
            </p:cNvPr>
            <p:cNvSpPr/>
            <p:nvPr/>
          </p:nvSpPr>
          <p:spPr>
            <a:xfrm>
              <a:off x="201759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5EB377C-FCF5-4B74-A59B-06A74C1AEDF6}"/>
                </a:ext>
              </a:extLst>
            </p:cNvPr>
            <p:cNvSpPr/>
            <p:nvPr/>
          </p:nvSpPr>
          <p:spPr>
            <a:xfrm>
              <a:off x="699646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4E6B0BDB-672F-4181-A1D0-7D295D5B8C27}"/>
                </a:ext>
              </a:extLst>
            </p:cNvPr>
            <p:cNvSpPr/>
            <p:nvPr/>
          </p:nvSpPr>
          <p:spPr>
            <a:xfrm>
              <a:off x="713812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0B553554-8F4A-44F7-A2A8-7975C301988A}"/>
                </a:ext>
              </a:extLst>
            </p:cNvPr>
            <p:cNvSpPr/>
            <p:nvPr/>
          </p:nvSpPr>
          <p:spPr>
            <a:xfrm>
              <a:off x="1211510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82766511-8460-4E3E-BF1C-C4808A0DAB37}"/>
                </a:ext>
              </a:extLst>
            </p:cNvPr>
            <p:cNvSpPr/>
            <p:nvPr/>
          </p:nvSpPr>
          <p:spPr>
            <a:xfrm>
              <a:off x="1225676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35389077-135D-435F-B551-7D09537CAF0D}"/>
                </a:ext>
              </a:extLst>
            </p:cNvPr>
            <p:cNvSpPr/>
            <p:nvPr/>
          </p:nvSpPr>
          <p:spPr>
            <a:xfrm>
              <a:off x="1723563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4603A8D-14D8-415A-B28A-D613B3C572F4}"/>
                </a:ext>
              </a:extLst>
            </p:cNvPr>
            <p:cNvSpPr/>
            <p:nvPr/>
          </p:nvSpPr>
          <p:spPr>
            <a:xfrm>
              <a:off x="1737729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1F65E245-BA7E-4CCB-A410-FBA4DEEED435}"/>
                </a:ext>
              </a:extLst>
            </p:cNvPr>
            <p:cNvSpPr/>
            <p:nvPr/>
          </p:nvSpPr>
          <p:spPr>
            <a:xfrm>
              <a:off x="2235427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65FE4AA1-CCDC-4313-BE10-80A193FB2768}"/>
                </a:ext>
              </a:extLst>
            </p:cNvPr>
            <p:cNvSpPr/>
            <p:nvPr/>
          </p:nvSpPr>
          <p:spPr>
            <a:xfrm>
              <a:off x="224959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BDB535A0-B66D-4190-833A-776363968453}"/>
                </a:ext>
              </a:extLst>
            </p:cNvPr>
            <p:cNvSpPr/>
            <p:nvPr/>
          </p:nvSpPr>
          <p:spPr>
            <a:xfrm>
              <a:off x="2747480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11541106-CBF2-43FA-AF0E-54380B8541CB}"/>
                </a:ext>
              </a:extLst>
            </p:cNvPr>
            <p:cNvSpPr/>
            <p:nvPr/>
          </p:nvSpPr>
          <p:spPr>
            <a:xfrm>
              <a:off x="2761647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BD8532FB-A2DB-48F7-B575-68F1ACF4E9D4}"/>
                </a:ext>
              </a:extLst>
            </p:cNvPr>
            <p:cNvSpPr/>
            <p:nvPr/>
          </p:nvSpPr>
          <p:spPr>
            <a:xfrm>
              <a:off x="3259344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9B99C88-DE9F-4DCC-9EA2-85F9A798A59C}"/>
                </a:ext>
              </a:extLst>
            </p:cNvPr>
            <p:cNvSpPr/>
            <p:nvPr/>
          </p:nvSpPr>
          <p:spPr>
            <a:xfrm>
              <a:off x="3273511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4A95A5EB-CE51-41D0-8F1D-C8E87CC71747}"/>
                </a:ext>
              </a:extLst>
            </p:cNvPr>
            <p:cNvSpPr/>
            <p:nvPr/>
          </p:nvSpPr>
          <p:spPr>
            <a:xfrm>
              <a:off x="3771397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31C17FC6-3B04-44F5-A569-725146A314E3}"/>
                </a:ext>
              </a:extLst>
            </p:cNvPr>
            <p:cNvSpPr/>
            <p:nvPr/>
          </p:nvSpPr>
          <p:spPr>
            <a:xfrm>
              <a:off x="378556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85E3C5F-B643-472E-AFF1-845A066A1E68}"/>
                </a:ext>
              </a:extLst>
            </p:cNvPr>
            <p:cNvSpPr/>
            <p:nvPr/>
          </p:nvSpPr>
          <p:spPr>
            <a:xfrm>
              <a:off x="4283451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76B2157-C019-4373-A3E1-B20AD116307D}"/>
                </a:ext>
              </a:extLst>
            </p:cNvPr>
            <p:cNvSpPr/>
            <p:nvPr/>
          </p:nvSpPr>
          <p:spPr>
            <a:xfrm>
              <a:off x="4297617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3065E2C4-6C2B-4015-B6A2-980EB30AA42D}"/>
                </a:ext>
              </a:extLst>
            </p:cNvPr>
            <p:cNvSpPr/>
            <p:nvPr/>
          </p:nvSpPr>
          <p:spPr>
            <a:xfrm>
              <a:off x="4795315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9 w 41176"/>
                <a:gd name="connsiteY1" fmla="*/ 41177 h 41176"/>
                <a:gd name="connsiteX2" fmla="*/ 0 w 41176"/>
                <a:gd name="connsiteY2" fmla="*/ 20588 h 41176"/>
                <a:gd name="connsiteX3" fmla="*/ 20589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9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9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EE0FBD3-AC39-4623-80C0-DD6923C37CFF}"/>
                </a:ext>
              </a:extLst>
            </p:cNvPr>
            <p:cNvSpPr/>
            <p:nvPr/>
          </p:nvSpPr>
          <p:spPr>
            <a:xfrm>
              <a:off x="4809481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6" y="12844"/>
                    <a:pt x="0" y="9969"/>
                    <a:pt x="0" y="6422"/>
                  </a:cubicBezTo>
                  <a:cubicBezTo>
                    <a:pt x="0" y="2875"/>
                    <a:pt x="2876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02A7E97-DE66-4114-9391-CDE219FBA4B6}"/>
                </a:ext>
              </a:extLst>
            </p:cNvPr>
            <p:cNvSpPr/>
            <p:nvPr/>
          </p:nvSpPr>
          <p:spPr>
            <a:xfrm>
              <a:off x="5307368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59"/>
                    <a:pt x="31959" y="41177"/>
                    <a:pt x="20588" y="41177"/>
                  </a:cubicBezTo>
                  <a:cubicBezTo>
                    <a:pt x="9218" y="41177"/>
                    <a:pt x="0" y="31959"/>
                    <a:pt x="0" y="20588"/>
                  </a:cubicBezTo>
                  <a:cubicBezTo>
                    <a:pt x="0" y="9218"/>
                    <a:pt x="9218" y="0"/>
                    <a:pt x="20588" y="0"/>
                  </a:cubicBezTo>
                  <a:cubicBezTo>
                    <a:pt x="31959" y="0"/>
                    <a:pt x="41177" y="9218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49E47E63-03AB-49F5-B7F1-90654787328C}"/>
                </a:ext>
              </a:extLst>
            </p:cNvPr>
            <p:cNvSpPr/>
            <p:nvPr/>
          </p:nvSpPr>
          <p:spPr>
            <a:xfrm>
              <a:off x="532153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2" y="12844"/>
                  </a:cubicBezTo>
                  <a:cubicBezTo>
                    <a:pt x="2875" y="12844"/>
                    <a:pt x="0" y="9969"/>
                    <a:pt x="0" y="6422"/>
                  </a:cubicBezTo>
                  <a:cubicBezTo>
                    <a:pt x="0" y="2875"/>
                    <a:pt x="2875" y="0"/>
                    <a:pt x="6422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CA5CEBF-4E03-443C-BE6C-4F34B19FEBC7}"/>
                </a:ext>
              </a:extLst>
            </p:cNvPr>
            <p:cNvSpPr/>
            <p:nvPr/>
          </p:nvSpPr>
          <p:spPr>
            <a:xfrm>
              <a:off x="5819421" y="2355141"/>
              <a:ext cx="41176" cy="41175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8 w 41177"/>
                <a:gd name="connsiteY1" fmla="*/ 41177 h 41176"/>
                <a:gd name="connsiteX2" fmla="*/ 0 w 41177"/>
                <a:gd name="connsiteY2" fmla="*/ 20588 h 41176"/>
                <a:gd name="connsiteX3" fmla="*/ 20588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3F78002-5993-4CC2-BCC7-74233EC55BCC}"/>
                </a:ext>
              </a:extLst>
            </p:cNvPr>
            <p:cNvSpPr/>
            <p:nvPr/>
          </p:nvSpPr>
          <p:spPr>
            <a:xfrm>
              <a:off x="5833398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EA23D854-BEFD-4EC1-8356-A968ED793CFF}"/>
                </a:ext>
              </a:extLst>
            </p:cNvPr>
            <p:cNvSpPr/>
            <p:nvPr/>
          </p:nvSpPr>
          <p:spPr>
            <a:xfrm>
              <a:off x="6331285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C23C0A8-25BA-421A-953E-BF8CC3EE8666}"/>
                </a:ext>
              </a:extLst>
            </p:cNvPr>
            <p:cNvSpPr/>
            <p:nvPr/>
          </p:nvSpPr>
          <p:spPr>
            <a:xfrm>
              <a:off x="6345452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63F6CCEB-DE78-40BF-BB7F-2A3A5C0B65F2}"/>
                </a:ext>
              </a:extLst>
            </p:cNvPr>
            <p:cNvSpPr/>
            <p:nvPr/>
          </p:nvSpPr>
          <p:spPr>
            <a:xfrm>
              <a:off x="6843338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7E1DEC4D-4BB8-425C-8358-4706F1360431}"/>
                </a:ext>
              </a:extLst>
            </p:cNvPr>
            <p:cNvSpPr/>
            <p:nvPr/>
          </p:nvSpPr>
          <p:spPr>
            <a:xfrm>
              <a:off x="6857316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A04F536-DAF0-47E8-9D86-06D6D6ACEA17}"/>
                </a:ext>
              </a:extLst>
            </p:cNvPr>
            <p:cNvSpPr/>
            <p:nvPr/>
          </p:nvSpPr>
          <p:spPr>
            <a:xfrm>
              <a:off x="7355202" y="2355141"/>
              <a:ext cx="41176" cy="41175"/>
            </a:xfrm>
            <a:custGeom>
              <a:avLst/>
              <a:gdLst>
                <a:gd name="connsiteX0" fmla="*/ 41177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7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F9BA810-E961-495F-832C-74657DB17A9C}"/>
                </a:ext>
              </a:extLst>
            </p:cNvPr>
            <p:cNvSpPr/>
            <p:nvPr/>
          </p:nvSpPr>
          <p:spPr>
            <a:xfrm>
              <a:off x="7369368" y="1915427"/>
              <a:ext cx="12844" cy="12844"/>
            </a:xfrm>
            <a:custGeom>
              <a:avLst/>
              <a:gdLst>
                <a:gd name="connsiteX0" fmla="*/ 12845 w 12844"/>
                <a:gd name="connsiteY0" fmla="*/ 6422 h 12844"/>
                <a:gd name="connsiteX1" fmla="*/ 6423 w 12844"/>
                <a:gd name="connsiteY1" fmla="*/ 12844 h 12844"/>
                <a:gd name="connsiteX2" fmla="*/ 0 w 12844"/>
                <a:gd name="connsiteY2" fmla="*/ 6422 h 12844"/>
                <a:gd name="connsiteX3" fmla="*/ 6423 w 12844"/>
                <a:gd name="connsiteY3" fmla="*/ 0 h 12844"/>
                <a:gd name="connsiteX4" fmla="*/ 12845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5" y="6422"/>
                  </a:moveTo>
                  <a:cubicBezTo>
                    <a:pt x="12845" y="10011"/>
                    <a:pt x="10011" y="12844"/>
                    <a:pt x="6423" y="12844"/>
                  </a:cubicBezTo>
                  <a:cubicBezTo>
                    <a:pt x="2834" y="12844"/>
                    <a:pt x="0" y="10011"/>
                    <a:pt x="0" y="6422"/>
                  </a:cubicBezTo>
                  <a:cubicBezTo>
                    <a:pt x="0" y="2833"/>
                    <a:pt x="2834" y="0"/>
                    <a:pt x="6423" y="0"/>
                  </a:cubicBezTo>
                  <a:cubicBezTo>
                    <a:pt x="10011" y="0"/>
                    <a:pt x="12845" y="2833"/>
                    <a:pt x="12845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D2668B35-1441-4604-9206-05853A94C305}"/>
                </a:ext>
              </a:extLst>
            </p:cNvPr>
            <p:cNvSpPr/>
            <p:nvPr/>
          </p:nvSpPr>
          <p:spPr>
            <a:xfrm>
              <a:off x="7867255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DA6D2BA-34B7-4FA9-864B-1C23B7DB1BA3}"/>
                </a:ext>
              </a:extLst>
            </p:cNvPr>
            <p:cNvSpPr/>
            <p:nvPr/>
          </p:nvSpPr>
          <p:spPr>
            <a:xfrm>
              <a:off x="7881233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77E6E0E-A3E2-485F-A021-0A36A4292914}"/>
                </a:ext>
              </a:extLst>
            </p:cNvPr>
            <p:cNvSpPr/>
            <p:nvPr/>
          </p:nvSpPr>
          <p:spPr>
            <a:xfrm>
              <a:off x="8379120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EF6999C-7522-4D77-8C0D-7BEA44BE2B2A}"/>
                </a:ext>
              </a:extLst>
            </p:cNvPr>
            <p:cNvSpPr/>
            <p:nvPr/>
          </p:nvSpPr>
          <p:spPr>
            <a:xfrm>
              <a:off x="8393286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573B09C3-9B1F-4211-A5F9-BAF34FBE1FA2}"/>
                </a:ext>
              </a:extLst>
            </p:cNvPr>
            <p:cNvSpPr/>
            <p:nvPr/>
          </p:nvSpPr>
          <p:spPr>
            <a:xfrm>
              <a:off x="8891173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D76DD12-7602-40CA-A4C8-83CDE5CCACB0}"/>
                </a:ext>
              </a:extLst>
            </p:cNvPr>
            <p:cNvSpPr/>
            <p:nvPr/>
          </p:nvSpPr>
          <p:spPr>
            <a:xfrm>
              <a:off x="8905338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87A67065-B90C-4CE9-B11D-B23E5C7BA6CB}"/>
                </a:ext>
              </a:extLst>
            </p:cNvPr>
            <p:cNvSpPr/>
            <p:nvPr/>
          </p:nvSpPr>
          <p:spPr>
            <a:xfrm>
              <a:off x="9403226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1A7430B8-6AD8-4079-A9B0-87076625EA25}"/>
                </a:ext>
              </a:extLst>
            </p:cNvPr>
            <p:cNvSpPr/>
            <p:nvPr/>
          </p:nvSpPr>
          <p:spPr>
            <a:xfrm>
              <a:off x="9417203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2 w 12844"/>
                <a:gd name="connsiteY1" fmla="*/ 12844 h 12844"/>
                <a:gd name="connsiteX2" fmla="*/ 0 w 12844"/>
                <a:gd name="connsiteY2" fmla="*/ 6422 h 12844"/>
                <a:gd name="connsiteX3" fmla="*/ 6422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1" y="12844"/>
                    <a:pt x="6422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2" y="0"/>
                  </a:cubicBezTo>
                  <a:cubicBezTo>
                    <a:pt x="10011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20155776-65E7-42B7-BA7F-DFD6FE57470F}"/>
                </a:ext>
              </a:extLst>
            </p:cNvPr>
            <p:cNvSpPr/>
            <p:nvPr/>
          </p:nvSpPr>
          <p:spPr>
            <a:xfrm>
              <a:off x="9915090" y="2355141"/>
              <a:ext cx="41175" cy="41175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BE46F879-67AE-4502-AB20-B46AE78E05C5}"/>
                </a:ext>
              </a:extLst>
            </p:cNvPr>
            <p:cNvSpPr/>
            <p:nvPr/>
          </p:nvSpPr>
          <p:spPr>
            <a:xfrm>
              <a:off x="9929255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9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9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F07BEB69-A8C2-4CFA-B373-6C1F4FB6B4F1}"/>
                </a:ext>
              </a:extLst>
            </p:cNvPr>
            <p:cNvSpPr/>
            <p:nvPr/>
          </p:nvSpPr>
          <p:spPr>
            <a:xfrm>
              <a:off x="10427143" y="2355141"/>
              <a:ext cx="41176" cy="41175"/>
            </a:xfrm>
            <a:custGeom>
              <a:avLst/>
              <a:gdLst>
                <a:gd name="connsiteX0" fmla="*/ 41178 w 41177"/>
                <a:gd name="connsiteY0" fmla="*/ 20588 h 41176"/>
                <a:gd name="connsiteX1" fmla="*/ 20589 w 41177"/>
                <a:gd name="connsiteY1" fmla="*/ 41177 h 41176"/>
                <a:gd name="connsiteX2" fmla="*/ 0 w 41177"/>
                <a:gd name="connsiteY2" fmla="*/ 20588 h 41176"/>
                <a:gd name="connsiteX3" fmla="*/ 20589 w 41177"/>
                <a:gd name="connsiteY3" fmla="*/ 0 h 41176"/>
                <a:gd name="connsiteX4" fmla="*/ 41178 w 41177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7" h="41176">
                  <a:moveTo>
                    <a:pt x="41178" y="20588"/>
                  </a:moveTo>
                  <a:cubicBezTo>
                    <a:pt x="41178" y="31921"/>
                    <a:pt x="31922" y="41177"/>
                    <a:pt x="20589" y="41177"/>
                  </a:cubicBezTo>
                  <a:cubicBezTo>
                    <a:pt x="9256" y="41177"/>
                    <a:pt x="0" y="31921"/>
                    <a:pt x="0" y="20588"/>
                  </a:cubicBezTo>
                  <a:cubicBezTo>
                    <a:pt x="0" y="9255"/>
                    <a:pt x="9256" y="0"/>
                    <a:pt x="20589" y="0"/>
                  </a:cubicBezTo>
                  <a:cubicBezTo>
                    <a:pt x="31922" y="0"/>
                    <a:pt x="41178" y="9255"/>
                    <a:pt x="41178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D1CD8B4-5D56-466D-8F1E-325AB1AAAC81}"/>
                </a:ext>
              </a:extLst>
            </p:cNvPr>
            <p:cNvSpPr/>
            <p:nvPr/>
          </p:nvSpPr>
          <p:spPr>
            <a:xfrm>
              <a:off x="10441121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4BEA1A08-090A-4E10-85A7-6033AD1E3E5C}"/>
                </a:ext>
              </a:extLst>
            </p:cNvPr>
            <p:cNvSpPr/>
            <p:nvPr/>
          </p:nvSpPr>
          <p:spPr>
            <a:xfrm>
              <a:off x="10939007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2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2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2170EF73-0204-462F-94D0-41D6CF06646B}"/>
                </a:ext>
              </a:extLst>
            </p:cNvPr>
            <p:cNvSpPr/>
            <p:nvPr/>
          </p:nvSpPr>
          <p:spPr>
            <a:xfrm>
              <a:off x="10953174" y="1915427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9CC445DE-96D5-4C71-A4D9-E5D687365DEA}"/>
                </a:ext>
              </a:extLst>
            </p:cNvPr>
            <p:cNvSpPr/>
            <p:nvPr/>
          </p:nvSpPr>
          <p:spPr>
            <a:xfrm>
              <a:off x="11450871" y="2355141"/>
              <a:ext cx="41175" cy="41175"/>
            </a:xfrm>
            <a:custGeom>
              <a:avLst/>
              <a:gdLst>
                <a:gd name="connsiteX0" fmla="*/ 41176 w 41176"/>
                <a:gd name="connsiteY0" fmla="*/ 20588 h 41176"/>
                <a:gd name="connsiteX1" fmla="*/ 20587 w 41176"/>
                <a:gd name="connsiteY1" fmla="*/ 41177 h 41176"/>
                <a:gd name="connsiteX2" fmla="*/ -1 w 41176"/>
                <a:gd name="connsiteY2" fmla="*/ 20588 h 41176"/>
                <a:gd name="connsiteX3" fmla="*/ 20587 w 41176"/>
                <a:gd name="connsiteY3" fmla="*/ 0 h 41176"/>
                <a:gd name="connsiteX4" fmla="*/ 41176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6" y="20588"/>
                  </a:moveTo>
                  <a:cubicBezTo>
                    <a:pt x="41176" y="31959"/>
                    <a:pt x="31958" y="41177"/>
                    <a:pt x="20587" y="41177"/>
                  </a:cubicBezTo>
                  <a:cubicBezTo>
                    <a:pt x="9217" y="41177"/>
                    <a:pt x="-1" y="31959"/>
                    <a:pt x="-1" y="20588"/>
                  </a:cubicBezTo>
                  <a:cubicBezTo>
                    <a:pt x="-1" y="9218"/>
                    <a:pt x="9217" y="0"/>
                    <a:pt x="20587" y="0"/>
                  </a:cubicBezTo>
                  <a:cubicBezTo>
                    <a:pt x="31958" y="0"/>
                    <a:pt x="41176" y="9218"/>
                    <a:pt x="41176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50861020-7072-4438-8C4C-9004074091C9}"/>
                </a:ext>
              </a:extLst>
            </p:cNvPr>
            <p:cNvSpPr/>
            <p:nvPr/>
          </p:nvSpPr>
          <p:spPr>
            <a:xfrm>
              <a:off x="11465038" y="1915426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-1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9969"/>
                    <a:pt x="9968" y="12844"/>
                    <a:pt x="6421" y="12844"/>
                  </a:cubicBezTo>
                  <a:cubicBezTo>
                    <a:pt x="2874" y="12844"/>
                    <a:pt x="-1" y="9969"/>
                    <a:pt x="-1" y="6422"/>
                  </a:cubicBezTo>
                  <a:cubicBezTo>
                    <a:pt x="-1" y="2875"/>
                    <a:pt x="2874" y="0"/>
                    <a:pt x="6421" y="0"/>
                  </a:cubicBezTo>
                  <a:cubicBezTo>
                    <a:pt x="9968" y="0"/>
                    <a:pt x="12844" y="2875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61E90F69-2812-421B-A8B0-1AA16963B7E6}"/>
                </a:ext>
              </a:extLst>
            </p:cNvPr>
            <p:cNvSpPr/>
            <p:nvPr/>
          </p:nvSpPr>
          <p:spPr>
            <a:xfrm flipH="1">
              <a:off x="53847" y="2765826"/>
              <a:ext cx="12084090" cy="4077763"/>
            </a:xfrm>
            <a:custGeom>
              <a:avLst/>
              <a:gdLst>
                <a:gd name="connsiteX0" fmla="*/ 11929965 w 12084394"/>
                <a:gd name="connsiteY0" fmla="*/ 3958074 h 4077840"/>
                <a:gd name="connsiteX1" fmla="*/ 12080337 w 12084394"/>
                <a:gd name="connsiteY1" fmla="*/ 4057748 h 4077840"/>
                <a:gd name="connsiteX2" fmla="*/ 12084394 w 12084394"/>
                <a:gd name="connsiteY2" fmla="*/ 4077840 h 4077840"/>
                <a:gd name="connsiteX3" fmla="*/ 11775537 w 12084394"/>
                <a:gd name="connsiteY3" fmla="*/ 4077840 h 4077840"/>
                <a:gd name="connsiteX4" fmla="*/ 11779594 w 12084394"/>
                <a:gd name="connsiteY4" fmla="*/ 4057748 h 4077840"/>
                <a:gd name="connsiteX5" fmla="*/ 11929965 w 12084394"/>
                <a:gd name="connsiteY5" fmla="*/ 3958074 h 4077840"/>
                <a:gd name="connsiteX6" fmla="*/ 11417899 w 12084394"/>
                <a:gd name="connsiteY6" fmla="*/ 3958074 h 4077840"/>
                <a:gd name="connsiteX7" fmla="*/ 11568271 w 12084394"/>
                <a:gd name="connsiteY7" fmla="*/ 4057748 h 4077840"/>
                <a:gd name="connsiteX8" fmla="*/ 11572328 w 12084394"/>
                <a:gd name="connsiteY8" fmla="*/ 4077840 h 4077840"/>
                <a:gd name="connsiteX9" fmla="*/ 11263471 w 12084394"/>
                <a:gd name="connsiteY9" fmla="*/ 4077840 h 4077840"/>
                <a:gd name="connsiteX10" fmla="*/ 11267528 w 12084394"/>
                <a:gd name="connsiteY10" fmla="*/ 4057748 h 4077840"/>
                <a:gd name="connsiteX11" fmla="*/ 11417899 w 12084394"/>
                <a:gd name="connsiteY11" fmla="*/ 3958074 h 4077840"/>
                <a:gd name="connsiteX12" fmla="*/ 10906022 w 12084394"/>
                <a:gd name="connsiteY12" fmla="*/ 3958074 h 4077840"/>
                <a:gd name="connsiteX13" fmla="*/ 11056393 w 12084394"/>
                <a:gd name="connsiteY13" fmla="*/ 4057748 h 4077840"/>
                <a:gd name="connsiteX14" fmla="*/ 11060450 w 12084394"/>
                <a:gd name="connsiteY14" fmla="*/ 4077840 h 4077840"/>
                <a:gd name="connsiteX15" fmla="*/ 10751593 w 12084394"/>
                <a:gd name="connsiteY15" fmla="*/ 4077840 h 4077840"/>
                <a:gd name="connsiteX16" fmla="*/ 10755650 w 12084394"/>
                <a:gd name="connsiteY16" fmla="*/ 4057748 h 4077840"/>
                <a:gd name="connsiteX17" fmla="*/ 10906022 w 12084394"/>
                <a:gd name="connsiteY17" fmla="*/ 3958074 h 4077840"/>
                <a:gd name="connsiteX18" fmla="*/ 10393956 w 12084394"/>
                <a:gd name="connsiteY18" fmla="*/ 3958074 h 4077840"/>
                <a:gd name="connsiteX19" fmla="*/ 10544328 w 12084394"/>
                <a:gd name="connsiteY19" fmla="*/ 4057748 h 4077840"/>
                <a:gd name="connsiteX20" fmla="*/ 10548385 w 12084394"/>
                <a:gd name="connsiteY20" fmla="*/ 4077840 h 4077840"/>
                <a:gd name="connsiteX21" fmla="*/ 10239527 w 12084394"/>
                <a:gd name="connsiteY21" fmla="*/ 4077840 h 4077840"/>
                <a:gd name="connsiteX22" fmla="*/ 10243584 w 12084394"/>
                <a:gd name="connsiteY22" fmla="*/ 4057748 h 4077840"/>
                <a:gd name="connsiteX23" fmla="*/ 10393956 w 12084394"/>
                <a:gd name="connsiteY23" fmla="*/ 3958074 h 4077840"/>
                <a:gd name="connsiteX24" fmla="*/ 9882079 w 12084394"/>
                <a:gd name="connsiteY24" fmla="*/ 3958074 h 4077840"/>
                <a:gd name="connsiteX25" fmla="*/ 10032451 w 12084394"/>
                <a:gd name="connsiteY25" fmla="*/ 4057748 h 4077840"/>
                <a:gd name="connsiteX26" fmla="*/ 10036508 w 12084394"/>
                <a:gd name="connsiteY26" fmla="*/ 4077840 h 4077840"/>
                <a:gd name="connsiteX27" fmla="*/ 9727651 w 12084394"/>
                <a:gd name="connsiteY27" fmla="*/ 4077840 h 4077840"/>
                <a:gd name="connsiteX28" fmla="*/ 9731708 w 12084394"/>
                <a:gd name="connsiteY28" fmla="*/ 4057748 h 4077840"/>
                <a:gd name="connsiteX29" fmla="*/ 9882079 w 12084394"/>
                <a:gd name="connsiteY29" fmla="*/ 3958074 h 4077840"/>
                <a:gd name="connsiteX30" fmla="*/ 9370013 w 12084394"/>
                <a:gd name="connsiteY30" fmla="*/ 3958074 h 4077840"/>
                <a:gd name="connsiteX31" fmla="*/ 9520384 w 12084394"/>
                <a:gd name="connsiteY31" fmla="*/ 4057748 h 4077840"/>
                <a:gd name="connsiteX32" fmla="*/ 9524441 w 12084394"/>
                <a:gd name="connsiteY32" fmla="*/ 4077840 h 4077840"/>
                <a:gd name="connsiteX33" fmla="*/ 9215584 w 12084394"/>
                <a:gd name="connsiteY33" fmla="*/ 4077840 h 4077840"/>
                <a:gd name="connsiteX34" fmla="*/ 9219641 w 12084394"/>
                <a:gd name="connsiteY34" fmla="*/ 4057748 h 4077840"/>
                <a:gd name="connsiteX35" fmla="*/ 9370013 w 12084394"/>
                <a:gd name="connsiteY35" fmla="*/ 3958074 h 4077840"/>
                <a:gd name="connsiteX36" fmla="*/ 8858136 w 12084394"/>
                <a:gd name="connsiteY36" fmla="*/ 3958074 h 4077840"/>
                <a:gd name="connsiteX37" fmla="*/ 9008508 w 12084394"/>
                <a:gd name="connsiteY37" fmla="*/ 4057748 h 4077840"/>
                <a:gd name="connsiteX38" fmla="*/ 9012565 w 12084394"/>
                <a:gd name="connsiteY38" fmla="*/ 4077840 h 4077840"/>
                <a:gd name="connsiteX39" fmla="*/ 8703708 w 12084394"/>
                <a:gd name="connsiteY39" fmla="*/ 4077840 h 4077840"/>
                <a:gd name="connsiteX40" fmla="*/ 8707765 w 12084394"/>
                <a:gd name="connsiteY40" fmla="*/ 4057748 h 4077840"/>
                <a:gd name="connsiteX41" fmla="*/ 8858136 w 12084394"/>
                <a:gd name="connsiteY41" fmla="*/ 3958074 h 4077840"/>
                <a:gd name="connsiteX42" fmla="*/ 8346070 w 12084394"/>
                <a:gd name="connsiteY42" fmla="*/ 3958074 h 4077840"/>
                <a:gd name="connsiteX43" fmla="*/ 8496441 w 12084394"/>
                <a:gd name="connsiteY43" fmla="*/ 4057748 h 4077840"/>
                <a:gd name="connsiteX44" fmla="*/ 8500498 w 12084394"/>
                <a:gd name="connsiteY44" fmla="*/ 4077840 h 4077840"/>
                <a:gd name="connsiteX45" fmla="*/ 8191642 w 12084394"/>
                <a:gd name="connsiteY45" fmla="*/ 4077840 h 4077840"/>
                <a:gd name="connsiteX46" fmla="*/ 8195698 w 12084394"/>
                <a:gd name="connsiteY46" fmla="*/ 4057748 h 4077840"/>
                <a:gd name="connsiteX47" fmla="*/ 8346070 w 12084394"/>
                <a:gd name="connsiteY47" fmla="*/ 3958074 h 4077840"/>
                <a:gd name="connsiteX48" fmla="*/ 7834193 w 12084394"/>
                <a:gd name="connsiteY48" fmla="*/ 3958074 h 4077840"/>
                <a:gd name="connsiteX49" fmla="*/ 7984565 w 12084394"/>
                <a:gd name="connsiteY49" fmla="*/ 4057748 h 4077840"/>
                <a:gd name="connsiteX50" fmla="*/ 7988622 w 12084394"/>
                <a:gd name="connsiteY50" fmla="*/ 4077840 h 4077840"/>
                <a:gd name="connsiteX51" fmla="*/ 7679765 w 12084394"/>
                <a:gd name="connsiteY51" fmla="*/ 4077840 h 4077840"/>
                <a:gd name="connsiteX52" fmla="*/ 7683822 w 12084394"/>
                <a:gd name="connsiteY52" fmla="*/ 4057748 h 4077840"/>
                <a:gd name="connsiteX53" fmla="*/ 7834193 w 12084394"/>
                <a:gd name="connsiteY53" fmla="*/ 3958074 h 4077840"/>
                <a:gd name="connsiteX54" fmla="*/ 7322127 w 12084394"/>
                <a:gd name="connsiteY54" fmla="*/ 3958074 h 4077840"/>
                <a:gd name="connsiteX55" fmla="*/ 7472498 w 12084394"/>
                <a:gd name="connsiteY55" fmla="*/ 4057748 h 4077840"/>
                <a:gd name="connsiteX56" fmla="*/ 7476555 w 12084394"/>
                <a:gd name="connsiteY56" fmla="*/ 4077840 h 4077840"/>
                <a:gd name="connsiteX57" fmla="*/ 7167699 w 12084394"/>
                <a:gd name="connsiteY57" fmla="*/ 4077840 h 4077840"/>
                <a:gd name="connsiteX58" fmla="*/ 7171755 w 12084394"/>
                <a:gd name="connsiteY58" fmla="*/ 4057748 h 4077840"/>
                <a:gd name="connsiteX59" fmla="*/ 7322127 w 12084394"/>
                <a:gd name="connsiteY59" fmla="*/ 3958074 h 4077840"/>
                <a:gd name="connsiteX60" fmla="*/ 6810062 w 12084394"/>
                <a:gd name="connsiteY60" fmla="*/ 3958074 h 4077840"/>
                <a:gd name="connsiteX61" fmla="*/ 6960434 w 12084394"/>
                <a:gd name="connsiteY61" fmla="*/ 4057748 h 4077840"/>
                <a:gd name="connsiteX62" fmla="*/ 6964491 w 12084394"/>
                <a:gd name="connsiteY62" fmla="*/ 4077840 h 4077840"/>
                <a:gd name="connsiteX63" fmla="*/ 6655635 w 12084394"/>
                <a:gd name="connsiteY63" fmla="*/ 4077840 h 4077840"/>
                <a:gd name="connsiteX64" fmla="*/ 6659691 w 12084394"/>
                <a:gd name="connsiteY64" fmla="*/ 4057748 h 4077840"/>
                <a:gd name="connsiteX65" fmla="*/ 6810062 w 12084394"/>
                <a:gd name="connsiteY65" fmla="*/ 3958074 h 4077840"/>
                <a:gd name="connsiteX66" fmla="*/ 6298184 w 12084394"/>
                <a:gd name="connsiteY66" fmla="*/ 3958074 h 4077840"/>
                <a:gd name="connsiteX67" fmla="*/ 6448557 w 12084394"/>
                <a:gd name="connsiteY67" fmla="*/ 4057748 h 4077840"/>
                <a:gd name="connsiteX68" fmla="*/ 6452613 w 12084394"/>
                <a:gd name="connsiteY68" fmla="*/ 4077840 h 4077840"/>
                <a:gd name="connsiteX69" fmla="*/ 6143757 w 12084394"/>
                <a:gd name="connsiteY69" fmla="*/ 4077840 h 4077840"/>
                <a:gd name="connsiteX70" fmla="*/ 6147813 w 12084394"/>
                <a:gd name="connsiteY70" fmla="*/ 4057748 h 4077840"/>
                <a:gd name="connsiteX71" fmla="*/ 6298184 w 12084394"/>
                <a:gd name="connsiteY71" fmla="*/ 3958074 h 4077840"/>
                <a:gd name="connsiteX72" fmla="*/ 5786126 w 12084394"/>
                <a:gd name="connsiteY72" fmla="*/ 3958074 h 4077840"/>
                <a:gd name="connsiteX73" fmla="*/ 5936491 w 12084394"/>
                <a:gd name="connsiteY73" fmla="*/ 4057748 h 4077840"/>
                <a:gd name="connsiteX74" fmla="*/ 5940548 w 12084394"/>
                <a:gd name="connsiteY74" fmla="*/ 4077840 h 4077840"/>
                <a:gd name="connsiteX75" fmla="*/ 5631705 w 12084394"/>
                <a:gd name="connsiteY75" fmla="*/ 4077840 h 4077840"/>
                <a:gd name="connsiteX76" fmla="*/ 5635761 w 12084394"/>
                <a:gd name="connsiteY76" fmla="*/ 4057748 h 4077840"/>
                <a:gd name="connsiteX77" fmla="*/ 5786126 w 12084394"/>
                <a:gd name="connsiteY77" fmla="*/ 3958074 h 4077840"/>
                <a:gd name="connsiteX78" fmla="*/ 5274270 w 12084394"/>
                <a:gd name="connsiteY78" fmla="*/ 3958074 h 4077840"/>
                <a:gd name="connsiteX79" fmla="*/ 5424637 w 12084394"/>
                <a:gd name="connsiteY79" fmla="*/ 4057748 h 4077840"/>
                <a:gd name="connsiteX80" fmla="*/ 5428693 w 12084394"/>
                <a:gd name="connsiteY80" fmla="*/ 4077840 h 4077840"/>
                <a:gd name="connsiteX81" fmla="*/ 5119842 w 12084394"/>
                <a:gd name="connsiteY81" fmla="*/ 4077840 h 4077840"/>
                <a:gd name="connsiteX82" fmla="*/ 5123898 w 12084394"/>
                <a:gd name="connsiteY82" fmla="*/ 4057748 h 4077840"/>
                <a:gd name="connsiteX83" fmla="*/ 5274270 w 12084394"/>
                <a:gd name="connsiteY83" fmla="*/ 3958074 h 4077840"/>
                <a:gd name="connsiteX84" fmla="*/ 4762180 w 12084394"/>
                <a:gd name="connsiteY84" fmla="*/ 3958074 h 4077840"/>
                <a:gd name="connsiteX85" fmla="*/ 4912588 w 12084394"/>
                <a:gd name="connsiteY85" fmla="*/ 4057748 h 4077840"/>
                <a:gd name="connsiteX86" fmla="*/ 4916645 w 12084394"/>
                <a:gd name="connsiteY86" fmla="*/ 4077840 h 4077840"/>
                <a:gd name="connsiteX87" fmla="*/ 4607771 w 12084394"/>
                <a:gd name="connsiteY87" fmla="*/ 4077840 h 4077840"/>
                <a:gd name="connsiteX88" fmla="*/ 4611827 w 12084394"/>
                <a:gd name="connsiteY88" fmla="*/ 4057748 h 4077840"/>
                <a:gd name="connsiteX89" fmla="*/ 4762180 w 12084394"/>
                <a:gd name="connsiteY89" fmla="*/ 3958074 h 4077840"/>
                <a:gd name="connsiteX90" fmla="*/ 4250316 w 12084394"/>
                <a:gd name="connsiteY90" fmla="*/ 3958074 h 4077840"/>
                <a:gd name="connsiteX91" fmla="*/ 4400696 w 12084394"/>
                <a:gd name="connsiteY91" fmla="*/ 4057748 h 4077840"/>
                <a:gd name="connsiteX92" fmla="*/ 4404753 w 12084394"/>
                <a:gd name="connsiteY92" fmla="*/ 4077840 h 4077840"/>
                <a:gd name="connsiteX93" fmla="*/ 4095930 w 12084394"/>
                <a:gd name="connsiteY93" fmla="*/ 4077840 h 4077840"/>
                <a:gd name="connsiteX94" fmla="*/ 4099984 w 12084394"/>
                <a:gd name="connsiteY94" fmla="*/ 4057748 h 4077840"/>
                <a:gd name="connsiteX95" fmla="*/ 4250316 w 12084394"/>
                <a:gd name="connsiteY95" fmla="*/ 3958074 h 4077840"/>
                <a:gd name="connsiteX96" fmla="*/ 3738289 w 12084394"/>
                <a:gd name="connsiteY96" fmla="*/ 3958074 h 4077840"/>
                <a:gd name="connsiteX97" fmla="*/ 3888663 w 12084394"/>
                <a:gd name="connsiteY97" fmla="*/ 4057748 h 4077840"/>
                <a:gd name="connsiteX98" fmla="*/ 3892720 w 12084394"/>
                <a:gd name="connsiteY98" fmla="*/ 4077840 h 4077840"/>
                <a:gd name="connsiteX99" fmla="*/ 3583860 w 12084394"/>
                <a:gd name="connsiteY99" fmla="*/ 4077840 h 4077840"/>
                <a:gd name="connsiteX100" fmla="*/ 3587916 w 12084394"/>
                <a:gd name="connsiteY100" fmla="*/ 4057748 h 4077840"/>
                <a:gd name="connsiteX101" fmla="*/ 3738289 w 12084394"/>
                <a:gd name="connsiteY101" fmla="*/ 3958074 h 4077840"/>
                <a:gd name="connsiteX102" fmla="*/ 3226242 w 12084394"/>
                <a:gd name="connsiteY102" fmla="*/ 3958074 h 4077840"/>
                <a:gd name="connsiteX103" fmla="*/ 3376624 w 12084394"/>
                <a:gd name="connsiteY103" fmla="*/ 4057748 h 4077840"/>
                <a:gd name="connsiteX104" fmla="*/ 3380681 w 12084394"/>
                <a:gd name="connsiteY104" fmla="*/ 4077840 h 4077840"/>
                <a:gd name="connsiteX105" fmla="*/ 3071812 w 12084394"/>
                <a:gd name="connsiteY105" fmla="*/ 4077840 h 4077840"/>
                <a:gd name="connsiteX106" fmla="*/ 3075868 w 12084394"/>
                <a:gd name="connsiteY106" fmla="*/ 4057748 h 4077840"/>
                <a:gd name="connsiteX107" fmla="*/ 3226242 w 12084394"/>
                <a:gd name="connsiteY107" fmla="*/ 3958074 h 4077840"/>
                <a:gd name="connsiteX108" fmla="*/ 2714363 w 12084394"/>
                <a:gd name="connsiteY108" fmla="*/ 3958074 h 4077840"/>
                <a:gd name="connsiteX109" fmla="*/ 2864736 w 12084394"/>
                <a:gd name="connsiteY109" fmla="*/ 4057748 h 4077840"/>
                <a:gd name="connsiteX110" fmla="*/ 2868792 w 12084394"/>
                <a:gd name="connsiteY110" fmla="*/ 4077840 h 4077840"/>
                <a:gd name="connsiteX111" fmla="*/ 2559936 w 12084394"/>
                <a:gd name="connsiteY111" fmla="*/ 4077840 h 4077840"/>
                <a:gd name="connsiteX112" fmla="*/ 2563993 w 12084394"/>
                <a:gd name="connsiteY112" fmla="*/ 4057748 h 4077840"/>
                <a:gd name="connsiteX113" fmla="*/ 2714363 w 12084394"/>
                <a:gd name="connsiteY113" fmla="*/ 3958074 h 4077840"/>
                <a:gd name="connsiteX114" fmla="*/ 2202307 w 12084394"/>
                <a:gd name="connsiteY114" fmla="*/ 3958074 h 4077840"/>
                <a:gd name="connsiteX115" fmla="*/ 2352676 w 12084394"/>
                <a:gd name="connsiteY115" fmla="*/ 4057748 h 4077840"/>
                <a:gd name="connsiteX116" fmla="*/ 2356732 w 12084394"/>
                <a:gd name="connsiteY116" fmla="*/ 4077840 h 4077840"/>
                <a:gd name="connsiteX117" fmla="*/ 2047866 w 12084394"/>
                <a:gd name="connsiteY117" fmla="*/ 4077840 h 4077840"/>
                <a:gd name="connsiteX118" fmla="*/ 2051924 w 12084394"/>
                <a:gd name="connsiteY118" fmla="*/ 4057748 h 4077840"/>
                <a:gd name="connsiteX119" fmla="*/ 2202307 w 12084394"/>
                <a:gd name="connsiteY119" fmla="*/ 3958074 h 4077840"/>
                <a:gd name="connsiteX120" fmla="*/ 1690413 w 12084394"/>
                <a:gd name="connsiteY120" fmla="*/ 3958074 h 4077840"/>
                <a:gd name="connsiteX121" fmla="*/ 1840785 w 12084394"/>
                <a:gd name="connsiteY121" fmla="*/ 4057748 h 4077840"/>
                <a:gd name="connsiteX122" fmla="*/ 1844841 w 12084394"/>
                <a:gd name="connsiteY122" fmla="*/ 4077840 h 4077840"/>
                <a:gd name="connsiteX123" fmla="*/ 1535987 w 12084394"/>
                <a:gd name="connsiteY123" fmla="*/ 4077840 h 4077840"/>
                <a:gd name="connsiteX124" fmla="*/ 1540043 w 12084394"/>
                <a:gd name="connsiteY124" fmla="*/ 4057748 h 4077840"/>
                <a:gd name="connsiteX125" fmla="*/ 1690413 w 12084394"/>
                <a:gd name="connsiteY125" fmla="*/ 3958074 h 4077840"/>
                <a:gd name="connsiteX126" fmla="*/ 1178354 w 12084394"/>
                <a:gd name="connsiteY126" fmla="*/ 3958074 h 4077840"/>
                <a:gd name="connsiteX127" fmla="*/ 1328724 w 12084394"/>
                <a:gd name="connsiteY127" fmla="*/ 4057748 h 4077840"/>
                <a:gd name="connsiteX128" fmla="*/ 1332781 w 12084394"/>
                <a:gd name="connsiteY128" fmla="*/ 4077840 h 4077840"/>
                <a:gd name="connsiteX129" fmla="*/ 1023928 w 12084394"/>
                <a:gd name="connsiteY129" fmla="*/ 4077840 h 4077840"/>
                <a:gd name="connsiteX130" fmla="*/ 1027984 w 12084394"/>
                <a:gd name="connsiteY130" fmla="*/ 4057748 h 4077840"/>
                <a:gd name="connsiteX131" fmla="*/ 1178354 w 12084394"/>
                <a:gd name="connsiteY131" fmla="*/ 3958074 h 4077840"/>
                <a:gd name="connsiteX132" fmla="*/ 666484 w 12084394"/>
                <a:gd name="connsiteY132" fmla="*/ 3958074 h 4077840"/>
                <a:gd name="connsiteX133" fmla="*/ 816855 w 12084394"/>
                <a:gd name="connsiteY133" fmla="*/ 4057748 h 4077840"/>
                <a:gd name="connsiteX134" fmla="*/ 820911 w 12084394"/>
                <a:gd name="connsiteY134" fmla="*/ 4077840 h 4077840"/>
                <a:gd name="connsiteX135" fmla="*/ 512057 w 12084394"/>
                <a:gd name="connsiteY135" fmla="*/ 4077840 h 4077840"/>
                <a:gd name="connsiteX136" fmla="*/ 516114 w 12084394"/>
                <a:gd name="connsiteY136" fmla="*/ 4057748 h 4077840"/>
                <a:gd name="connsiteX137" fmla="*/ 666484 w 12084394"/>
                <a:gd name="connsiteY137" fmla="*/ 3958074 h 4077840"/>
                <a:gd name="connsiteX138" fmla="*/ 154426 w 12084394"/>
                <a:gd name="connsiteY138" fmla="*/ 3958074 h 4077840"/>
                <a:gd name="connsiteX139" fmla="*/ 304797 w 12084394"/>
                <a:gd name="connsiteY139" fmla="*/ 4057748 h 4077840"/>
                <a:gd name="connsiteX140" fmla="*/ 308853 w 12084394"/>
                <a:gd name="connsiteY140" fmla="*/ 4077840 h 4077840"/>
                <a:gd name="connsiteX141" fmla="*/ 0 w 12084394"/>
                <a:gd name="connsiteY141" fmla="*/ 4077840 h 4077840"/>
                <a:gd name="connsiteX142" fmla="*/ 4057 w 12084394"/>
                <a:gd name="connsiteY142" fmla="*/ 4057748 h 4077840"/>
                <a:gd name="connsiteX143" fmla="*/ 154426 w 12084394"/>
                <a:gd name="connsiteY143" fmla="*/ 3958074 h 4077840"/>
                <a:gd name="connsiteX144" fmla="*/ 11929966 w 12084394"/>
                <a:gd name="connsiteY144" fmla="*/ 3518352 h 4077840"/>
                <a:gd name="connsiteX145" fmla="*/ 12078996 w 12084394"/>
                <a:gd name="connsiteY145" fmla="*/ 3667382 h 4077840"/>
                <a:gd name="connsiteX146" fmla="*/ 11929966 w 12084394"/>
                <a:gd name="connsiteY146" fmla="*/ 3816412 h 4077840"/>
                <a:gd name="connsiteX147" fmla="*/ 11780936 w 12084394"/>
                <a:gd name="connsiteY147" fmla="*/ 3667382 h 4077840"/>
                <a:gd name="connsiteX148" fmla="*/ 11929966 w 12084394"/>
                <a:gd name="connsiteY148" fmla="*/ 3518352 h 4077840"/>
                <a:gd name="connsiteX149" fmla="*/ 11417900 w 12084394"/>
                <a:gd name="connsiteY149" fmla="*/ 3518352 h 4077840"/>
                <a:gd name="connsiteX150" fmla="*/ 11566930 w 12084394"/>
                <a:gd name="connsiteY150" fmla="*/ 3667382 h 4077840"/>
                <a:gd name="connsiteX151" fmla="*/ 11417900 w 12084394"/>
                <a:gd name="connsiteY151" fmla="*/ 3816412 h 4077840"/>
                <a:gd name="connsiteX152" fmla="*/ 11268870 w 12084394"/>
                <a:gd name="connsiteY152" fmla="*/ 3667382 h 4077840"/>
                <a:gd name="connsiteX153" fmla="*/ 11417900 w 12084394"/>
                <a:gd name="connsiteY153" fmla="*/ 3518352 h 4077840"/>
                <a:gd name="connsiteX154" fmla="*/ 10906022 w 12084394"/>
                <a:gd name="connsiteY154" fmla="*/ 3518352 h 4077840"/>
                <a:gd name="connsiteX155" fmla="*/ 11055053 w 12084394"/>
                <a:gd name="connsiteY155" fmla="*/ 3667382 h 4077840"/>
                <a:gd name="connsiteX156" fmla="*/ 10906022 w 12084394"/>
                <a:gd name="connsiteY156" fmla="*/ 3816412 h 4077840"/>
                <a:gd name="connsiteX157" fmla="*/ 10756992 w 12084394"/>
                <a:gd name="connsiteY157" fmla="*/ 3667382 h 4077840"/>
                <a:gd name="connsiteX158" fmla="*/ 10906022 w 12084394"/>
                <a:gd name="connsiteY158" fmla="*/ 3518352 h 4077840"/>
                <a:gd name="connsiteX159" fmla="*/ 10393957 w 12084394"/>
                <a:gd name="connsiteY159" fmla="*/ 3518352 h 4077840"/>
                <a:gd name="connsiteX160" fmla="*/ 10542987 w 12084394"/>
                <a:gd name="connsiteY160" fmla="*/ 3667382 h 4077840"/>
                <a:gd name="connsiteX161" fmla="*/ 10393957 w 12084394"/>
                <a:gd name="connsiteY161" fmla="*/ 3816412 h 4077840"/>
                <a:gd name="connsiteX162" fmla="*/ 10244926 w 12084394"/>
                <a:gd name="connsiteY162" fmla="*/ 3667382 h 4077840"/>
                <a:gd name="connsiteX163" fmla="*/ 10393957 w 12084394"/>
                <a:gd name="connsiteY163" fmla="*/ 3518352 h 4077840"/>
                <a:gd name="connsiteX164" fmla="*/ 9882080 w 12084394"/>
                <a:gd name="connsiteY164" fmla="*/ 3518352 h 4077840"/>
                <a:gd name="connsiteX165" fmla="*/ 10031110 w 12084394"/>
                <a:gd name="connsiteY165" fmla="*/ 3667382 h 4077840"/>
                <a:gd name="connsiteX166" fmla="*/ 9882080 w 12084394"/>
                <a:gd name="connsiteY166" fmla="*/ 3816412 h 4077840"/>
                <a:gd name="connsiteX167" fmla="*/ 9733050 w 12084394"/>
                <a:gd name="connsiteY167" fmla="*/ 3667382 h 4077840"/>
                <a:gd name="connsiteX168" fmla="*/ 9882080 w 12084394"/>
                <a:gd name="connsiteY168" fmla="*/ 3518352 h 4077840"/>
                <a:gd name="connsiteX169" fmla="*/ 9370013 w 12084394"/>
                <a:gd name="connsiteY169" fmla="*/ 3518352 h 4077840"/>
                <a:gd name="connsiteX170" fmla="*/ 9519043 w 12084394"/>
                <a:gd name="connsiteY170" fmla="*/ 3667382 h 4077840"/>
                <a:gd name="connsiteX171" fmla="*/ 9370013 w 12084394"/>
                <a:gd name="connsiteY171" fmla="*/ 3816412 h 4077840"/>
                <a:gd name="connsiteX172" fmla="*/ 9220983 w 12084394"/>
                <a:gd name="connsiteY172" fmla="*/ 3667382 h 4077840"/>
                <a:gd name="connsiteX173" fmla="*/ 9370013 w 12084394"/>
                <a:gd name="connsiteY173" fmla="*/ 3518352 h 4077840"/>
                <a:gd name="connsiteX174" fmla="*/ 8858137 w 12084394"/>
                <a:gd name="connsiteY174" fmla="*/ 3518352 h 4077840"/>
                <a:gd name="connsiteX175" fmla="*/ 9007167 w 12084394"/>
                <a:gd name="connsiteY175" fmla="*/ 3667382 h 4077840"/>
                <a:gd name="connsiteX176" fmla="*/ 8858137 w 12084394"/>
                <a:gd name="connsiteY176" fmla="*/ 3816412 h 4077840"/>
                <a:gd name="connsiteX177" fmla="*/ 8709107 w 12084394"/>
                <a:gd name="connsiteY177" fmla="*/ 3667382 h 4077840"/>
                <a:gd name="connsiteX178" fmla="*/ 8858137 w 12084394"/>
                <a:gd name="connsiteY178" fmla="*/ 3518352 h 4077840"/>
                <a:gd name="connsiteX179" fmla="*/ 8346070 w 12084394"/>
                <a:gd name="connsiteY179" fmla="*/ 3518352 h 4077840"/>
                <a:gd name="connsiteX180" fmla="*/ 8495101 w 12084394"/>
                <a:gd name="connsiteY180" fmla="*/ 3667382 h 4077840"/>
                <a:gd name="connsiteX181" fmla="*/ 8346070 w 12084394"/>
                <a:gd name="connsiteY181" fmla="*/ 3816412 h 4077840"/>
                <a:gd name="connsiteX182" fmla="*/ 8197040 w 12084394"/>
                <a:gd name="connsiteY182" fmla="*/ 3667382 h 4077840"/>
                <a:gd name="connsiteX183" fmla="*/ 8346070 w 12084394"/>
                <a:gd name="connsiteY183" fmla="*/ 3518352 h 4077840"/>
                <a:gd name="connsiteX184" fmla="*/ 7834194 w 12084394"/>
                <a:gd name="connsiteY184" fmla="*/ 3518352 h 4077840"/>
                <a:gd name="connsiteX185" fmla="*/ 7983224 w 12084394"/>
                <a:gd name="connsiteY185" fmla="*/ 3667382 h 4077840"/>
                <a:gd name="connsiteX186" fmla="*/ 7834194 w 12084394"/>
                <a:gd name="connsiteY186" fmla="*/ 3816412 h 4077840"/>
                <a:gd name="connsiteX187" fmla="*/ 7685164 w 12084394"/>
                <a:gd name="connsiteY187" fmla="*/ 3667382 h 4077840"/>
                <a:gd name="connsiteX188" fmla="*/ 7834194 w 12084394"/>
                <a:gd name="connsiteY188" fmla="*/ 3518352 h 4077840"/>
                <a:gd name="connsiteX189" fmla="*/ 7322128 w 12084394"/>
                <a:gd name="connsiteY189" fmla="*/ 3518352 h 4077840"/>
                <a:gd name="connsiteX190" fmla="*/ 7471158 w 12084394"/>
                <a:gd name="connsiteY190" fmla="*/ 3667382 h 4077840"/>
                <a:gd name="connsiteX191" fmla="*/ 7322128 w 12084394"/>
                <a:gd name="connsiteY191" fmla="*/ 3816412 h 4077840"/>
                <a:gd name="connsiteX192" fmla="*/ 7173097 w 12084394"/>
                <a:gd name="connsiteY192" fmla="*/ 3667382 h 4077840"/>
                <a:gd name="connsiteX193" fmla="*/ 7322128 w 12084394"/>
                <a:gd name="connsiteY193" fmla="*/ 3518352 h 4077840"/>
                <a:gd name="connsiteX194" fmla="*/ 6810062 w 12084394"/>
                <a:gd name="connsiteY194" fmla="*/ 3518352 h 4077840"/>
                <a:gd name="connsiteX195" fmla="*/ 6959092 w 12084394"/>
                <a:gd name="connsiteY195" fmla="*/ 3667382 h 4077840"/>
                <a:gd name="connsiteX196" fmla="*/ 6810062 w 12084394"/>
                <a:gd name="connsiteY196" fmla="*/ 3816412 h 4077840"/>
                <a:gd name="connsiteX197" fmla="*/ 6661032 w 12084394"/>
                <a:gd name="connsiteY197" fmla="*/ 3667382 h 4077840"/>
                <a:gd name="connsiteX198" fmla="*/ 6810062 w 12084394"/>
                <a:gd name="connsiteY198" fmla="*/ 3518352 h 4077840"/>
                <a:gd name="connsiteX199" fmla="*/ 6298186 w 12084394"/>
                <a:gd name="connsiteY199" fmla="*/ 3518352 h 4077840"/>
                <a:gd name="connsiteX200" fmla="*/ 6447215 w 12084394"/>
                <a:gd name="connsiteY200" fmla="*/ 3667382 h 4077840"/>
                <a:gd name="connsiteX201" fmla="*/ 6298186 w 12084394"/>
                <a:gd name="connsiteY201" fmla="*/ 3816412 h 4077840"/>
                <a:gd name="connsiteX202" fmla="*/ 6149155 w 12084394"/>
                <a:gd name="connsiteY202" fmla="*/ 3667382 h 4077840"/>
                <a:gd name="connsiteX203" fmla="*/ 6298186 w 12084394"/>
                <a:gd name="connsiteY203" fmla="*/ 3518352 h 4077840"/>
                <a:gd name="connsiteX204" fmla="*/ 5786126 w 12084394"/>
                <a:gd name="connsiteY204" fmla="*/ 3518352 h 4077840"/>
                <a:gd name="connsiteX205" fmla="*/ 5935149 w 12084394"/>
                <a:gd name="connsiteY205" fmla="*/ 3667382 h 4077840"/>
                <a:gd name="connsiteX206" fmla="*/ 5786126 w 12084394"/>
                <a:gd name="connsiteY206" fmla="*/ 3816412 h 4077840"/>
                <a:gd name="connsiteX207" fmla="*/ 5637102 w 12084394"/>
                <a:gd name="connsiteY207" fmla="*/ 3667382 h 4077840"/>
                <a:gd name="connsiteX208" fmla="*/ 5786126 w 12084394"/>
                <a:gd name="connsiteY208" fmla="*/ 3518352 h 4077840"/>
                <a:gd name="connsiteX209" fmla="*/ 5274270 w 12084394"/>
                <a:gd name="connsiteY209" fmla="*/ 3518352 h 4077840"/>
                <a:gd name="connsiteX210" fmla="*/ 5423296 w 12084394"/>
                <a:gd name="connsiteY210" fmla="*/ 3667382 h 4077840"/>
                <a:gd name="connsiteX211" fmla="*/ 5274270 w 12084394"/>
                <a:gd name="connsiteY211" fmla="*/ 3816412 h 4077840"/>
                <a:gd name="connsiteX212" fmla="*/ 5125232 w 12084394"/>
                <a:gd name="connsiteY212" fmla="*/ 3667382 h 4077840"/>
                <a:gd name="connsiteX213" fmla="*/ 5274270 w 12084394"/>
                <a:gd name="connsiteY213" fmla="*/ 3518352 h 4077840"/>
                <a:gd name="connsiteX214" fmla="*/ 4762180 w 12084394"/>
                <a:gd name="connsiteY214" fmla="*/ 3518352 h 4077840"/>
                <a:gd name="connsiteX215" fmla="*/ 4911249 w 12084394"/>
                <a:gd name="connsiteY215" fmla="*/ 3667382 h 4077840"/>
                <a:gd name="connsiteX216" fmla="*/ 4762180 w 12084394"/>
                <a:gd name="connsiteY216" fmla="*/ 3816412 h 4077840"/>
                <a:gd name="connsiteX217" fmla="*/ 4613169 w 12084394"/>
                <a:gd name="connsiteY217" fmla="*/ 3667382 h 4077840"/>
                <a:gd name="connsiteX218" fmla="*/ 4762180 w 12084394"/>
                <a:gd name="connsiteY218" fmla="*/ 3518352 h 4077840"/>
                <a:gd name="connsiteX219" fmla="*/ 4250316 w 12084394"/>
                <a:gd name="connsiteY219" fmla="*/ 3518352 h 4077840"/>
                <a:gd name="connsiteX220" fmla="*/ 4399355 w 12084394"/>
                <a:gd name="connsiteY220" fmla="*/ 3667382 h 4077840"/>
                <a:gd name="connsiteX221" fmla="*/ 4250316 w 12084394"/>
                <a:gd name="connsiteY221" fmla="*/ 3816412 h 4077840"/>
                <a:gd name="connsiteX222" fmla="*/ 4101334 w 12084394"/>
                <a:gd name="connsiteY222" fmla="*/ 3667382 h 4077840"/>
                <a:gd name="connsiteX223" fmla="*/ 4250316 w 12084394"/>
                <a:gd name="connsiteY223" fmla="*/ 3518352 h 4077840"/>
                <a:gd name="connsiteX224" fmla="*/ 3738289 w 12084394"/>
                <a:gd name="connsiteY224" fmla="*/ 3518352 h 4077840"/>
                <a:gd name="connsiteX225" fmla="*/ 3887320 w 12084394"/>
                <a:gd name="connsiteY225" fmla="*/ 3667382 h 4077840"/>
                <a:gd name="connsiteX226" fmla="*/ 3738289 w 12084394"/>
                <a:gd name="connsiteY226" fmla="*/ 3816412 h 4077840"/>
                <a:gd name="connsiteX227" fmla="*/ 3589256 w 12084394"/>
                <a:gd name="connsiteY227" fmla="*/ 3667382 h 4077840"/>
                <a:gd name="connsiteX228" fmla="*/ 3738289 w 12084394"/>
                <a:gd name="connsiteY228" fmla="*/ 3518352 h 4077840"/>
                <a:gd name="connsiteX229" fmla="*/ 3226242 w 12084394"/>
                <a:gd name="connsiteY229" fmla="*/ 3518352 h 4077840"/>
                <a:gd name="connsiteX230" fmla="*/ 3375284 w 12084394"/>
                <a:gd name="connsiteY230" fmla="*/ 3667382 h 4077840"/>
                <a:gd name="connsiteX231" fmla="*/ 3226242 w 12084394"/>
                <a:gd name="connsiteY231" fmla="*/ 3816412 h 4077840"/>
                <a:gd name="connsiteX232" fmla="*/ 3077210 w 12084394"/>
                <a:gd name="connsiteY232" fmla="*/ 3667382 h 4077840"/>
                <a:gd name="connsiteX233" fmla="*/ 3226242 w 12084394"/>
                <a:gd name="connsiteY233" fmla="*/ 3518352 h 4077840"/>
                <a:gd name="connsiteX234" fmla="*/ 2714363 w 12084394"/>
                <a:gd name="connsiteY234" fmla="*/ 3518352 h 4077840"/>
                <a:gd name="connsiteX235" fmla="*/ 2863399 w 12084394"/>
                <a:gd name="connsiteY235" fmla="*/ 3667382 h 4077840"/>
                <a:gd name="connsiteX236" fmla="*/ 2714363 w 12084394"/>
                <a:gd name="connsiteY236" fmla="*/ 3816412 h 4077840"/>
                <a:gd name="connsiteX237" fmla="*/ 2565335 w 12084394"/>
                <a:gd name="connsiteY237" fmla="*/ 3667382 h 4077840"/>
                <a:gd name="connsiteX238" fmla="*/ 2714363 w 12084394"/>
                <a:gd name="connsiteY238" fmla="*/ 3518352 h 4077840"/>
                <a:gd name="connsiteX239" fmla="*/ 2202307 w 12084394"/>
                <a:gd name="connsiteY239" fmla="*/ 3518352 h 4077840"/>
                <a:gd name="connsiteX240" fmla="*/ 2351334 w 12084394"/>
                <a:gd name="connsiteY240" fmla="*/ 3667382 h 4077840"/>
                <a:gd name="connsiteX241" fmla="*/ 2202307 w 12084394"/>
                <a:gd name="connsiteY241" fmla="*/ 3816412 h 4077840"/>
                <a:gd name="connsiteX242" fmla="*/ 2053277 w 12084394"/>
                <a:gd name="connsiteY242" fmla="*/ 3667382 h 4077840"/>
                <a:gd name="connsiteX243" fmla="*/ 2202307 w 12084394"/>
                <a:gd name="connsiteY243" fmla="*/ 3518352 h 4077840"/>
                <a:gd name="connsiteX244" fmla="*/ 1690413 w 12084394"/>
                <a:gd name="connsiteY244" fmla="*/ 3518352 h 4077840"/>
                <a:gd name="connsiteX245" fmla="*/ 1839443 w 12084394"/>
                <a:gd name="connsiteY245" fmla="*/ 3667382 h 4077840"/>
                <a:gd name="connsiteX246" fmla="*/ 1690413 w 12084394"/>
                <a:gd name="connsiteY246" fmla="*/ 3816412 h 4077840"/>
                <a:gd name="connsiteX247" fmla="*/ 1541384 w 12084394"/>
                <a:gd name="connsiteY247" fmla="*/ 3667382 h 4077840"/>
                <a:gd name="connsiteX248" fmla="*/ 1690413 w 12084394"/>
                <a:gd name="connsiteY248" fmla="*/ 3518352 h 4077840"/>
                <a:gd name="connsiteX249" fmla="*/ 1178354 w 12084394"/>
                <a:gd name="connsiteY249" fmla="*/ 3518352 h 4077840"/>
                <a:gd name="connsiteX250" fmla="*/ 1327383 w 12084394"/>
                <a:gd name="connsiteY250" fmla="*/ 3667382 h 4077840"/>
                <a:gd name="connsiteX251" fmla="*/ 1178354 w 12084394"/>
                <a:gd name="connsiteY251" fmla="*/ 3816412 h 4077840"/>
                <a:gd name="connsiteX252" fmla="*/ 1029325 w 12084394"/>
                <a:gd name="connsiteY252" fmla="*/ 3667382 h 4077840"/>
                <a:gd name="connsiteX253" fmla="*/ 1178354 w 12084394"/>
                <a:gd name="connsiteY253" fmla="*/ 3518352 h 4077840"/>
                <a:gd name="connsiteX254" fmla="*/ 666484 w 12084394"/>
                <a:gd name="connsiteY254" fmla="*/ 3518352 h 4077840"/>
                <a:gd name="connsiteX255" fmla="*/ 815513 w 12084394"/>
                <a:gd name="connsiteY255" fmla="*/ 3667382 h 4077840"/>
                <a:gd name="connsiteX256" fmla="*/ 666484 w 12084394"/>
                <a:gd name="connsiteY256" fmla="*/ 3816412 h 4077840"/>
                <a:gd name="connsiteX257" fmla="*/ 517455 w 12084394"/>
                <a:gd name="connsiteY257" fmla="*/ 3667382 h 4077840"/>
                <a:gd name="connsiteX258" fmla="*/ 666484 w 12084394"/>
                <a:gd name="connsiteY258" fmla="*/ 3518352 h 4077840"/>
                <a:gd name="connsiteX259" fmla="*/ 154426 w 12084394"/>
                <a:gd name="connsiteY259" fmla="*/ 3518352 h 4077840"/>
                <a:gd name="connsiteX260" fmla="*/ 303455 w 12084394"/>
                <a:gd name="connsiteY260" fmla="*/ 3667382 h 4077840"/>
                <a:gd name="connsiteX261" fmla="*/ 154426 w 12084394"/>
                <a:gd name="connsiteY261" fmla="*/ 3816412 h 4077840"/>
                <a:gd name="connsiteX262" fmla="*/ 5397 w 12084394"/>
                <a:gd name="connsiteY262" fmla="*/ 3667382 h 4077840"/>
                <a:gd name="connsiteX263" fmla="*/ 154426 w 12084394"/>
                <a:gd name="connsiteY263" fmla="*/ 3518352 h 4077840"/>
                <a:gd name="connsiteX264" fmla="*/ 11929966 w 12084394"/>
                <a:gd name="connsiteY264" fmla="*/ 3078629 h 4077840"/>
                <a:gd name="connsiteX265" fmla="*/ 12064640 w 12084394"/>
                <a:gd name="connsiteY265" fmla="*/ 3213304 h 4077840"/>
                <a:gd name="connsiteX266" fmla="*/ 11929966 w 12084394"/>
                <a:gd name="connsiteY266" fmla="*/ 3347979 h 4077840"/>
                <a:gd name="connsiteX267" fmla="*/ 11795291 w 12084394"/>
                <a:gd name="connsiteY267" fmla="*/ 3213304 h 4077840"/>
                <a:gd name="connsiteX268" fmla="*/ 11929966 w 12084394"/>
                <a:gd name="connsiteY268" fmla="*/ 3078629 h 4077840"/>
                <a:gd name="connsiteX269" fmla="*/ 11417900 w 12084394"/>
                <a:gd name="connsiteY269" fmla="*/ 3078629 h 4077840"/>
                <a:gd name="connsiteX270" fmla="*/ 11552575 w 12084394"/>
                <a:gd name="connsiteY270" fmla="*/ 3213304 h 4077840"/>
                <a:gd name="connsiteX271" fmla="*/ 11417900 w 12084394"/>
                <a:gd name="connsiteY271" fmla="*/ 3347979 h 4077840"/>
                <a:gd name="connsiteX272" fmla="*/ 11283225 w 12084394"/>
                <a:gd name="connsiteY272" fmla="*/ 3213304 h 4077840"/>
                <a:gd name="connsiteX273" fmla="*/ 11417900 w 12084394"/>
                <a:gd name="connsiteY273" fmla="*/ 3078629 h 4077840"/>
                <a:gd name="connsiteX274" fmla="*/ 10906022 w 12084394"/>
                <a:gd name="connsiteY274" fmla="*/ 3078629 h 4077840"/>
                <a:gd name="connsiteX275" fmla="*/ 11040697 w 12084394"/>
                <a:gd name="connsiteY275" fmla="*/ 3213304 h 4077840"/>
                <a:gd name="connsiteX276" fmla="*/ 10906022 w 12084394"/>
                <a:gd name="connsiteY276" fmla="*/ 3347979 h 4077840"/>
                <a:gd name="connsiteX277" fmla="*/ 10771347 w 12084394"/>
                <a:gd name="connsiteY277" fmla="*/ 3213304 h 4077840"/>
                <a:gd name="connsiteX278" fmla="*/ 10906022 w 12084394"/>
                <a:gd name="connsiteY278" fmla="*/ 3078629 h 4077840"/>
                <a:gd name="connsiteX279" fmla="*/ 10393956 w 12084394"/>
                <a:gd name="connsiteY279" fmla="*/ 3078629 h 4077840"/>
                <a:gd name="connsiteX280" fmla="*/ 10528631 w 12084394"/>
                <a:gd name="connsiteY280" fmla="*/ 3213304 h 4077840"/>
                <a:gd name="connsiteX281" fmla="*/ 10393956 w 12084394"/>
                <a:gd name="connsiteY281" fmla="*/ 3347979 h 4077840"/>
                <a:gd name="connsiteX282" fmla="*/ 10259282 w 12084394"/>
                <a:gd name="connsiteY282" fmla="*/ 3213304 h 4077840"/>
                <a:gd name="connsiteX283" fmla="*/ 10393956 w 12084394"/>
                <a:gd name="connsiteY283" fmla="*/ 3078629 h 4077840"/>
                <a:gd name="connsiteX284" fmla="*/ 9882080 w 12084394"/>
                <a:gd name="connsiteY284" fmla="*/ 3078629 h 4077840"/>
                <a:gd name="connsiteX285" fmla="*/ 10016755 w 12084394"/>
                <a:gd name="connsiteY285" fmla="*/ 3213304 h 4077840"/>
                <a:gd name="connsiteX286" fmla="*/ 9882080 w 12084394"/>
                <a:gd name="connsiteY286" fmla="*/ 3347979 h 4077840"/>
                <a:gd name="connsiteX287" fmla="*/ 9747405 w 12084394"/>
                <a:gd name="connsiteY287" fmla="*/ 3213304 h 4077840"/>
                <a:gd name="connsiteX288" fmla="*/ 9882080 w 12084394"/>
                <a:gd name="connsiteY288" fmla="*/ 3078629 h 4077840"/>
                <a:gd name="connsiteX289" fmla="*/ 9370014 w 12084394"/>
                <a:gd name="connsiteY289" fmla="*/ 3078629 h 4077840"/>
                <a:gd name="connsiteX290" fmla="*/ 9504688 w 12084394"/>
                <a:gd name="connsiteY290" fmla="*/ 3213304 h 4077840"/>
                <a:gd name="connsiteX291" fmla="*/ 9370014 w 12084394"/>
                <a:gd name="connsiteY291" fmla="*/ 3347979 h 4077840"/>
                <a:gd name="connsiteX292" fmla="*/ 9235339 w 12084394"/>
                <a:gd name="connsiteY292" fmla="*/ 3213304 h 4077840"/>
                <a:gd name="connsiteX293" fmla="*/ 9370014 w 12084394"/>
                <a:gd name="connsiteY293" fmla="*/ 3078629 h 4077840"/>
                <a:gd name="connsiteX294" fmla="*/ 8858136 w 12084394"/>
                <a:gd name="connsiteY294" fmla="*/ 3078629 h 4077840"/>
                <a:gd name="connsiteX295" fmla="*/ 8992811 w 12084394"/>
                <a:gd name="connsiteY295" fmla="*/ 3213304 h 4077840"/>
                <a:gd name="connsiteX296" fmla="*/ 8858136 w 12084394"/>
                <a:gd name="connsiteY296" fmla="*/ 3347979 h 4077840"/>
                <a:gd name="connsiteX297" fmla="*/ 8723462 w 12084394"/>
                <a:gd name="connsiteY297" fmla="*/ 3213304 h 4077840"/>
                <a:gd name="connsiteX298" fmla="*/ 8858136 w 12084394"/>
                <a:gd name="connsiteY298" fmla="*/ 3078629 h 4077840"/>
                <a:gd name="connsiteX299" fmla="*/ 8346071 w 12084394"/>
                <a:gd name="connsiteY299" fmla="*/ 3078629 h 4077840"/>
                <a:gd name="connsiteX300" fmla="*/ 8480746 w 12084394"/>
                <a:gd name="connsiteY300" fmla="*/ 3213304 h 4077840"/>
                <a:gd name="connsiteX301" fmla="*/ 8346071 w 12084394"/>
                <a:gd name="connsiteY301" fmla="*/ 3347979 h 4077840"/>
                <a:gd name="connsiteX302" fmla="*/ 8211396 w 12084394"/>
                <a:gd name="connsiteY302" fmla="*/ 3213304 h 4077840"/>
                <a:gd name="connsiteX303" fmla="*/ 8346071 w 12084394"/>
                <a:gd name="connsiteY303" fmla="*/ 3078629 h 4077840"/>
                <a:gd name="connsiteX304" fmla="*/ 7834194 w 12084394"/>
                <a:gd name="connsiteY304" fmla="*/ 3078629 h 4077840"/>
                <a:gd name="connsiteX305" fmla="*/ 7968868 w 12084394"/>
                <a:gd name="connsiteY305" fmla="*/ 3213304 h 4077840"/>
                <a:gd name="connsiteX306" fmla="*/ 7834194 w 12084394"/>
                <a:gd name="connsiteY306" fmla="*/ 3347979 h 4077840"/>
                <a:gd name="connsiteX307" fmla="*/ 7699519 w 12084394"/>
                <a:gd name="connsiteY307" fmla="*/ 3213304 h 4077840"/>
                <a:gd name="connsiteX308" fmla="*/ 7834194 w 12084394"/>
                <a:gd name="connsiteY308" fmla="*/ 3078629 h 4077840"/>
                <a:gd name="connsiteX309" fmla="*/ 7322127 w 12084394"/>
                <a:gd name="connsiteY309" fmla="*/ 3078629 h 4077840"/>
                <a:gd name="connsiteX310" fmla="*/ 7456802 w 12084394"/>
                <a:gd name="connsiteY310" fmla="*/ 3213304 h 4077840"/>
                <a:gd name="connsiteX311" fmla="*/ 7322127 w 12084394"/>
                <a:gd name="connsiteY311" fmla="*/ 3347979 h 4077840"/>
                <a:gd name="connsiteX312" fmla="*/ 7187453 w 12084394"/>
                <a:gd name="connsiteY312" fmla="*/ 3213304 h 4077840"/>
                <a:gd name="connsiteX313" fmla="*/ 7322127 w 12084394"/>
                <a:gd name="connsiteY313" fmla="*/ 3078629 h 4077840"/>
                <a:gd name="connsiteX314" fmla="*/ 6810062 w 12084394"/>
                <a:gd name="connsiteY314" fmla="*/ 3078629 h 4077840"/>
                <a:gd name="connsiteX315" fmla="*/ 6944736 w 12084394"/>
                <a:gd name="connsiteY315" fmla="*/ 3213304 h 4077840"/>
                <a:gd name="connsiteX316" fmla="*/ 6810062 w 12084394"/>
                <a:gd name="connsiteY316" fmla="*/ 3347979 h 4077840"/>
                <a:gd name="connsiteX317" fmla="*/ 6675387 w 12084394"/>
                <a:gd name="connsiteY317" fmla="*/ 3213304 h 4077840"/>
                <a:gd name="connsiteX318" fmla="*/ 6810062 w 12084394"/>
                <a:gd name="connsiteY318" fmla="*/ 3078629 h 4077840"/>
                <a:gd name="connsiteX319" fmla="*/ 6298186 w 12084394"/>
                <a:gd name="connsiteY319" fmla="*/ 3078629 h 4077840"/>
                <a:gd name="connsiteX320" fmla="*/ 6432860 w 12084394"/>
                <a:gd name="connsiteY320" fmla="*/ 3213304 h 4077840"/>
                <a:gd name="connsiteX321" fmla="*/ 6298186 w 12084394"/>
                <a:gd name="connsiteY321" fmla="*/ 3347979 h 4077840"/>
                <a:gd name="connsiteX322" fmla="*/ 6163510 w 12084394"/>
                <a:gd name="connsiteY322" fmla="*/ 3213304 h 4077840"/>
                <a:gd name="connsiteX323" fmla="*/ 6298186 w 12084394"/>
                <a:gd name="connsiteY323" fmla="*/ 3078629 h 4077840"/>
                <a:gd name="connsiteX324" fmla="*/ 5786126 w 12084394"/>
                <a:gd name="connsiteY324" fmla="*/ 3078629 h 4077840"/>
                <a:gd name="connsiteX325" fmla="*/ 5920794 w 12084394"/>
                <a:gd name="connsiteY325" fmla="*/ 3213304 h 4077840"/>
                <a:gd name="connsiteX326" fmla="*/ 5786126 w 12084394"/>
                <a:gd name="connsiteY326" fmla="*/ 3347979 h 4077840"/>
                <a:gd name="connsiteX327" fmla="*/ 5651456 w 12084394"/>
                <a:gd name="connsiteY327" fmla="*/ 3213304 h 4077840"/>
                <a:gd name="connsiteX328" fmla="*/ 5786126 w 12084394"/>
                <a:gd name="connsiteY328" fmla="*/ 3078629 h 4077840"/>
                <a:gd name="connsiteX329" fmla="*/ 5274270 w 12084394"/>
                <a:gd name="connsiteY329" fmla="*/ 3078629 h 4077840"/>
                <a:gd name="connsiteX330" fmla="*/ 5408941 w 12084394"/>
                <a:gd name="connsiteY330" fmla="*/ 3213304 h 4077840"/>
                <a:gd name="connsiteX331" fmla="*/ 5274270 w 12084394"/>
                <a:gd name="connsiteY331" fmla="*/ 3347979 h 4077840"/>
                <a:gd name="connsiteX332" fmla="*/ 5139595 w 12084394"/>
                <a:gd name="connsiteY332" fmla="*/ 3213304 h 4077840"/>
                <a:gd name="connsiteX333" fmla="*/ 5274270 w 12084394"/>
                <a:gd name="connsiteY333" fmla="*/ 3078629 h 4077840"/>
                <a:gd name="connsiteX334" fmla="*/ 4762180 w 12084394"/>
                <a:gd name="connsiteY334" fmla="*/ 3078629 h 4077840"/>
                <a:gd name="connsiteX335" fmla="*/ 4896897 w 12084394"/>
                <a:gd name="connsiteY335" fmla="*/ 3213304 h 4077840"/>
                <a:gd name="connsiteX336" fmla="*/ 4762180 w 12084394"/>
                <a:gd name="connsiteY336" fmla="*/ 3347979 h 4077840"/>
                <a:gd name="connsiteX337" fmla="*/ 4627526 w 12084394"/>
                <a:gd name="connsiteY337" fmla="*/ 3213304 h 4077840"/>
                <a:gd name="connsiteX338" fmla="*/ 4762180 w 12084394"/>
                <a:gd name="connsiteY338" fmla="*/ 3078629 h 4077840"/>
                <a:gd name="connsiteX339" fmla="*/ 4250316 w 12084394"/>
                <a:gd name="connsiteY339" fmla="*/ 3078629 h 4077840"/>
                <a:gd name="connsiteX340" fmla="*/ 4385000 w 12084394"/>
                <a:gd name="connsiteY340" fmla="*/ 3213304 h 4077840"/>
                <a:gd name="connsiteX341" fmla="*/ 4250316 w 12084394"/>
                <a:gd name="connsiteY341" fmla="*/ 3347979 h 4077840"/>
                <a:gd name="connsiteX342" fmla="*/ 4115689 w 12084394"/>
                <a:gd name="connsiteY342" fmla="*/ 3213304 h 4077840"/>
                <a:gd name="connsiteX343" fmla="*/ 4250316 w 12084394"/>
                <a:gd name="connsiteY343" fmla="*/ 3078629 h 4077840"/>
                <a:gd name="connsiteX344" fmla="*/ 3738289 w 12084394"/>
                <a:gd name="connsiteY344" fmla="*/ 3078629 h 4077840"/>
                <a:gd name="connsiteX345" fmla="*/ 3872963 w 12084394"/>
                <a:gd name="connsiteY345" fmla="*/ 3213304 h 4077840"/>
                <a:gd name="connsiteX346" fmla="*/ 3738289 w 12084394"/>
                <a:gd name="connsiteY346" fmla="*/ 3347979 h 4077840"/>
                <a:gd name="connsiteX347" fmla="*/ 3603609 w 12084394"/>
                <a:gd name="connsiteY347" fmla="*/ 3213304 h 4077840"/>
                <a:gd name="connsiteX348" fmla="*/ 3738289 w 12084394"/>
                <a:gd name="connsiteY348" fmla="*/ 3078629 h 4077840"/>
                <a:gd name="connsiteX349" fmla="*/ 3226242 w 12084394"/>
                <a:gd name="connsiteY349" fmla="*/ 3078629 h 4077840"/>
                <a:gd name="connsiteX350" fmla="*/ 3360931 w 12084394"/>
                <a:gd name="connsiteY350" fmla="*/ 3213304 h 4077840"/>
                <a:gd name="connsiteX351" fmla="*/ 3226242 w 12084394"/>
                <a:gd name="connsiteY351" fmla="*/ 3347979 h 4077840"/>
                <a:gd name="connsiteX352" fmla="*/ 3091565 w 12084394"/>
                <a:gd name="connsiteY352" fmla="*/ 3213304 h 4077840"/>
                <a:gd name="connsiteX353" fmla="*/ 3226242 w 12084394"/>
                <a:gd name="connsiteY353" fmla="*/ 3078629 h 4077840"/>
                <a:gd name="connsiteX354" fmla="*/ 2714363 w 12084394"/>
                <a:gd name="connsiteY354" fmla="*/ 3078629 h 4077840"/>
                <a:gd name="connsiteX355" fmla="*/ 2849039 w 12084394"/>
                <a:gd name="connsiteY355" fmla="*/ 3213304 h 4077840"/>
                <a:gd name="connsiteX356" fmla="*/ 2714363 w 12084394"/>
                <a:gd name="connsiteY356" fmla="*/ 3347979 h 4077840"/>
                <a:gd name="connsiteX357" fmla="*/ 2579687 w 12084394"/>
                <a:gd name="connsiteY357" fmla="*/ 3213304 h 4077840"/>
                <a:gd name="connsiteX358" fmla="*/ 2714363 w 12084394"/>
                <a:gd name="connsiteY358" fmla="*/ 3078629 h 4077840"/>
                <a:gd name="connsiteX359" fmla="*/ 2202306 w 12084394"/>
                <a:gd name="connsiteY359" fmla="*/ 3078629 h 4077840"/>
                <a:gd name="connsiteX360" fmla="*/ 2336978 w 12084394"/>
                <a:gd name="connsiteY360" fmla="*/ 3213304 h 4077840"/>
                <a:gd name="connsiteX361" fmla="*/ 2202306 w 12084394"/>
                <a:gd name="connsiteY361" fmla="*/ 3347979 h 4077840"/>
                <a:gd name="connsiteX362" fmla="*/ 2067631 w 12084394"/>
                <a:gd name="connsiteY362" fmla="*/ 3213304 h 4077840"/>
                <a:gd name="connsiteX363" fmla="*/ 2202306 w 12084394"/>
                <a:gd name="connsiteY363" fmla="*/ 3078629 h 4077840"/>
                <a:gd name="connsiteX364" fmla="*/ 1690413 w 12084394"/>
                <a:gd name="connsiteY364" fmla="*/ 3078629 h 4077840"/>
                <a:gd name="connsiteX365" fmla="*/ 1825086 w 12084394"/>
                <a:gd name="connsiteY365" fmla="*/ 3213304 h 4077840"/>
                <a:gd name="connsiteX366" fmla="*/ 1690413 w 12084394"/>
                <a:gd name="connsiteY366" fmla="*/ 3347979 h 4077840"/>
                <a:gd name="connsiteX367" fmla="*/ 1555739 w 12084394"/>
                <a:gd name="connsiteY367" fmla="*/ 3213304 h 4077840"/>
                <a:gd name="connsiteX368" fmla="*/ 1690413 w 12084394"/>
                <a:gd name="connsiteY368" fmla="*/ 3078629 h 4077840"/>
                <a:gd name="connsiteX369" fmla="*/ 1178354 w 12084394"/>
                <a:gd name="connsiteY369" fmla="*/ 3078629 h 4077840"/>
                <a:gd name="connsiteX370" fmla="*/ 1313027 w 12084394"/>
                <a:gd name="connsiteY370" fmla="*/ 3213304 h 4077840"/>
                <a:gd name="connsiteX371" fmla="*/ 1178354 w 12084394"/>
                <a:gd name="connsiteY371" fmla="*/ 3347979 h 4077840"/>
                <a:gd name="connsiteX372" fmla="*/ 1043680 w 12084394"/>
                <a:gd name="connsiteY372" fmla="*/ 3213304 h 4077840"/>
                <a:gd name="connsiteX373" fmla="*/ 1178354 w 12084394"/>
                <a:gd name="connsiteY373" fmla="*/ 3078629 h 4077840"/>
                <a:gd name="connsiteX374" fmla="*/ 666484 w 12084394"/>
                <a:gd name="connsiteY374" fmla="*/ 3078629 h 4077840"/>
                <a:gd name="connsiteX375" fmla="*/ 801157 w 12084394"/>
                <a:gd name="connsiteY375" fmla="*/ 3213304 h 4077840"/>
                <a:gd name="connsiteX376" fmla="*/ 666484 w 12084394"/>
                <a:gd name="connsiteY376" fmla="*/ 3347979 h 4077840"/>
                <a:gd name="connsiteX377" fmla="*/ 531810 w 12084394"/>
                <a:gd name="connsiteY377" fmla="*/ 3213304 h 4077840"/>
                <a:gd name="connsiteX378" fmla="*/ 666484 w 12084394"/>
                <a:gd name="connsiteY378" fmla="*/ 3078629 h 4077840"/>
                <a:gd name="connsiteX379" fmla="*/ 154426 w 12084394"/>
                <a:gd name="connsiteY379" fmla="*/ 3078629 h 4077840"/>
                <a:gd name="connsiteX380" fmla="*/ 289099 w 12084394"/>
                <a:gd name="connsiteY380" fmla="*/ 3213304 h 4077840"/>
                <a:gd name="connsiteX381" fmla="*/ 154426 w 12084394"/>
                <a:gd name="connsiteY381" fmla="*/ 3347979 h 4077840"/>
                <a:gd name="connsiteX382" fmla="*/ 19752 w 12084394"/>
                <a:gd name="connsiteY382" fmla="*/ 3213304 h 4077840"/>
                <a:gd name="connsiteX383" fmla="*/ 154426 w 12084394"/>
                <a:gd name="connsiteY383" fmla="*/ 3078629 h 4077840"/>
                <a:gd name="connsiteX384" fmla="*/ 11929965 w 12084394"/>
                <a:gd name="connsiteY384" fmla="*/ 2638717 h 4077840"/>
                <a:gd name="connsiteX385" fmla="*/ 12050474 w 12084394"/>
                <a:gd name="connsiteY385" fmla="*/ 2759225 h 4077840"/>
                <a:gd name="connsiteX386" fmla="*/ 11929965 w 12084394"/>
                <a:gd name="connsiteY386" fmla="*/ 2879734 h 4077840"/>
                <a:gd name="connsiteX387" fmla="*/ 11809457 w 12084394"/>
                <a:gd name="connsiteY387" fmla="*/ 2759225 h 4077840"/>
                <a:gd name="connsiteX388" fmla="*/ 11929965 w 12084394"/>
                <a:gd name="connsiteY388" fmla="*/ 2638717 h 4077840"/>
                <a:gd name="connsiteX389" fmla="*/ 11417900 w 12084394"/>
                <a:gd name="connsiteY389" fmla="*/ 2638717 h 4077840"/>
                <a:gd name="connsiteX390" fmla="*/ 11538408 w 12084394"/>
                <a:gd name="connsiteY390" fmla="*/ 2759225 h 4077840"/>
                <a:gd name="connsiteX391" fmla="*/ 11417900 w 12084394"/>
                <a:gd name="connsiteY391" fmla="*/ 2879734 h 4077840"/>
                <a:gd name="connsiteX392" fmla="*/ 11297391 w 12084394"/>
                <a:gd name="connsiteY392" fmla="*/ 2759225 h 4077840"/>
                <a:gd name="connsiteX393" fmla="*/ 11417900 w 12084394"/>
                <a:gd name="connsiteY393" fmla="*/ 2638717 h 4077840"/>
                <a:gd name="connsiteX394" fmla="*/ 10906022 w 12084394"/>
                <a:gd name="connsiteY394" fmla="*/ 2638717 h 4077840"/>
                <a:gd name="connsiteX395" fmla="*/ 11026530 w 12084394"/>
                <a:gd name="connsiteY395" fmla="*/ 2759225 h 4077840"/>
                <a:gd name="connsiteX396" fmla="*/ 10906022 w 12084394"/>
                <a:gd name="connsiteY396" fmla="*/ 2879734 h 4077840"/>
                <a:gd name="connsiteX397" fmla="*/ 10785513 w 12084394"/>
                <a:gd name="connsiteY397" fmla="*/ 2759225 h 4077840"/>
                <a:gd name="connsiteX398" fmla="*/ 10906022 w 12084394"/>
                <a:gd name="connsiteY398" fmla="*/ 2638717 h 4077840"/>
                <a:gd name="connsiteX399" fmla="*/ 10393956 w 12084394"/>
                <a:gd name="connsiteY399" fmla="*/ 2638717 h 4077840"/>
                <a:gd name="connsiteX400" fmla="*/ 10514465 w 12084394"/>
                <a:gd name="connsiteY400" fmla="*/ 2759225 h 4077840"/>
                <a:gd name="connsiteX401" fmla="*/ 10393956 w 12084394"/>
                <a:gd name="connsiteY401" fmla="*/ 2879734 h 4077840"/>
                <a:gd name="connsiteX402" fmla="*/ 10273448 w 12084394"/>
                <a:gd name="connsiteY402" fmla="*/ 2759225 h 4077840"/>
                <a:gd name="connsiteX403" fmla="*/ 10393956 w 12084394"/>
                <a:gd name="connsiteY403" fmla="*/ 2638717 h 4077840"/>
                <a:gd name="connsiteX404" fmla="*/ 9882080 w 12084394"/>
                <a:gd name="connsiteY404" fmla="*/ 2638717 h 4077840"/>
                <a:gd name="connsiteX405" fmla="*/ 10002588 w 12084394"/>
                <a:gd name="connsiteY405" fmla="*/ 2759225 h 4077840"/>
                <a:gd name="connsiteX406" fmla="*/ 9882080 w 12084394"/>
                <a:gd name="connsiteY406" fmla="*/ 2879734 h 4077840"/>
                <a:gd name="connsiteX407" fmla="*/ 9761571 w 12084394"/>
                <a:gd name="connsiteY407" fmla="*/ 2759225 h 4077840"/>
                <a:gd name="connsiteX408" fmla="*/ 9882080 w 12084394"/>
                <a:gd name="connsiteY408" fmla="*/ 2638717 h 4077840"/>
                <a:gd name="connsiteX409" fmla="*/ 9370013 w 12084394"/>
                <a:gd name="connsiteY409" fmla="*/ 2638717 h 4077840"/>
                <a:gd name="connsiteX410" fmla="*/ 9490522 w 12084394"/>
                <a:gd name="connsiteY410" fmla="*/ 2759225 h 4077840"/>
                <a:gd name="connsiteX411" fmla="*/ 9370013 w 12084394"/>
                <a:gd name="connsiteY411" fmla="*/ 2879734 h 4077840"/>
                <a:gd name="connsiteX412" fmla="*/ 9249505 w 12084394"/>
                <a:gd name="connsiteY412" fmla="*/ 2759225 h 4077840"/>
                <a:gd name="connsiteX413" fmla="*/ 9370013 w 12084394"/>
                <a:gd name="connsiteY413" fmla="*/ 2638717 h 4077840"/>
                <a:gd name="connsiteX414" fmla="*/ 8858136 w 12084394"/>
                <a:gd name="connsiteY414" fmla="*/ 2638717 h 4077840"/>
                <a:gd name="connsiteX415" fmla="*/ 8978645 w 12084394"/>
                <a:gd name="connsiteY415" fmla="*/ 2759225 h 4077840"/>
                <a:gd name="connsiteX416" fmla="*/ 8858136 w 12084394"/>
                <a:gd name="connsiteY416" fmla="*/ 2879734 h 4077840"/>
                <a:gd name="connsiteX417" fmla="*/ 8737628 w 12084394"/>
                <a:gd name="connsiteY417" fmla="*/ 2759225 h 4077840"/>
                <a:gd name="connsiteX418" fmla="*/ 8858136 w 12084394"/>
                <a:gd name="connsiteY418" fmla="*/ 2638717 h 4077840"/>
                <a:gd name="connsiteX419" fmla="*/ 8346070 w 12084394"/>
                <a:gd name="connsiteY419" fmla="*/ 2638717 h 4077840"/>
                <a:gd name="connsiteX420" fmla="*/ 8466579 w 12084394"/>
                <a:gd name="connsiteY420" fmla="*/ 2759225 h 4077840"/>
                <a:gd name="connsiteX421" fmla="*/ 8346070 w 12084394"/>
                <a:gd name="connsiteY421" fmla="*/ 2879734 h 4077840"/>
                <a:gd name="connsiteX422" fmla="*/ 8225562 w 12084394"/>
                <a:gd name="connsiteY422" fmla="*/ 2759225 h 4077840"/>
                <a:gd name="connsiteX423" fmla="*/ 8346070 w 12084394"/>
                <a:gd name="connsiteY423" fmla="*/ 2638717 h 4077840"/>
                <a:gd name="connsiteX424" fmla="*/ 7834193 w 12084394"/>
                <a:gd name="connsiteY424" fmla="*/ 2638717 h 4077840"/>
                <a:gd name="connsiteX425" fmla="*/ 7954702 w 12084394"/>
                <a:gd name="connsiteY425" fmla="*/ 2759225 h 4077840"/>
                <a:gd name="connsiteX426" fmla="*/ 7834193 w 12084394"/>
                <a:gd name="connsiteY426" fmla="*/ 2879734 h 4077840"/>
                <a:gd name="connsiteX427" fmla="*/ 7713685 w 12084394"/>
                <a:gd name="connsiteY427" fmla="*/ 2759225 h 4077840"/>
                <a:gd name="connsiteX428" fmla="*/ 7834193 w 12084394"/>
                <a:gd name="connsiteY428" fmla="*/ 2638717 h 4077840"/>
                <a:gd name="connsiteX429" fmla="*/ 7322127 w 12084394"/>
                <a:gd name="connsiteY429" fmla="*/ 2638717 h 4077840"/>
                <a:gd name="connsiteX430" fmla="*/ 7442635 w 12084394"/>
                <a:gd name="connsiteY430" fmla="*/ 2759225 h 4077840"/>
                <a:gd name="connsiteX431" fmla="*/ 7322127 w 12084394"/>
                <a:gd name="connsiteY431" fmla="*/ 2879734 h 4077840"/>
                <a:gd name="connsiteX432" fmla="*/ 7201619 w 12084394"/>
                <a:gd name="connsiteY432" fmla="*/ 2759225 h 4077840"/>
                <a:gd name="connsiteX433" fmla="*/ 7322127 w 12084394"/>
                <a:gd name="connsiteY433" fmla="*/ 2638717 h 4077840"/>
                <a:gd name="connsiteX434" fmla="*/ 6810061 w 12084394"/>
                <a:gd name="connsiteY434" fmla="*/ 2638717 h 4077840"/>
                <a:gd name="connsiteX435" fmla="*/ 6930570 w 12084394"/>
                <a:gd name="connsiteY435" fmla="*/ 2759225 h 4077840"/>
                <a:gd name="connsiteX436" fmla="*/ 6810061 w 12084394"/>
                <a:gd name="connsiteY436" fmla="*/ 2879734 h 4077840"/>
                <a:gd name="connsiteX437" fmla="*/ 6689553 w 12084394"/>
                <a:gd name="connsiteY437" fmla="*/ 2759225 h 4077840"/>
                <a:gd name="connsiteX438" fmla="*/ 6810061 w 12084394"/>
                <a:gd name="connsiteY438" fmla="*/ 2638717 h 4077840"/>
                <a:gd name="connsiteX439" fmla="*/ 6298184 w 12084394"/>
                <a:gd name="connsiteY439" fmla="*/ 2638717 h 4077840"/>
                <a:gd name="connsiteX440" fmla="*/ 6418693 w 12084394"/>
                <a:gd name="connsiteY440" fmla="*/ 2759225 h 4077840"/>
                <a:gd name="connsiteX441" fmla="*/ 6298184 w 12084394"/>
                <a:gd name="connsiteY441" fmla="*/ 2879734 h 4077840"/>
                <a:gd name="connsiteX442" fmla="*/ 6177677 w 12084394"/>
                <a:gd name="connsiteY442" fmla="*/ 2759225 h 4077840"/>
                <a:gd name="connsiteX443" fmla="*/ 6298184 w 12084394"/>
                <a:gd name="connsiteY443" fmla="*/ 2638717 h 4077840"/>
                <a:gd name="connsiteX444" fmla="*/ 5786126 w 12084394"/>
                <a:gd name="connsiteY444" fmla="*/ 2638717 h 4077840"/>
                <a:gd name="connsiteX445" fmla="*/ 5906628 w 12084394"/>
                <a:gd name="connsiteY445" fmla="*/ 2759225 h 4077840"/>
                <a:gd name="connsiteX446" fmla="*/ 5786126 w 12084394"/>
                <a:gd name="connsiteY446" fmla="*/ 2879734 h 4077840"/>
                <a:gd name="connsiteX447" fmla="*/ 5665623 w 12084394"/>
                <a:gd name="connsiteY447" fmla="*/ 2759225 h 4077840"/>
                <a:gd name="connsiteX448" fmla="*/ 5786126 w 12084394"/>
                <a:gd name="connsiteY448" fmla="*/ 2638717 h 4077840"/>
                <a:gd name="connsiteX449" fmla="*/ 5274270 w 12084394"/>
                <a:gd name="connsiteY449" fmla="*/ 2638717 h 4077840"/>
                <a:gd name="connsiteX450" fmla="*/ 5394775 w 12084394"/>
                <a:gd name="connsiteY450" fmla="*/ 2759225 h 4077840"/>
                <a:gd name="connsiteX451" fmla="*/ 5274270 w 12084394"/>
                <a:gd name="connsiteY451" fmla="*/ 2879734 h 4077840"/>
                <a:gd name="connsiteX452" fmla="*/ 5153767 w 12084394"/>
                <a:gd name="connsiteY452" fmla="*/ 2759225 h 4077840"/>
                <a:gd name="connsiteX453" fmla="*/ 5274270 w 12084394"/>
                <a:gd name="connsiteY453" fmla="*/ 2638717 h 4077840"/>
                <a:gd name="connsiteX454" fmla="*/ 4762180 w 12084394"/>
                <a:gd name="connsiteY454" fmla="*/ 2638717 h 4077840"/>
                <a:gd name="connsiteX455" fmla="*/ 4882728 w 12084394"/>
                <a:gd name="connsiteY455" fmla="*/ 2759225 h 4077840"/>
                <a:gd name="connsiteX456" fmla="*/ 4762180 w 12084394"/>
                <a:gd name="connsiteY456" fmla="*/ 2879734 h 4077840"/>
                <a:gd name="connsiteX457" fmla="*/ 4641689 w 12084394"/>
                <a:gd name="connsiteY457" fmla="*/ 2759225 h 4077840"/>
                <a:gd name="connsiteX458" fmla="*/ 4762180 w 12084394"/>
                <a:gd name="connsiteY458" fmla="*/ 2638717 h 4077840"/>
                <a:gd name="connsiteX459" fmla="*/ 4250316 w 12084394"/>
                <a:gd name="connsiteY459" fmla="*/ 2638717 h 4077840"/>
                <a:gd name="connsiteX460" fmla="*/ 4370831 w 12084394"/>
                <a:gd name="connsiteY460" fmla="*/ 2759225 h 4077840"/>
                <a:gd name="connsiteX461" fmla="*/ 4250316 w 12084394"/>
                <a:gd name="connsiteY461" fmla="*/ 2879734 h 4077840"/>
                <a:gd name="connsiteX462" fmla="*/ 4129855 w 12084394"/>
                <a:gd name="connsiteY462" fmla="*/ 2759225 h 4077840"/>
                <a:gd name="connsiteX463" fmla="*/ 4250316 w 12084394"/>
                <a:gd name="connsiteY463" fmla="*/ 2638717 h 4077840"/>
                <a:gd name="connsiteX464" fmla="*/ 3738287 w 12084394"/>
                <a:gd name="connsiteY464" fmla="*/ 2638717 h 4077840"/>
                <a:gd name="connsiteX465" fmla="*/ 3858795 w 12084394"/>
                <a:gd name="connsiteY465" fmla="*/ 2759225 h 4077840"/>
                <a:gd name="connsiteX466" fmla="*/ 3738287 w 12084394"/>
                <a:gd name="connsiteY466" fmla="*/ 2879734 h 4077840"/>
                <a:gd name="connsiteX467" fmla="*/ 3617773 w 12084394"/>
                <a:gd name="connsiteY467" fmla="*/ 2759225 h 4077840"/>
                <a:gd name="connsiteX468" fmla="*/ 3738287 w 12084394"/>
                <a:gd name="connsiteY468" fmla="*/ 2638717 h 4077840"/>
                <a:gd name="connsiteX469" fmla="*/ 3226242 w 12084394"/>
                <a:gd name="connsiteY469" fmla="*/ 2638717 h 4077840"/>
                <a:gd name="connsiteX470" fmla="*/ 3346764 w 12084394"/>
                <a:gd name="connsiteY470" fmla="*/ 2759225 h 4077840"/>
                <a:gd name="connsiteX471" fmla="*/ 3226242 w 12084394"/>
                <a:gd name="connsiteY471" fmla="*/ 2879734 h 4077840"/>
                <a:gd name="connsiteX472" fmla="*/ 3105731 w 12084394"/>
                <a:gd name="connsiteY472" fmla="*/ 2759225 h 4077840"/>
                <a:gd name="connsiteX473" fmla="*/ 3226242 w 12084394"/>
                <a:gd name="connsiteY473" fmla="*/ 2638717 h 4077840"/>
                <a:gd name="connsiteX474" fmla="*/ 2714362 w 12084394"/>
                <a:gd name="connsiteY474" fmla="*/ 2638717 h 4077840"/>
                <a:gd name="connsiteX475" fmla="*/ 2834873 w 12084394"/>
                <a:gd name="connsiteY475" fmla="*/ 2759225 h 4077840"/>
                <a:gd name="connsiteX476" fmla="*/ 2714362 w 12084394"/>
                <a:gd name="connsiteY476" fmla="*/ 2879734 h 4077840"/>
                <a:gd name="connsiteX477" fmla="*/ 2593854 w 12084394"/>
                <a:gd name="connsiteY477" fmla="*/ 2759225 h 4077840"/>
                <a:gd name="connsiteX478" fmla="*/ 2714362 w 12084394"/>
                <a:gd name="connsiteY478" fmla="*/ 2638717 h 4077840"/>
                <a:gd name="connsiteX479" fmla="*/ 2202306 w 12084394"/>
                <a:gd name="connsiteY479" fmla="*/ 2638717 h 4077840"/>
                <a:gd name="connsiteX480" fmla="*/ 2322813 w 12084394"/>
                <a:gd name="connsiteY480" fmla="*/ 2759225 h 4077840"/>
                <a:gd name="connsiteX481" fmla="*/ 2202306 w 12084394"/>
                <a:gd name="connsiteY481" fmla="*/ 2879734 h 4077840"/>
                <a:gd name="connsiteX482" fmla="*/ 2081795 w 12084394"/>
                <a:gd name="connsiteY482" fmla="*/ 2759225 h 4077840"/>
                <a:gd name="connsiteX483" fmla="*/ 2202306 w 12084394"/>
                <a:gd name="connsiteY483" fmla="*/ 2638717 h 4077840"/>
                <a:gd name="connsiteX484" fmla="*/ 1690412 w 12084394"/>
                <a:gd name="connsiteY484" fmla="*/ 2638717 h 4077840"/>
                <a:gd name="connsiteX485" fmla="*/ 1810920 w 12084394"/>
                <a:gd name="connsiteY485" fmla="*/ 2759225 h 4077840"/>
                <a:gd name="connsiteX486" fmla="*/ 1690412 w 12084394"/>
                <a:gd name="connsiteY486" fmla="*/ 2879734 h 4077840"/>
                <a:gd name="connsiteX487" fmla="*/ 1569905 w 12084394"/>
                <a:gd name="connsiteY487" fmla="*/ 2759225 h 4077840"/>
                <a:gd name="connsiteX488" fmla="*/ 1690412 w 12084394"/>
                <a:gd name="connsiteY488" fmla="*/ 2638717 h 4077840"/>
                <a:gd name="connsiteX489" fmla="*/ 1178354 w 12084394"/>
                <a:gd name="connsiteY489" fmla="*/ 2638717 h 4077840"/>
                <a:gd name="connsiteX490" fmla="*/ 1298862 w 12084394"/>
                <a:gd name="connsiteY490" fmla="*/ 2759225 h 4077840"/>
                <a:gd name="connsiteX491" fmla="*/ 1178354 w 12084394"/>
                <a:gd name="connsiteY491" fmla="*/ 2879734 h 4077840"/>
                <a:gd name="connsiteX492" fmla="*/ 1057846 w 12084394"/>
                <a:gd name="connsiteY492" fmla="*/ 2759225 h 4077840"/>
                <a:gd name="connsiteX493" fmla="*/ 1178354 w 12084394"/>
                <a:gd name="connsiteY493" fmla="*/ 2638717 h 4077840"/>
                <a:gd name="connsiteX494" fmla="*/ 666483 w 12084394"/>
                <a:gd name="connsiteY494" fmla="*/ 2638717 h 4077840"/>
                <a:gd name="connsiteX495" fmla="*/ 786991 w 12084394"/>
                <a:gd name="connsiteY495" fmla="*/ 2759225 h 4077840"/>
                <a:gd name="connsiteX496" fmla="*/ 666483 w 12084394"/>
                <a:gd name="connsiteY496" fmla="*/ 2879734 h 4077840"/>
                <a:gd name="connsiteX497" fmla="*/ 545976 w 12084394"/>
                <a:gd name="connsiteY497" fmla="*/ 2759225 h 4077840"/>
                <a:gd name="connsiteX498" fmla="*/ 666483 w 12084394"/>
                <a:gd name="connsiteY498" fmla="*/ 2638717 h 4077840"/>
                <a:gd name="connsiteX499" fmla="*/ 154426 w 12084394"/>
                <a:gd name="connsiteY499" fmla="*/ 2638717 h 4077840"/>
                <a:gd name="connsiteX500" fmla="*/ 274934 w 12084394"/>
                <a:gd name="connsiteY500" fmla="*/ 2759225 h 4077840"/>
                <a:gd name="connsiteX501" fmla="*/ 154426 w 12084394"/>
                <a:gd name="connsiteY501" fmla="*/ 2879734 h 4077840"/>
                <a:gd name="connsiteX502" fmla="*/ 33919 w 12084394"/>
                <a:gd name="connsiteY502" fmla="*/ 2759225 h 4077840"/>
                <a:gd name="connsiteX503" fmla="*/ 154426 w 12084394"/>
                <a:gd name="connsiteY503" fmla="*/ 2638717 h 4077840"/>
                <a:gd name="connsiteX504" fmla="*/ 11929965 w 12084394"/>
                <a:gd name="connsiteY504" fmla="*/ 2198994 h 4077840"/>
                <a:gd name="connsiteX505" fmla="*/ 12036118 w 12084394"/>
                <a:gd name="connsiteY505" fmla="*/ 2305147 h 4077840"/>
                <a:gd name="connsiteX506" fmla="*/ 11929965 w 12084394"/>
                <a:gd name="connsiteY506" fmla="*/ 2411300 h 4077840"/>
                <a:gd name="connsiteX507" fmla="*/ 11823812 w 12084394"/>
                <a:gd name="connsiteY507" fmla="*/ 2305147 h 4077840"/>
                <a:gd name="connsiteX508" fmla="*/ 11929965 w 12084394"/>
                <a:gd name="connsiteY508" fmla="*/ 2198994 h 4077840"/>
                <a:gd name="connsiteX509" fmla="*/ 11417900 w 12084394"/>
                <a:gd name="connsiteY509" fmla="*/ 2198994 h 4077840"/>
                <a:gd name="connsiteX510" fmla="*/ 11524053 w 12084394"/>
                <a:gd name="connsiteY510" fmla="*/ 2305147 h 4077840"/>
                <a:gd name="connsiteX511" fmla="*/ 11417900 w 12084394"/>
                <a:gd name="connsiteY511" fmla="*/ 2411300 h 4077840"/>
                <a:gd name="connsiteX512" fmla="*/ 11311747 w 12084394"/>
                <a:gd name="connsiteY512" fmla="*/ 2305147 h 4077840"/>
                <a:gd name="connsiteX513" fmla="*/ 11417900 w 12084394"/>
                <a:gd name="connsiteY513" fmla="*/ 2198994 h 4077840"/>
                <a:gd name="connsiteX514" fmla="*/ 10906023 w 12084394"/>
                <a:gd name="connsiteY514" fmla="*/ 2198994 h 4077840"/>
                <a:gd name="connsiteX515" fmla="*/ 11012176 w 12084394"/>
                <a:gd name="connsiteY515" fmla="*/ 2305147 h 4077840"/>
                <a:gd name="connsiteX516" fmla="*/ 10906023 w 12084394"/>
                <a:gd name="connsiteY516" fmla="*/ 2411300 h 4077840"/>
                <a:gd name="connsiteX517" fmla="*/ 10799870 w 12084394"/>
                <a:gd name="connsiteY517" fmla="*/ 2305147 h 4077840"/>
                <a:gd name="connsiteX518" fmla="*/ 10906023 w 12084394"/>
                <a:gd name="connsiteY518" fmla="*/ 2198994 h 4077840"/>
                <a:gd name="connsiteX519" fmla="*/ 10393957 w 12084394"/>
                <a:gd name="connsiteY519" fmla="*/ 2198994 h 4077840"/>
                <a:gd name="connsiteX520" fmla="*/ 10500110 w 12084394"/>
                <a:gd name="connsiteY520" fmla="*/ 2305147 h 4077840"/>
                <a:gd name="connsiteX521" fmla="*/ 10393957 w 12084394"/>
                <a:gd name="connsiteY521" fmla="*/ 2411300 h 4077840"/>
                <a:gd name="connsiteX522" fmla="*/ 10287804 w 12084394"/>
                <a:gd name="connsiteY522" fmla="*/ 2305147 h 4077840"/>
                <a:gd name="connsiteX523" fmla="*/ 10393957 w 12084394"/>
                <a:gd name="connsiteY523" fmla="*/ 2198994 h 4077840"/>
                <a:gd name="connsiteX524" fmla="*/ 9882079 w 12084394"/>
                <a:gd name="connsiteY524" fmla="*/ 2198994 h 4077840"/>
                <a:gd name="connsiteX525" fmla="*/ 9988232 w 12084394"/>
                <a:gd name="connsiteY525" fmla="*/ 2305147 h 4077840"/>
                <a:gd name="connsiteX526" fmla="*/ 9882079 w 12084394"/>
                <a:gd name="connsiteY526" fmla="*/ 2411300 h 4077840"/>
                <a:gd name="connsiteX527" fmla="*/ 9775926 w 12084394"/>
                <a:gd name="connsiteY527" fmla="*/ 2305147 h 4077840"/>
                <a:gd name="connsiteX528" fmla="*/ 9882079 w 12084394"/>
                <a:gd name="connsiteY528" fmla="*/ 2198994 h 4077840"/>
                <a:gd name="connsiteX529" fmla="*/ 9370014 w 12084394"/>
                <a:gd name="connsiteY529" fmla="*/ 2198994 h 4077840"/>
                <a:gd name="connsiteX530" fmla="*/ 9476167 w 12084394"/>
                <a:gd name="connsiteY530" fmla="*/ 2305147 h 4077840"/>
                <a:gd name="connsiteX531" fmla="*/ 9370014 w 12084394"/>
                <a:gd name="connsiteY531" fmla="*/ 2411300 h 4077840"/>
                <a:gd name="connsiteX532" fmla="*/ 9263861 w 12084394"/>
                <a:gd name="connsiteY532" fmla="*/ 2305147 h 4077840"/>
                <a:gd name="connsiteX533" fmla="*/ 9370014 w 12084394"/>
                <a:gd name="connsiteY533" fmla="*/ 2198994 h 4077840"/>
                <a:gd name="connsiteX534" fmla="*/ 8858136 w 12084394"/>
                <a:gd name="connsiteY534" fmla="*/ 2198994 h 4077840"/>
                <a:gd name="connsiteX535" fmla="*/ 8964289 w 12084394"/>
                <a:gd name="connsiteY535" fmla="*/ 2305147 h 4077840"/>
                <a:gd name="connsiteX536" fmla="*/ 8858136 w 12084394"/>
                <a:gd name="connsiteY536" fmla="*/ 2411300 h 4077840"/>
                <a:gd name="connsiteX537" fmla="*/ 8751983 w 12084394"/>
                <a:gd name="connsiteY537" fmla="*/ 2305147 h 4077840"/>
                <a:gd name="connsiteX538" fmla="*/ 8858136 w 12084394"/>
                <a:gd name="connsiteY538" fmla="*/ 2198994 h 4077840"/>
                <a:gd name="connsiteX539" fmla="*/ 8346071 w 12084394"/>
                <a:gd name="connsiteY539" fmla="*/ 2198994 h 4077840"/>
                <a:gd name="connsiteX540" fmla="*/ 8452224 w 12084394"/>
                <a:gd name="connsiteY540" fmla="*/ 2305147 h 4077840"/>
                <a:gd name="connsiteX541" fmla="*/ 8346071 w 12084394"/>
                <a:gd name="connsiteY541" fmla="*/ 2411300 h 4077840"/>
                <a:gd name="connsiteX542" fmla="*/ 8239918 w 12084394"/>
                <a:gd name="connsiteY542" fmla="*/ 2305147 h 4077840"/>
                <a:gd name="connsiteX543" fmla="*/ 8346071 w 12084394"/>
                <a:gd name="connsiteY543" fmla="*/ 2198994 h 4077840"/>
                <a:gd name="connsiteX544" fmla="*/ 7834194 w 12084394"/>
                <a:gd name="connsiteY544" fmla="*/ 2198994 h 4077840"/>
                <a:gd name="connsiteX545" fmla="*/ 7940347 w 12084394"/>
                <a:gd name="connsiteY545" fmla="*/ 2305147 h 4077840"/>
                <a:gd name="connsiteX546" fmla="*/ 7834194 w 12084394"/>
                <a:gd name="connsiteY546" fmla="*/ 2411300 h 4077840"/>
                <a:gd name="connsiteX547" fmla="*/ 7728041 w 12084394"/>
                <a:gd name="connsiteY547" fmla="*/ 2305147 h 4077840"/>
                <a:gd name="connsiteX548" fmla="*/ 7834194 w 12084394"/>
                <a:gd name="connsiteY548" fmla="*/ 2198994 h 4077840"/>
                <a:gd name="connsiteX549" fmla="*/ 7322128 w 12084394"/>
                <a:gd name="connsiteY549" fmla="*/ 2198994 h 4077840"/>
                <a:gd name="connsiteX550" fmla="*/ 7428281 w 12084394"/>
                <a:gd name="connsiteY550" fmla="*/ 2305147 h 4077840"/>
                <a:gd name="connsiteX551" fmla="*/ 7322128 w 12084394"/>
                <a:gd name="connsiteY551" fmla="*/ 2411300 h 4077840"/>
                <a:gd name="connsiteX552" fmla="*/ 7215975 w 12084394"/>
                <a:gd name="connsiteY552" fmla="*/ 2305147 h 4077840"/>
                <a:gd name="connsiteX553" fmla="*/ 7322128 w 12084394"/>
                <a:gd name="connsiteY553" fmla="*/ 2198994 h 4077840"/>
                <a:gd name="connsiteX554" fmla="*/ 6810062 w 12084394"/>
                <a:gd name="connsiteY554" fmla="*/ 2198994 h 4077840"/>
                <a:gd name="connsiteX555" fmla="*/ 6916215 w 12084394"/>
                <a:gd name="connsiteY555" fmla="*/ 2305147 h 4077840"/>
                <a:gd name="connsiteX556" fmla="*/ 6810062 w 12084394"/>
                <a:gd name="connsiteY556" fmla="*/ 2411300 h 4077840"/>
                <a:gd name="connsiteX557" fmla="*/ 6703909 w 12084394"/>
                <a:gd name="connsiteY557" fmla="*/ 2305147 h 4077840"/>
                <a:gd name="connsiteX558" fmla="*/ 6810062 w 12084394"/>
                <a:gd name="connsiteY558" fmla="*/ 2198994 h 4077840"/>
                <a:gd name="connsiteX559" fmla="*/ 6298186 w 12084394"/>
                <a:gd name="connsiteY559" fmla="*/ 2198994 h 4077840"/>
                <a:gd name="connsiteX560" fmla="*/ 6404338 w 12084394"/>
                <a:gd name="connsiteY560" fmla="*/ 2305147 h 4077840"/>
                <a:gd name="connsiteX561" fmla="*/ 6298186 w 12084394"/>
                <a:gd name="connsiteY561" fmla="*/ 2411300 h 4077840"/>
                <a:gd name="connsiteX562" fmla="*/ 6192032 w 12084394"/>
                <a:gd name="connsiteY562" fmla="*/ 2305147 h 4077840"/>
                <a:gd name="connsiteX563" fmla="*/ 6298186 w 12084394"/>
                <a:gd name="connsiteY563" fmla="*/ 2198994 h 4077840"/>
                <a:gd name="connsiteX564" fmla="*/ 5786126 w 12084394"/>
                <a:gd name="connsiteY564" fmla="*/ 2198994 h 4077840"/>
                <a:gd name="connsiteX565" fmla="*/ 5892275 w 12084394"/>
                <a:gd name="connsiteY565" fmla="*/ 2305147 h 4077840"/>
                <a:gd name="connsiteX566" fmla="*/ 5786126 w 12084394"/>
                <a:gd name="connsiteY566" fmla="*/ 2411300 h 4077840"/>
                <a:gd name="connsiteX567" fmla="*/ 5679979 w 12084394"/>
                <a:gd name="connsiteY567" fmla="*/ 2305147 h 4077840"/>
                <a:gd name="connsiteX568" fmla="*/ 5786126 w 12084394"/>
                <a:gd name="connsiteY568" fmla="*/ 2198994 h 4077840"/>
                <a:gd name="connsiteX569" fmla="*/ 5274270 w 12084394"/>
                <a:gd name="connsiteY569" fmla="*/ 2198994 h 4077840"/>
                <a:gd name="connsiteX570" fmla="*/ 5380420 w 12084394"/>
                <a:gd name="connsiteY570" fmla="*/ 2305147 h 4077840"/>
                <a:gd name="connsiteX571" fmla="*/ 5274270 w 12084394"/>
                <a:gd name="connsiteY571" fmla="*/ 2411300 h 4077840"/>
                <a:gd name="connsiteX572" fmla="*/ 5168119 w 12084394"/>
                <a:gd name="connsiteY572" fmla="*/ 2305147 h 4077840"/>
                <a:gd name="connsiteX573" fmla="*/ 5274270 w 12084394"/>
                <a:gd name="connsiteY573" fmla="*/ 2198994 h 4077840"/>
                <a:gd name="connsiteX574" fmla="*/ 4762180 w 12084394"/>
                <a:gd name="connsiteY574" fmla="*/ 2198994 h 4077840"/>
                <a:gd name="connsiteX575" fmla="*/ 4868369 w 12084394"/>
                <a:gd name="connsiteY575" fmla="*/ 2305147 h 4077840"/>
                <a:gd name="connsiteX576" fmla="*/ 4762180 w 12084394"/>
                <a:gd name="connsiteY576" fmla="*/ 2411300 h 4077840"/>
                <a:gd name="connsiteX577" fmla="*/ 4656043 w 12084394"/>
                <a:gd name="connsiteY577" fmla="*/ 2305147 h 4077840"/>
                <a:gd name="connsiteX578" fmla="*/ 4762180 w 12084394"/>
                <a:gd name="connsiteY578" fmla="*/ 2198994 h 4077840"/>
                <a:gd name="connsiteX579" fmla="*/ 4250316 w 12084394"/>
                <a:gd name="connsiteY579" fmla="*/ 2198994 h 4077840"/>
                <a:gd name="connsiteX580" fmla="*/ 4356476 w 12084394"/>
                <a:gd name="connsiteY580" fmla="*/ 2305147 h 4077840"/>
                <a:gd name="connsiteX581" fmla="*/ 4250316 w 12084394"/>
                <a:gd name="connsiteY581" fmla="*/ 2411300 h 4077840"/>
                <a:gd name="connsiteX582" fmla="*/ 4144156 w 12084394"/>
                <a:gd name="connsiteY582" fmla="*/ 2305147 h 4077840"/>
                <a:gd name="connsiteX583" fmla="*/ 4250316 w 12084394"/>
                <a:gd name="connsiteY583" fmla="*/ 2198994 h 4077840"/>
                <a:gd name="connsiteX584" fmla="*/ 3738289 w 12084394"/>
                <a:gd name="connsiteY584" fmla="*/ 2198994 h 4077840"/>
                <a:gd name="connsiteX585" fmla="*/ 3844442 w 12084394"/>
                <a:gd name="connsiteY585" fmla="*/ 2305147 h 4077840"/>
                <a:gd name="connsiteX586" fmla="*/ 3738289 w 12084394"/>
                <a:gd name="connsiteY586" fmla="*/ 2411300 h 4077840"/>
                <a:gd name="connsiteX587" fmla="*/ 3632128 w 12084394"/>
                <a:gd name="connsiteY587" fmla="*/ 2305147 h 4077840"/>
                <a:gd name="connsiteX588" fmla="*/ 3738289 w 12084394"/>
                <a:gd name="connsiteY588" fmla="*/ 2198994 h 4077840"/>
                <a:gd name="connsiteX589" fmla="*/ 3226242 w 12084394"/>
                <a:gd name="connsiteY589" fmla="*/ 2198994 h 4077840"/>
                <a:gd name="connsiteX590" fmla="*/ 3332405 w 12084394"/>
                <a:gd name="connsiteY590" fmla="*/ 2305147 h 4077840"/>
                <a:gd name="connsiteX591" fmla="*/ 3226242 w 12084394"/>
                <a:gd name="connsiteY591" fmla="*/ 2411300 h 4077840"/>
                <a:gd name="connsiteX592" fmla="*/ 3120089 w 12084394"/>
                <a:gd name="connsiteY592" fmla="*/ 2305147 h 4077840"/>
                <a:gd name="connsiteX593" fmla="*/ 3226242 w 12084394"/>
                <a:gd name="connsiteY593" fmla="*/ 2198994 h 4077840"/>
                <a:gd name="connsiteX594" fmla="*/ 2714363 w 12084394"/>
                <a:gd name="connsiteY594" fmla="*/ 2198994 h 4077840"/>
                <a:gd name="connsiteX595" fmla="*/ 2820518 w 12084394"/>
                <a:gd name="connsiteY595" fmla="*/ 2305147 h 4077840"/>
                <a:gd name="connsiteX596" fmla="*/ 2714363 w 12084394"/>
                <a:gd name="connsiteY596" fmla="*/ 2411300 h 4077840"/>
                <a:gd name="connsiteX597" fmla="*/ 2608208 w 12084394"/>
                <a:gd name="connsiteY597" fmla="*/ 2305147 h 4077840"/>
                <a:gd name="connsiteX598" fmla="*/ 2714363 w 12084394"/>
                <a:gd name="connsiteY598" fmla="*/ 2198994 h 4077840"/>
                <a:gd name="connsiteX599" fmla="*/ 2202306 w 12084394"/>
                <a:gd name="connsiteY599" fmla="*/ 2198994 h 4077840"/>
                <a:gd name="connsiteX600" fmla="*/ 2308457 w 12084394"/>
                <a:gd name="connsiteY600" fmla="*/ 2305147 h 4077840"/>
                <a:gd name="connsiteX601" fmla="*/ 2202306 w 12084394"/>
                <a:gd name="connsiteY601" fmla="*/ 2411300 h 4077840"/>
                <a:gd name="connsiteX602" fmla="*/ 2096153 w 12084394"/>
                <a:gd name="connsiteY602" fmla="*/ 2305147 h 4077840"/>
                <a:gd name="connsiteX603" fmla="*/ 2202306 w 12084394"/>
                <a:gd name="connsiteY603" fmla="*/ 2198994 h 4077840"/>
                <a:gd name="connsiteX604" fmla="*/ 1690413 w 12084394"/>
                <a:gd name="connsiteY604" fmla="*/ 2198994 h 4077840"/>
                <a:gd name="connsiteX605" fmla="*/ 1796565 w 12084394"/>
                <a:gd name="connsiteY605" fmla="*/ 2305147 h 4077840"/>
                <a:gd name="connsiteX606" fmla="*/ 1690413 w 12084394"/>
                <a:gd name="connsiteY606" fmla="*/ 2411300 h 4077840"/>
                <a:gd name="connsiteX607" fmla="*/ 1584260 w 12084394"/>
                <a:gd name="connsiteY607" fmla="*/ 2305147 h 4077840"/>
                <a:gd name="connsiteX608" fmla="*/ 1690413 w 12084394"/>
                <a:gd name="connsiteY608" fmla="*/ 2198994 h 4077840"/>
                <a:gd name="connsiteX609" fmla="*/ 1178353 w 12084394"/>
                <a:gd name="connsiteY609" fmla="*/ 2198994 h 4077840"/>
                <a:gd name="connsiteX610" fmla="*/ 1284506 w 12084394"/>
                <a:gd name="connsiteY610" fmla="*/ 2305147 h 4077840"/>
                <a:gd name="connsiteX611" fmla="*/ 1178353 w 12084394"/>
                <a:gd name="connsiteY611" fmla="*/ 2411300 h 4077840"/>
                <a:gd name="connsiteX612" fmla="*/ 1072201 w 12084394"/>
                <a:gd name="connsiteY612" fmla="*/ 2305147 h 4077840"/>
                <a:gd name="connsiteX613" fmla="*/ 1178353 w 12084394"/>
                <a:gd name="connsiteY613" fmla="*/ 2198994 h 4077840"/>
                <a:gd name="connsiteX614" fmla="*/ 666483 w 12084394"/>
                <a:gd name="connsiteY614" fmla="*/ 2198994 h 4077840"/>
                <a:gd name="connsiteX615" fmla="*/ 772636 w 12084394"/>
                <a:gd name="connsiteY615" fmla="*/ 2305147 h 4077840"/>
                <a:gd name="connsiteX616" fmla="*/ 666483 w 12084394"/>
                <a:gd name="connsiteY616" fmla="*/ 2411300 h 4077840"/>
                <a:gd name="connsiteX617" fmla="*/ 560331 w 12084394"/>
                <a:gd name="connsiteY617" fmla="*/ 2305147 h 4077840"/>
                <a:gd name="connsiteX618" fmla="*/ 666483 w 12084394"/>
                <a:gd name="connsiteY618" fmla="*/ 2198994 h 4077840"/>
                <a:gd name="connsiteX619" fmla="*/ 154426 w 12084394"/>
                <a:gd name="connsiteY619" fmla="*/ 2198994 h 4077840"/>
                <a:gd name="connsiteX620" fmla="*/ 260578 w 12084394"/>
                <a:gd name="connsiteY620" fmla="*/ 2305147 h 4077840"/>
                <a:gd name="connsiteX621" fmla="*/ 154426 w 12084394"/>
                <a:gd name="connsiteY621" fmla="*/ 2411300 h 4077840"/>
                <a:gd name="connsiteX622" fmla="*/ 48274 w 12084394"/>
                <a:gd name="connsiteY622" fmla="*/ 2305147 h 4077840"/>
                <a:gd name="connsiteX623" fmla="*/ 154426 w 12084394"/>
                <a:gd name="connsiteY623" fmla="*/ 2198994 h 4077840"/>
                <a:gd name="connsiteX624" fmla="*/ 11929966 w 12084394"/>
                <a:gd name="connsiteY624" fmla="*/ 1759082 h 4077840"/>
                <a:gd name="connsiteX625" fmla="*/ 12021952 w 12084394"/>
                <a:gd name="connsiteY625" fmla="*/ 1851069 h 4077840"/>
                <a:gd name="connsiteX626" fmla="*/ 11929966 w 12084394"/>
                <a:gd name="connsiteY626" fmla="*/ 1943055 h 4077840"/>
                <a:gd name="connsiteX627" fmla="*/ 11837979 w 12084394"/>
                <a:gd name="connsiteY627" fmla="*/ 1851069 h 4077840"/>
                <a:gd name="connsiteX628" fmla="*/ 11929966 w 12084394"/>
                <a:gd name="connsiteY628" fmla="*/ 1759082 h 4077840"/>
                <a:gd name="connsiteX629" fmla="*/ 11417900 w 12084394"/>
                <a:gd name="connsiteY629" fmla="*/ 1759082 h 4077840"/>
                <a:gd name="connsiteX630" fmla="*/ 11509887 w 12084394"/>
                <a:gd name="connsiteY630" fmla="*/ 1851069 h 4077840"/>
                <a:gd name="connsiteX631" fmla="*/ 11417900 w 12084394"/>
                <a:gd name="connsiteY631" fmla="*/ 1943055 h 4077840"/>
                <a:gd name="connsiteX632" fmla="*/ 11325913 w 12084394"/>
                <a:gd name="connsiteY632" fmla="*/ 1851069 h 4077840"/>
                <a:gd name="connsiteX633" fmla="*/ 11417900 w 12084394"/>
                <a:gd name="connsiteY633" fmla="*/ 1759082 h 4077840"/>
                <a:gd name="connsiteX634" fmla="*/ 10906023 w 12084394"/>
                <a:gd name="connsiteY634" fmla="*/ 1759082 h 4077840"/>
                <a:gd name="connsiteX635" fmla="*/ 10998010 w 12084394"/>
                <a:gd name="connsiteY635" fmla="*/ 1851069 h 4077840"/>
                <a:gd name="connsiteX636" fmla="*/ 10906023 w 12084394"/>
                <a:gd name="connsiteY636" fmla="*/ 1943055 h 4077840"/>
                <a:gd name="connsiteX637" fmla="*/ 10814037 w 12084394"/>
                <a:gd name="connsiteY637" fmla="*/ 1851069 h 4077840"/>
                <a:gd name="connsiteX638" fmla="*/ 10906023 w 12084394"/>
                <a:gd name="connsiteY638" fmla="*/ 1759082 h 4077840"/>
                <a:gd name="connsiteX639" fmla="*/ 10393957 w 12084394"/>
                <a:gd name="connsiteY639" fmla="*/ 1759082 h 4077840"/>
                <a:gd name="connsiteX640" fmla="*/ 10485943 w 12084394"/>
                <a:gd name="connsiteY640" fmla="*/ 1851069 h 4077840"/>
                <a:gd name="connsiteX641" fmla="*/ 10393957 w 12084394"/>
                <a:gd name="connsiteY641" fmla="*/ 1943055 h 4077840"/>
                <a:gd name="connsiteX642" fmla="*/ 10301970 w 12084394"/>
                <a:gd name="connsiteY642" fmla="*/ 1851069 h 4077840"/>
                <a:gd name="connsiteX643" fmla="*/ 10393957 w 12084394"/>
                <a:gd name="connsiteY643" fmla="*/ 1759082 h 4077840"/>
                <a:gd name="connsiteX644" fmla="*/ 9882080 w 12084394"/>
                <a:gd name="connsiteY644" fmla="*/ 1759082 h 4077840"/>
                <a:gd name="connsiteX645" fmla="*/ 9974067 w 12084394"/>
                <a:gd name="connsiteY645" fmla="*/ 1851069 h 4077840"/>
                <a:gd name="connsiteX646" fmla="*/ 9882080 w 12084394"/>
                <a:gd name="connsiteY646" fmla="*/ 1943055 h 4077840"/>
                <a:gd name="connsiteX647" fmla="*/ 9790093 w 12084394"/>
                <a:gd name="connsiteY647" fmla="*/ 1851069 h 4077840"/>
                <a:gd name="connsiteX648" fmla="*/ 9882080 w 12084394"/>
                <a:gd name="connsiteY648" fmla="*/ 1759082 h 4077840"/>
                <a:gd name="connsiteX649" fmla="*/ 9370014 w 12084394"/>
                <a:gd name="connsiteY649" fmla="*/ 1759082 h 4077840"/>
                <a:gd name="connsiteX650" fmla="*/ 9462000 w 12084394"/>
                <a:gd name="connsiteY650" fmla="*/ 1851069 h 4077840"/>
                <a:gd name="connsiteX651" fmla="*/ 9370014 w 12084394"/>
                <a:gd name="connsiteY651" fmla="*/ 1943055 h 4077840"/>
                <a:gd name="connsiteX652" fmla="*/ 9278027 w 12084394"/>
                <a:gd name="connsiteY652" fmla="*/ 1851069 h 4077840"/>
                <a:gd name="connsiteX653" fmla="*/ 9370014 w 12084394"/>
                <a:gd name="connsiteY653" fmla="*/ 1759082 h 4077840"/>
                <a:gd name="connsiteX654" fmla="*/ 8858137 w 12084394"/>
                <a:gd name="connsiteY654" fmla="*/ 1759082 h 4077840"/>
                <a:gd name="connsiteX655" fmla="*/ 8950123 w 12084394"/>
                <a:gd name="connsiteY655" fmla="*/ 1851069 h 4077840"/>
                <a:gd name="connsiteX656" fmla="*/ 8858137 w 12084394"/>
                <a:gd name="connsiteY656" fmla="*/ 1943055 h 4077840"/>
                <a:gd name="connsiteX657" fmla="*/ 8766150 w 12084394"/>
                <a:gd name="connsiteY657" fmla="*/ 1851069 h 4077840"/>
                <a:gd name="connsiteX658" fmla="*/ 8858137 w 12084394"/>
                <a:gd name="connsiteY658" fmla="*/ 1759082 h 4077840"/>
                <a:gd name="connsiteX659" fmla="*/ 8346071 w 12084394"/>
                <a:gd name="connsiteY659" fmla="*/ 1759082 h 4077840"/>
                <a:gd name="connsiteX660" fmla="*/ 8438058 w 12084394"/>
                <a:gd name="connsiteY660" fmla="*/ 1851069 h 4077840"/>
                <a:gd name="connsiteX661" fmla="*/ 8346071 w 12084394"/>
                <a:gd name="connsiteY661" fmla="*/ 1943055 h 4077840"/>
                <a:gd name="connsiteX662" fmla="*/ 8254084 w 12084394"/>
                <a:gd name="connsiteY662" fmla="*/ 1851069 h 4077840"/>
                <a:gd name="connsiteX663" fmla="*/ 8346071 w 12084394"/>
                <a:gd name="connsiteY663" fmla="*/ 1759082 h 4077840"/>
                <a:gd name="connsiteX664" fmla="*/ 7834005 w 12084394"/>
                <a:gd name="connsiteY664" fmla="*/ 1759082 h 4077840"/>
                <a:gd name="connsiteX665" fmla="*/ 7925992 w 12084394"/>
                <a:gd name="connsiteY665" fmla="*/ 1851069 h 4077840"/>
                <a:gd name="connsiteX666" fmla="*/ 7834005 w 12084394"/>
                <a:gd name="connsiteY666" fmla="*/ 1943055 h 4077840"/>
                <a:gd name="connsiteX667" fmla="*/ 7742018 w 12084394"/>
                <a:gd name="connsiteY667" fmla="*/ 1851069 h 4077840"/>
                <a:gd name="connsiteX668" fmla="*/ 7834005 w 12084394"/>
                <a:gd name="connsiteY668" fmla="*/ 1759082 h 4077840"/>
                <a:gd name="connsiteX669" fmla="*/ 7322128 w 12084394"/>
                <a:gd name="connsiteY669" fmla="*/ 1759082 h 4077840"/>
                <a:gd name="connsiteX670" fmla="*/ 7414115 w 12084394"/>
                <a:gd name="connsiteY670" fmla="*/ 1851069 h 4077840"/>
                <a:gd name="connsiteX671" fmla="*/ 7322128 w 12084394"/>
                <a:gd name="connsiteY671" fmla="*/ 1943055 h 4077840"/>
                <a:gd name="connsiteX672" fmla="*/ 7230141 w 12084394"/>
                <a:gd name="connsiteY672" fmla="*/ 1851069 h 4077840"/>
                <a:gd name="connsiteX673" fmla="*/ 7322128 w 12084394"/>
                <a:gd name="connsiteY673" fmla="*/ 1759082 h 4077840"/>
                <a:gd name="connsiteX674" fmla="*/ 6810062 w 12084394"/>
                <a:gd name="connsiteY674" fmla="*/ 1759082 h 4077840"/>
                <a:gd name="connsiteX675" fmla="*/ 6902048 w 12084394"/>
                <a:gd name="connsiteY675" fmla="*/ 1851069 h 4077840"/>
                <a:gd name="connsiteX676" fmla="*/ 6810062 w 12084394"/>
                <a:gd name="connsiteY676" fmla="*/ 1943055 h 4077840"/>
                <a:gd name="connsiteX677" fmla="*/ 6718075 w 12084394"/>
                <a:gd name="connsiteY677" fmla="*/ 1851069 h 4077840"/>
                <a:gd name="connsiteX678" fmla="*/ 6810062 w 12084394"/>
                <a:gd name="connsiteY678" fmla="*/ 1759082 h 4077840"/>
                <a:gd name="connsiteX679" fmla="*/ 6298186 w 12084394"/>
                <a:gd name="connsiteY679" fmla="*/ 1759082 h 4077840"/>
                <a:gd name="connsiteX680" fmla="*/ 6390172 w 12084394"/>
                <a:gd name="connsiteY680" fmla="*/ 1851069 h 4077840"/>
                <a:gd name="connsiteX681" fmla="*/ 6298186 w 12084394"/>
                <a:gd name="connsiteY681" fmla="*/ 1943055 h 4077840"/>
                <a:gd name="connsiteX682" fmla="*/ 6206198 w 12084394"/>
                <a:gd name="connsiteY682" fmla="*/ 1851069 h 4077840"/>
                <a:gd name="connsiteX683" fmla="*/ 6298186 w 12084394"/>
                <a:gd name="connsiteY683" fmla="*/ 1759082 h 4077840"/>
                <a:gd name="connsiteX684" fmla="*/ 5786126 w 12084394"/>
                <a:gd name="connsiteY684" fmla="*/ 1759082 h 4077840"/>
                <a:gd name="connsiteX685" fmla="*/ 5878110 w 12084394"/>
                <a:gd name="connsiteY685" fmla="*/ 1851069 h 4077840"/>
                <a:gd name="connsiteX686" fmla="*/ 5786126 w 12084394"/>
                <a:gd name="connsiteY686" fmla="*/ 1943055 h 4077840"/>
                <a:gd name="connsiteX687" fmla="*/ 5694144 w 12084394"/>
                <a:gd name="connsiteY687" fmla="*/ 1851069 h 4077840"/>
                <a:gd name="connsiteX688" fmla="*/ 5786126 w 12084394"/>
                <a:gd name="connsiteY688" fmla="*/ 1759082 h 4077840"/>
                <a:gd name="connsiteX689" fmla="*/ 5274270 w 12084394"/>
                <a:gd name="connsiteY689" fmla="*/ 1759082 h 4077840"/>
                <a:gd name="connsiteX690" fmla="*/ 5366255 w 12084394"/>
                <a:gd name="connsiteY690" fmla="*/ 1851069 h 4077840"/>
                <a:gd name="connsiteX691" fmla="*/ 5274270 w 12084394"/>
                <a:gd name="connsiteY691" fmla="*/ 1943055 h 4077840"/>
                <a:gd name="connsiteX692" fmla="*/ 5182283 w 12084394"/>
                <a:gd name="connsiteY692" fmla="*/ 1851069 h 4077840"/>
                <a:gd name="connsiteX693" fmla="*/ 5274270 w 12084394"/>
                <a:gd name="connsiteY693" fmla="*/ 1759082 h 4077840"/>
                <a:gd name="connsiteX694" fmla="*/ 4762180 w 12084394"/>
                <a:gd name="connsiteY694" fmla="*/ 1759082 h 4077840"/>
                <a:gd name="connsiteX695" fmla="*/ 4854198 w 12084394"/>
                <a:gd name="connsiteY695" fmla="*/ 1851069 h 4077840"/>
                <a:gd name="connsiteX696" fmla="*/ 4762180 w 12084394"/>
                <a:gd name="connsiteY696" fmla="*/ 1943055 h 4077840"/>
                <a:gd name="connsiteX697" fmla="*/ 4670207 w 12084394"/>
                <a:gd name="connsiteY697" fmla="*/ 1851069 h 4077840"/>
                <a:gd name="connsiteX698" fmla="*/ 4762180 w 12084394"/>
                <a:gd name="connsiteY698" fmla="*/ 1759082 h 4077840"/>
                <a:gd name="connsiteX699" fmla="*/ 4250316 w 12084394"/>
                <a:gd name="connsiteY699" fmla="*/ 1759082 h 4077840"/>
                <a:gd name="connsiteX700" fmla="*/ 4342309 w 12084394"/>
                <a:gd name="connsiteY700" fmla="*/ 1851069 h 4077840"/>
                <a:gd name="connsiteX701" fmla="*/ 4250316 w 12084394"/>
                <a:gd name="connsiteY701" fmla="*/ 1943055 h 4077840"/>
                <a:gd name="connsiteX702" fmla="*/ 4158324 w 12084394"/>
                <a:gd name="connsiteY702" fmla="*/ 1851069 h 4077840"/>
                <a:gd name="connsiteX703" fmla="*/ 4250316 w 12084394"/>
                <a:gd name="connsiteY703" fmla="*/ 1759082 h 4077840"/>
                <a:gd name="connsiteX704" fmla="*/ 3738289 w 12084394"/>
                <a:gd name="connsiteY704" fmla="*/ 1759082 h 4077840"/>
                <a:gd name="connsiteX705" fmla="*/ 3830274 w 12084394"/>
                <a:gd name="connsiteY705" fmla="*/ 1851069 h 4077840"/>
                <a:gd name="connsiteX706" fmla="*/ 3738289 w 12084394"/>
                <a:gd name="connsiteY706" fmla="*/ 1943055 h 4077840"/>
                <a:gd name="connsiteX707" fmla="*/ 3646291 w 12084394"/>
                <a:gd name="connsiteY707" fmla="*/ 1851069 h 4077840"/>
                <a:gd name="connsiteX708" fmla="*/ 3738289 w 12084394"/>
                <a:gd name="connsiteY708" fmla="*/ 1759082 h 4077840"/>
                <a:gd name="connsiteX709" fmla="*/ 3226242 w 12084394"/>
                <a:gd name="connsiteY709" fmla="*/ 1759082 h 4077840"/>
                <a:gd name="connsiteX710" fmla="*/ 3318235 w 12084394"/>
                <a:gd name="connsiteY710" fmla="*/ 1851069 h 4077840"/>
                <a:gd name="connsiteX711" fmla="*/ 3226242 w 12084394"/>
                <a:gd name="connsiteY711" fmla="*/ 1943055 h 4077840"/>
                <a:gd name="connsiteX712" fmla="*/ 3134252 w 12084394"/>
                <a:gd name="connsiteY712" fmla="*/ 1851069 h 4077840"/>
                <a:gd name="connsiteX713" fmla="*/ 3226242 w 12084394"/>
                <a:gd name="connsiteY713" fmla="*/ 1759082 h 4077840"/>
                <a:gd name="connsiteX714" fmla="*/ 2714363 w 12084394"/>
                <a:gd name="connsiteY714" fmla="*/ 1759082 h 4077840"/>
                <a:gd name="connsiteX715" fmla="*/ 2806350 w 12084394"/>
                <a:gd name="connsiteY715" fmla="*/ 1851069 h 4077840"/>
                <a:gd name="connsiteX716" fmla="*/ 2714363 w 12084394"/>
                <a:gd name="connsiteY716" fmla="*/ 1943055 h 4077840"/>
                <a:gd name="connsiteX717" fmla="*/ 2622376 w 12084394"/>
                <a:gd name="connsiteY717" fmla="*/ 1851069 h 4077840"/>
                <a:gd name="connsiteX718" fmla="*/ 2714363 w 12084394"/>
                <a:gd name="connsiteY718" fmla="*/ 1759082 h 4077840"/>
                <a:gd name="connsiteX719" fmla="*/ 2202305 w 12084394"/>
                <a:gd name="connsiteY719" fmla="*/ 1759082 h 4077840"/>
                <a:gd name="connsiteX720" fmla="*/ 2294291 w 12084394"/>
                <a:gd name="connsiteY720" fmla="*/ 1851069 h 4077840"/>
                <a:gd name="connsiteX721" fmla="*/ 2202305 w 12084394"/>
                <a:gd name="connsiteY721" fmla="*/ 1943055 h 4077840"/>
                <a:gd name="connsiteX722" fmla="*/ 2110320 w 12084394"/>
                <a:gd name="connsiteY722" fmla="*/ 1851069 h 4077840"/>
                <a:gd name="connsiteX723" fmla="*/ 2202305 w 12084394"/>
                <a:gd name="connsiteY723" fmla="*/ 1759082 h 4077840"/>
                <a:gd name="connsiteX724" fmla="*/ 1690412 w 12084394"/>
                <a:gd name="connsiteY724" fmla="*/ 1759082 h 4077840"/>
                <a:gd name="connsiteX725" fmla="*/ 1782398 w 12084394"/>
                <a:gd name="connsiteY725" fmla="*/ 1851069 h 4077840"/>
                <a:gd name="connsiteX726" fmla="*/ 1690412 w 12084394"/>
                <a:gd name="connsiteY726" fmla="*/ 1943055 h 4077840"/>
                <a:gd name="connsiteX727" fmla="*/ 1598426 w 12084394"/>
                <a:gd name="connsiteY727" fmla="*/ 1851069 h 4077840"/>
                <a:gd name="connsiteX728" fmla="*/ 1690412 w 12084394"/>
                <a:gd name="connsiteY728" fmla="*/ 1759082 h 4077840"/>
                <a:gd name="connsiteX729" fmla="*/ 1178353 w 12084394"/>
                <a:gd name="connsiteY729" fmla="*/ 1759082 h 4077840"/>
                <a:gd name="connsiteX730" fmla="*/ 1270339 w 12084394"/>
                <a:gd name="connsiteY730" fmla="*/ 1851069 h 4077840"/>
                <a:gd name="connsiteX731" fmla="*/ 1178353 w 12084394"/>
                <a:gd name="connsiteY731" fmla="*/ 1943055 h 4077840"/>
                <a:gd name="connsiteX732" fmla="*/ 1086367 w 12084394"/>
                <a:gd name="connsiteY732" fmla="*/ 1851069 h 4077840"/>
                <a:gd name="connsiteX733" fmla="*/ 1178353 w 12084394"/>
                <a:gd name="connsiteY733" fmla="*/ 1759082 h 4077840"/>
                <a:gd name="connsiteX734" fmla="*/ 666483 w 12084394"/>
                <a:gd name="connsiteY734" fmla="*/ 1759082 h 4077840"/>
                <a:gd name="connsiteX735" fmla="*/ 758469 w 12084394"/>
                <a:gd name="connsiteY735" fmla="*/ 1851069 h 4077840"/>
                <a:gd name="connsiteX736" fmla="*/ 666483 w 12084394"/>
                <a:gd name="connsiteY736" fmla="*/ 1943055 h 4077840"/>
                <a:gd name="connsiteX737" fmla="*/ 574497 w 12084394"/>
                <a:gd name="connsiteY737" fmla="*/ 1851069 h 4077840"/>
                <a:gd name="connsiteX738" fmla="*/ 666483 w 12084394"/>
                <a:gd name="connsiteY738" fmla="*/ 1759082 h 4077840"/>
                <a:gd name="connsiteX739" fmla="*/ 154424 w 12084394"/>
                <a:gd name="connsiteY739" fmla="*/ 1759082 h 4077840"/>
                <a:gd name="connsiteX740" fmla="*/ 246411 w 12084394"/>
                <a:gd name="connsiteY740" fmla="*/ 1851069 h 4077840"/>
                <a:gd name="connsiteX741" fmla="*/ 154424 w 12084394"/>
                <a:gd name="connsiteY741" fmla="*/ 1943055 h 4077840"/>
                <a:gd name="connsiteX742" fmla="*/ 62438 w 12084394"/>
                <a:gd name="connsiteY742" fmla="*/ 1851069 h 4077840"/>
                <a:gd name="connsiteX743" fmla="*/ 154424 w 12084394"/>
                <a:gd name="connsiteY743" fmla="*/ 1759082 h 4077840"/>
                <a:gd name="connsiteX744" fmla="*/ 11929965 w 12084394"/>
                <a:gd name="connsiteY744" fmla="*/ 1319549 h 4077840"/>
                <a:gd name="connsiteX745" fmla="*/ 12007597 w 12084394"/>
                <a:gd name="connsiteY745" fmla="*/ 1397181 h 4077840"/>
                <a:gd name="connsiteX746" fmla="*/ 11929965 w 12084394"/>
                <a:gd name="connsiteY746" fmla="*/ 1474811 h 4077840"/>
                <a:gd name="connsiteX747" fmla="*/ 11852334 w 12084394"/>
                <a:gd name="connsiteY747" fmla="*/ 1397181 h 4077840"/>
                <a:gd name="connsiteX748" fmla="*/ 11929965 w 12084394"/>
                <a:gd name="connsiteY748" fmla="*/ 1319549 h 4077840"/>
                <a:gd name="connsiteX749" fmla="*/ 11417900 w 12084394"/>
                <a:gd name="connsiteY749" fmla="*/ 1319549 h 4077840"/>
                <a:gd name="connsiteX750" fmla="*/ 11495531 w 12084394"/>
                <a:gd name="connsiteY750" fmla="*/ 1397181 h 4077840"/>
                <a:gd name="connsiteX751" fmla="*/ 11417900 w 12084394"/>
                <a:gd name="connsiteY751" fmla="*/ 1474811 h 4077840"/>
                <a:gd name="connsiteX752" fmla="*/ 11340268 w 12084394"/>
                <a:gd name="connsiteY752" fmla="*/ 1397181 h 4077840"/>
                <a:gd name="connsiteX753" fmla="*/ 11417900 w 12084394"/>
                <a:gd name="connsiteY753" fmla="*/ 1319549 h 4077840"/>
                <a:gd name="connsiteX754" fmla="*/ 10906023 w 12084394"/>
                <a:gd name="connsiteY754" fmla="*/ 1319549 h 4077840"/>
                <a:gd name="connsiteX755" fmla="*/ 10983654 w 12084394"/>
                <a:gd name="connsiteY755" fmla="*/ 1397181 h 4077840"/>
                <a:gd name="connsiteX756" fmla="*/ 10906023 w 12084394"/>
                <a:gd name="connsiteY756" fmla="*/ 1474811 h 4077840"/>
                <a:gd name="connsiteX757" fmla="*/ 10828392 w 12084394"/>
                <a:gd name="connsiteY757" fmla="*/ 1397181 h 4077840"/>
                <a:gd name="connsiteX758" fmla="*/ 10906023 w 12084394"/>
                <a:gd name="connsiteY758" fmla="*/ 1319549 h 4077840"/>
                <a:gd name="connsiteX759" fmla="*/ 10393956 w 12084394"/>
                <a:gd name="connsiteY759" fmla="*/ 1319549 h 4077840"/>
                <a:gd name="connsiteX760" fmla="*/ 10471588 w 12084394"/>
                <a:gd name="connsiteY760" fmla="*/ 1397181 h 4077840"/>
                <a:gd name="connsiteX761" fmla="*/ 10393956 w 12084394"/>
                <a:gd name="connsiteY761" fmla="*/ 1474811 h 4077840"/>
                <a:gd name="connsiteX762" fmla="*/ 10316325 w 12084394"/>
                <a:gd name="connsiteY762" fmla="*/ 1397181 h 4077840"/>
                <a:gd name="connsiteX763" fmla="*/ 10393956 w 12084394"/>
                <a:gd name="connsiteY763" fmla="*/ 1319549 h 4077840"/>
                <a:gd name="connsiteX764" fmla="*/ 9882080 w 12084394"/>
                <a:gd name="connsiteY764" fmla="*/ 1319549 h 4077840"/>
                <a:gd name="connsiteX765" fmla="*/ 9959711 w 12084394"/>
                <a:gd name="connsiteY765" fmla="*/ 1397181 h 4077840"/>
                <a:gd name="connsiteX766" fmla="*/ 9882080 w 12084394"/>
                <a:gd name="connsiteY766" fmla="*/ 1474811 h 4077840"/>
                <a:gd name="connsiteX767" fmla="*/ 9804449 w 12084394"/>
                <a:gd name="connsiteY767" fmla="*/ 1397181 h 4077840"/>
                <a:gd name="connsiteX768" fmla="*/ 9882080 w 12084394"/>
                <a:gd name="connsiteY768" fmla="*/ 1319549 h 4077840"/>
                <a:gd name="connsiteX769" fmla="*/ 9370013 w 12084394"/>
                <a:gd name="connsiteY769" fmla="*/ 1319549 h 4077840"/>
                <a:gd name="connsiteX770" fmla="*/ 9447645 w 12084394"/>
                <a:gd name="connsiteY770" fmla="*/ 1397181 h 4077840"/>
                <a:gd name="connsiteX771" fmla="*/ 9370013 w 12084394"/>
                <a:gd name="connsiteY771" fmla="*/ 1474811 h 4077840"/>
                <a:gd name="connsiteX772" fmla="*/ 9292382 w 12084394"/>
                <a:gd name="connsiteY772" fmla="*/ 1397181 h 4077840"/>
                <a:gd name="connsiteX773" fmla="*/ 9370013 w 12084394"/>
                <a:gd name="connsiteY773" fmla="*/ 1319549 h 4077840"/>
                <a:gd name="connsiteX774" fmla="*/ 8858136 w 12084394"/>
                <a:gd name="connsiteY774" fmla="*/ 1319549 h 4077840"/>
                <a:gd name="connsiteX775" fmla="*/ 8935768 w 12084394"/>
                <a:gd name="connsiteY775" fmla="*/ 1397181 h 4077840"/>
                <a:gd name="connsiteX776" fmla="*/ 8858136 w 12084394"/>
                <a:gd name="connsiteY776" fmla="*/ 1474811 h 4077840"/>
                <a:gd name="connsiteX777" fmla="*/ 8780505 w 12084394"/>
                <a:gd name="connsiteY777" fmla="*/ 1397181 h 4077840"/>
                <a:gd name="connsiteX778" fmla="*/ 8858136 w 12084394"/>
                <a:gd name="connsiteY778" fmla="*/ 1319549 h 4077840"/>
                <a:gd name="connsiteX779" fmla="*/ 8346071 w 12084394"/>
                <a:gd name="connsiteY779" fmla="*/ 1319549 h 4077840"/>
                <a:gd name="connsiteX780" fmla="*/ 8423702 w 12084394"/>
                <a:gd name="connsiteY780" fmla="*/ 1397181 h 4077840"/>
                <a:gd name="connsiteX781" fmla="*/ 8346071 w 12084394"/>
                <a:gd name="connsiteY781" fmla="*/ 1474811 h 4077840"/>
                <a:gd name="connsiteX782" fmla="*/ 8268439 w 12084394"/>
                <a:gd name="connsiteY782" fmla="*/ 1397181 h 4077840"/>
                <a:gd name="connsiteX783" fmla="*/ 8346071 w 12084394"/>
                <a:gd name="connsiteY783" fmla="*/ 1319549 h 4077840"/>
                <a:gd name="connsiteX784" fmla="*/ 7834193 w 12084394"/>
                <a:gd name="connsiteY784" fmla="*/ 1319549 h 4077840"/>
                <a:gd name="connsiteX785" fmla="*/ 7911825 w 12084394"/>
                <a:gd name="connsiteY785" fmla="*/ 1397181 h 4077840"/>
                <a:gd name="connsiteX786" fmla="*/ 7834193 w 12084394"/>
                <a:gd name="connsiteY786" fmla="*/ 1474811 h 4077840"/>
                <a:gd name="connsiteX787" fmla="*/ 7756562 w 12084394"/>
                <a:gd name="connsiteY787" fmla="*/ 1397181 h 4077840"/>
                <a:gd name="connsiteX788" fmla="*/ 7834193 w 12084394"/>
                <a:gd name="connsiteY788" fmla="*/ 1319549 h 4077840"/>
                <a:gd name="connsiteX789" fmla="*/ 7322128 w 12084394"/>
                <a:gd name="connsiteY789" fmla="*/ 1319549 h 4077840"/>
                <a:gd name="connsiteX790" fmla="*/ 7399759 w 12084394"/>
                <a:gd name="connsiteY790" fmla="*/ 1397181 h 4077840"/>
                <a:gd name="connsiteX791" fmla="*/ 7322128 w 12084394"/>
                <a:gd name="connsiteY791" fmla="*/ 1474811 h 4077840"/>
                <a:gd name="connsiteX792" fmla="*/ 7244496 w 12084394"/>
                <a:gd name="connsiteY792" fmla="*/ 1397181 h 4077840"/>
                <a:gd name="connsiteX793" fmla="*/ 7322128 w 12084394"/>
                <a:gd name="connsiteY793" fmla="*/ 1319549 h 4077840"/>
                <a:gd name="connsiteX794" fmla="*/ 6810251 w 12084394"/>
                <a:gd name="connsiteY794" fmla="*/ 1319549 h 4077840"/>
                <a:gd name="connsiteX795" fmla="*/ 6887882 w 12084394"/>
                <a:gd name="connsiteY795" fmla="*/ 1397181 h 4077840"/>
                <a:gd name="connsiteX796" fmla="*/ 6810251 w 12084394"/>
                <a:gd name="connsiteY796" fmla="*/ 1474811 h 4077840"/>
                <a:gd name="connsiteX797" fmla="*/ 6732619 w 12084394"/>
                <a:gd name="connsiteY797" fmla="*/ 1397181 h 4077840"/>
                <a:gd name="connsiteX798" fmla="*/ 6810251 w 12084394"/>
                <a:gd name="connsiteY798" fmla="*/ 1319549 h 4077840"/>
                <a:gd name="connsiteX799" fmla="*/ 6298184 w 12084394"/>
                <a:gd name="connsiteY799" fmla="*/ 1319549 h 4077840"/>
                <a:gd name="connsiteX800" fmla="*/ 6375816 w 12084394"/>
                <a:gd name="connsiteY800" fmla="*/ 1397181 h 4077840"/>
                <a:gd name="connsiteX801" fmla="*/ 6298184 w 12084394"/>
                <a:gd name="connsiteY801" fmla="*/ 1474811 h 4077840"/>
                <a:gd name="connsiteX802" fmla="*/ 6220554 w 12084394"/>
                <a:gd name="connsiteY802" fmla="*/ 1397181 h 4077840"/>
                <a:gd name="connsiteX803" fmla="*/ 6298184 w 12084394"/>
                <a:gd name="connsiteY803" fmla="*/ 1319549 h 4077840"/>
                <a:gd name="connsiteX804" fmla="*/ 5786126 w 12084394"/>
                <a:gd name="connsiteY804" fmla="*/ 1319549 h 4077840"/>
                <a:gd name="connsiteX805" fmla="*/ 5863754 w 12084394"/>
                <a:gd name="connsiteY805" fmla="*/ 1397181 h 4077840"/>
                <a:gd name="connsiteX806" fmla="*/ 5786126 w 12084394"/>
                <a:gd name="connsiteY806" fmla="*/ 1474811 h 4077840"/>
                <a:gd name="connsiteX807" fmla="*/ 5708497 w 12084394"/>
                <a:gd name="connsiteY807" fmla="*/ 1397181 h 4077840"/>
                <a:gd name="connsiteX808" fmla="*/ 5786126 w 12084394"/>
                <a:gd name="connsiteY808" fmla="*/ 1319549 h 4077840"/>
                <a:gd name="connsiteX809" fmla="*/ 5274270 w 12084394"/>
                <a:gd name="connsiteY809" fmla="*/ 1319549 h 4077840"/>
                <a:gd name="connsiteX810" fmla="*/ 5351901 w 12084394"/>
                <a:gd name="connsiteY810" fmla="*/ 1397181 h 4077840"/>
                <a:gd name="connsiteX811" fmla="*/ 5274270 w 12084394"/>
                <a:gd name="connsiteY811" fmla="*/ 1474811 h 4077840"/>
                <a:gd name="connsiteX812" fmla="*/ 5196640 w 12084394"/>
                <a:gd name="connsiteY812" fmla="*/ 1397181 h 4077840"/>
                <a:gd name="connsiteX813" fmla="*/ 5274270 w 12084394"/>
                <a:gd name="connsiteY813" fmla="*/ 1319549 h 4077840"/>
                <a:gd name="connsiteX814" fmla="*/ 4762180 w 12084394"/>
                <a:gd name="connsiteY814" fmla="*/ 1319549 h 4077840"/>
                <a:gd name="connsiteX815" fmla="*/ 4839836 w 12084394"/>
                <a:gd name="connsiteY815" fmla="*/ 1397181 h 4077840"/>
                <a:gd name="connsiteX816" fmla="*/ 4762180 w 12084394"/>
                <a:gd name="connsiteY816" fmla="*/ 1474811 h 4077840"/>
                <a:gd name="connsiteX817" fmla="*/ 4684568 w 12084394"/>
                <a:gd name="connsiteY817" fmla="*/ 1397181 h 4077840"/>
                <a:gd name="connsiteX818" fmla="*/ 4762180 w 12084394"/>
                <a:gd name="connsiteY818" fmla="*/ 1319549 h 4077840"/>
                <a:gd name="connsiteX819" fmla="*/ 4250316 w 12084394"/>
                <a:gd name="connsiteY819" fmla="*/ 1319549 h 4077840"/>
                <a:gd name="connsiteX820" fmla="*/ 4327952 w 12084394"/>
                <a:gd name="connsiteY820" fmla="*/ 1397181 h 4077840"/>
                <a:gd name="connsiteX821" fmla="*/ 4250316 w 12084394"/>
                <a:gd name="connsiteY821" fmla="*/ 1474811 h 4077840"/>
                <a:gd name="connsiteX822" fmla="*/ 4172680 w 12084394"/>
                <a:gd name="connsiteY822" fmla="*/ 1397181 h 4077840"/>
                <a:gd name="connsiteX823" fmla="*/ 4250316 w 12084394"/>
                <a:gd name="connsiteY823" fmla="*/ 1319549 h 4077840"/>
                <a:gd name="connsiteX824" fmla="*/ 3738287 w 12084394"/>
                <a:gd name="connsiteY824" fmla="*/ 1319549 h 4077840"/>
                <a:gd name="connsiteX825" fmla="*/ 3815917 w 12084394"/>
                <a:gd name="connsiteY825" fmla="*/ 1397181 h 4077840"/>
                <a:gd name="connsiteX826" fmla="*/ 3738287 w 12084394"/>
                <a:gd name="connsiteY826" fmla="*/ 1474811 h 4077840"/>
                <a:gd name="connsiteX827" fmla="*/ 3660647 w 12084394"/>
                <a:gd name="connsiteY827" fmla="*/ 1397181 h 4077840"/>
                <a:gd name="connsiteX828" fmla="*/ 3738287 w 12084394"/>
                <a:gd name="connsiteY828" fmla="*/ 1319549 h 4077840"/>
                <a:gd name="connsiteX829" fmla="*/ 3226239 w 12084394"/>
                <a:gd name="connsiteY829" fmla="*/ 1319549 h 4077840"/>
                <a:gd name="connsiteX830" fmla="*/ 3303877 w 12084394"/>
                <a:gd name="connsiteY830" fmla="*/ 1397181 h 4077840"/>
                <a:gd name="connsiteX831" fmla="*/ 3226239 w 12084394"/>
                <a:gd name="connsiteY831" fmla="*/ 1474811 h 4077840"/>
                <a:gd name="connsiteX832" fmla="*/ 3148605 w 12084394"/>
                <a:gd name="connsiteY832" fmla="*/ 1397181 h 4077840"/>
                <a:gd name="connsiteX833" fmla="*/ 3226239 w 12084394"/>
                <a:gd name="connsiteY833" fmla="*/ 1319549 h 4077840"/>
                <a:gd name="connsiteX834" fmla="*/ 2714362 w 12084394"/>
                <a:gd name="connsiteY834" fmla="*/ 1319549 h 4077840"/>
                <a:gd name="connsiteX835" fmla="*/ 2791993 w 12084394"/>
                <a:gd name="connsiteY835" fmla="*/ 1397181 h 4077840"/>
                <a:gd name="connsiteX836" fmla="*/ 2714362 w 12084394"/>
                <a:gd name="connsiteY836" fmla="*/ 1474811 h 4077840"/>
                <a:gd name="connsiteX837" fmla="*/ 2636733 w 12084394"/>
                <a:gd name="connsiteY837" fmla="*/ 1397181 h 4077840"/>
                <a:gd name="connsiteX838" fmla="*/ 2714362 w 12084394"/>
                <a:gd name="connsiteY838" fmla="*/ 1319549 h 4077840"/>
                <a:gd name="connsiteX839" fmla="*/ 2202305 w 12084394"/>
                <a:gd name="connsiteY839" fmla="*/ 1319549 h 4077840"/>
                <a:gd name="connsiteX840" fmla="*/ 2279935 w 12084394"/>
                <a:gd name="connsiteY840" fmla="*/ 1397181 h 4077840"/>
                <a:gd name="connsiteX841" fmla="*/ 2202305 w 12084394"/>
                <a:gd name="connsiteY841" fmla="*/ 1474811 h 4077840"/>
                <a:gd name="connsiteX842" fmla="*/ 2124675 w 12084394"/>
                <a:gd name="connsiteY842" fmla="*/ 1397181 h 4077840"/>
                <a:gd name="connsiteX843" fmla="*/ 2202305 w 12084394"/>
                <a:gd name="connsiteY843" fmla="*/ 1319549 h 4077840"/>
                <a:gd name="connsiteX844" fmla="*/ 1690412 w 12084394"/>
                <a:gd name="connsiteY844" fmla="*/ 1319549 h 4077840"/>
                <a:gd name="connsiteX845" fmla="*/ 1768043 w 12084394"/>
                <a:gd name="connsiteY845" fmla="*/ 1397181 h 4077840"/>
                <a:gd name="connsiteX846" fmla="*/ 1690412 w 12084394"/>
                <a:gd name="connsiteY846" fmla="*/ 1474811 h 4077840"/>
                <a:gd name="connsiteX847" fmla="*/ 1612781 w 12084394"/>
                <a:gd name="connsiteY847" fmla="*/ 1397181 h 4077840"/>
                <a:gd name="connsiteX848" fmla="*/ 1690412 w 12084394"/>
                <a:gd name="connsiteY848" fmla="*/ 1319549 h 4077840"/>
                <a:gd name="connsiteX849" fmla="*/ 1178353 w 12084394"/>
                <a:gd name="connsiteY849" fmla="*/ 1319549 h 4077840"/>
                <a:gd name="connsiteX850" fmla="*/ 1255984 w 12084394"/>
                <a:gd name="connsiteY850" fmla="*/ 1397181 h 4077840"/>
                <a:gd name="connsiteX851" fmla="*/ 1178353 w 12084394"/>
                <a:gd name="connsiteY851" fmla="*/ 1474811 h 4077840"/>
                <a:gd name="connsiteX852" fmla="*/ 1100722 w 12084394"/>
                <a:gd name="connsiteY852" fmla="*/ 1397181 h 4077840"/>
                <a:gd name="connsiteX853" fmla="*/ 1178353 w 12084394"/>
                <a:gd name="connsiteY853" fmla="*/ 1319549 h 4077840"/>
                <a:gd name="connsiteX854" fmla="*/ 666483 w 12084394"/>
                <a:gd name="connsiteY854" fmla="*/ 1319549 h 4077840"/>
                <a:gd name="connsiteX855" fmla="*/ 744113 w 12084394"/>
                <a:gd name="connsiteY855" fmla="*/ 1397181 h 4077840"/>
                <a:gd name="connsiteX856" fmla="*/ 666483 w 12084394"/>
                <a:gd name="connsiteY856" fmla="*/ 1474811 h 4077840"/>
                <a:gd name="connsiteX857" fmla="*/ 588852 w 12084394"/>
                <a:gd name="connsiteY857" fmla="*/ 1397181 h 4077840"/>
                <a:gd name="connsiteX858" fmla="*/ 666483 w 12084394"/>
                <a:gd name="connsiteY858" fmla="*/ 1319549 h 4077840"/>
                <a:gd name="connsiteX859" fmla="*/ 154424 w 12084394"/>
                <a:gd name="connsiteY859" fmla="*/ 1319549 h 4077840"/>
                <a:gd name="connsiteX860" fmla="*/ 232055 w 12084394"/>
                <a:gd name="connsiteY860" fmla="*/ 1397181 h 4077840"/>
                <a:gd name="connsiteX861" fmla="*/ 154424 w 12084394"/>
                <a:gd name="connsiteY861" fmla="*/ 1474811 h 4077840"/>
                <a:gd name="connsiteX862" fmla="*/ 76793 w 12084394"/>
                <a:gd name="connsiteY862" fmla="*/ 1397181 h 4077840"/>
                <a:gd name="connsiteX863" fmla="*/ 154424 w 12084394"/>
                <a:gd name="connsiteY863" fmla="*/ 1319549 h 4077840"/>
                <a:gd name="connsiteX864" fmla="*/ 11929965 w 12084394"/>
                <a:gd name="connsiteY864" fmla="*/ 879636 h 4077840"/>
                <a:gd name="connsiteX865" fmla="*/ 11993430 w 12084394"/>
                <a:gd name="connsiteY865" fmla="*/ 943101 h 4077840"/>
                <a:gd name="connsiteX866" fmla="*/ 11929965 w 12084394"/>
                <a:gd name="connsiteY866" fmla="*/ 1006567 h 4077840"/>
                <a:gd name="connsiteX867" fmla="*/ 11866500 w 12084394"/>
                <a:gd name="connsiteY867" fmla="*/ 943101 h 4077840"/>
                <a:gd name="connsiteX868" fmla="*/ 11929965 w 12084394"/>
                <a:gd name="connsiteY868" fmla="*/ 879636 h 4077840"/>
                <a:gd name="connsiteX869" fmla="*/ 11417899 w 12084394"/>
                <a:gd name="connsiteY869" fmla="*/ 879636 h 4077840"/>
                <a:gd name="connsiteX870" fmla="*/ 11481364 w 12084394"/>
                <a:gd name="connsiteY870" fmla="*/ 943101 h 4077840"/>
                <a:gd name="connsiteX871" fmla="*/ 11417899 w 12084394"/>
                <a:gd name="connsiteY871" fmla="*/ 1006567 h 4077840"/>
                <a:gd name="connsiteX872" fmla="*/ 11354434 w 12084394"/>
                <a:gd name="connsiteY872" fmla="*/ 943101 h 4077840"/>
                <a:gd name="connsiteX873" fmla="*/ 11417899 w 12084394"/>
                <a:gd name="connsiteY873" fmla="*/ 879636 h 4077840"/>
                <a:gd name="connsiteX874" fmla="*/ 10906023 w 12084394"/>
                <a:gd name="connsiteY874" fmla="*/ 879636 h 4077840"/>
                <a:gd name="connsiteX875" fmla="*/ 10969488 w 12084394"/>
                <a:gd name="connsiteY875" fmla="*/ 943101 h 4077840"/>
                <a:gd name="connsiteX876" fmla="*/ 10906023 w 12084394"/>
                <a:gd name="connsiteY876" fmla="*/ 1006567 h 4077840"/>
                <a:gd name="connsiteX877" fmla="*/ 10842558 w 12084394"/>
                <a:gd name="connsiteY877" fmla="*/ 943101 h 4077840"/>
                <a:gd name="connsiteX878" fmla="*/ 10906023 w 12084394"/>
                <a:gd name="connsiteY878" fmla="*/ 879636 h 4077840"/>
                <a:gd name="connsiteX879" fmla="*/ 10393956 w 12084394"/>
                <a:gd name="connsiteY879" fmla="*/ 879636 h 4077840"/>
                <a:gd name="connsiteX880" fmla="*/ 10457421 w 12084394"/>
                <a:gd name="connsiteY880" fmla="*/ 943101 h 4077840"/>
                <a:gd name="connsiteX881" fmla="*/ 10393956 w 12084394"/>
                <a:gd name="connsiteY881" fmla="*/ 1006567 h 4077840"/>
                <a:gd name="connsiteX882" fmla="*/ 10330491 w 12084394"/>
                <a:gd name="connsiteY882" fmla="*/ 943101 h 4077840"/>
                <a:gd name="connsiteX883" fmla="*/ 10393956 w 12084394"/>
                <a:gd name="connsiteY883" fmla="*/ 879636 h 4077840"/>
                <a:gd name="connsiteX884" fmla="*/ 9882079 w 12084394"/>
                <a:gd name="connsiteY884" fmla="*/ 879636 h 4077840"/>
                <a:gd name="connsiteX885" fmla="*/ 9945544 w 12084394"/>
                <a:gd name="connsiteY885" fmla="*/ 943101 h 4077840"/>
                <a:gd name="connsiteX886" fmla="*/ 9882079 w 12084394"/>
                <a:gd name="connsiteY886" fmla="*/ 1006567 h 4077840"/>
                <a:gd name="connsiteX887" fmla="*/ 9818615 w 12084394"/>
                <a:gd name="connsiteY887" fmla="*/ 943101 h 4077840"/>
                <a:gd name="connsiteX888" fmla="*/ 9882079 w 12084394"/>
                <a:gd name="connsiteY888" fmla="*/ 879636 h 4077840"/>
                <a:gd name="connsiteX889" fmla="*/ 5274270 w 12084394"/>
                <a:gd name="connsiteY889" fmla="*/ 879636 h 4077840"/>
                <a:gd name="connsiteX890" fmla="*/ 5337733 w 12084394"/>
                <a:gd name="connsiteY890" fmla="*/ 943101 h 4077840"/>
                <a:gd name="connsiteX891" fmla="*/ 5274270 w 12084394"/>
                <a:gd name="connsiteY891" fmla="*/ 1006567 h 4077840"/>
                <a:gd name="connsiteX892" fmla="*/ 5210807 w 12084394"/>
                <a:gd name="connsiteY892" fmla="*/ 943101 h 4077840"/>
                <a:gd name="connsiteX893" fmla="*/ 5274270 w 12084394"/>
                <a:gd name="connsiteY893" fmla="*/ 879636 h 4077840"/>
                <a:gd name="connsiteX894" fmla="*/ 4762180 w 12084394"/>
                <a:gd name="connsiteY894" fmla="*/ 879636 h 4077840"/>
                <a:gd name="connsiteX895" fmla="*/ 4825668 w 12084394"/>
                <a:gd name="connsiteY895" fmla="*/ 943101 h 4077840"/>
                <a:gd name="connsiteX896" fmla="*/ 4762180 w 12084394"/>
                <a:gd name="connsiteY896" fmla="*/ 1006567 h 4077840"/>
                <a:gd name="connsiteX897" fmla="*/ 4698732 w 12084394"/>
                <a:gd name="connsiteY897" fmla="*/ 943101 h 4077840"/>
                <a:gd name="connsiteX898" fmla="*/ 4762180 w 12084394"/>
                <a:gd name="connsiteY898" fmla="*/ 879636 h 4077840"/>
                <a:gd name="connsiteX899" fmla="*/ 4250316 w 12084394"/>
                <a:gd name="connsiteY899" fmla="*/ 879636 h 4077840"/>
                <a:gd name="connsiteX900" fmla="*/ 4313785 w 12084394"/>
                <a:gd name="connsiteY900" fmla="*/ 943101 h 4077840"/>
                <a:gd name="connsiteX901" fmla="*/ 4250316 w 12084394"/>
                <a:gd name="connsiteY901" fmla="*/ 1006567 h 4077840"/>
                <a:gd name="connsiteX902" fmla="*/ 4186848 w 12084394"/>
                <a:gd name="connsiteY902" fmla="*/ 943101 h 4077840"/>
                <a:gd name="connsiteX903" fmla="*/ 4250316 w 12084394"/>
                <a:gd name="connsiteY903" fmla="*/ 879636 h 4077840"/>
                <a:gd name="connsiteX904" fmla="*/ 3738289 w 12084394"/>
                <a:gd name="connsiteY904" fmla="*/ 879636 h 4077840"/>
                <a:gd name="connsiteX905" fmla="*/ 3801749 w 12084394"/>
                <a:gd name="connsiteY905" fmla="*/ 943101 h 4077840"/>
                <a:gd name="connsiteX906" fmla="*/ 3738289 w 12084394"/>
                <a:gd name="connsiteY906" fmla="*/ 1006567 h 4077840"/>
                <a:gd name="connsiteX907" fmla="*/ 3674814 w 12084394"/>
                <a:gd name="connsiteY907" fmla="*/ 943101 h 4077840"/>
                <a:gd name="connsiteX908" fmla="*/ 3738289 w 12084394"/>
                <a:gd name="connsiteY908" fmla="*/ 879636 h 4077840"/>
                <a:gd name="connsiteX909" fmla="*/ 3226242 w 12084394"/>
                <a:gd name="connsiteY909" fmla="*/ 879636 h 4077840"/>
                <a:gd name="connsiteX910" fmla="*/ 3289709 w 12084394"/>
                <a:gd name="connsiteY910" fmla="*/ 943101 h 4077840"/>
                <a:gd name="connsiteX911" fmla="*/ 3226242 w 12084394"/>
                <a:gd name="connsiteY911" fmla="*/ 1006567 h 4077840"/>
                <a:gd name="connsiteX912" fmla="*/ 3162775 w 12084394"/>
                <a:gd name="connsiteY912" fmla="*/ 943101 h 4077840"/>
                <a:gd name="connsiteX913" fmla="*/ 3226242 w 12084394"/>
                <a:gd name="connsiteY913" fmla="*/ 879636 h 4077840"/>
                <a:gd name="connsiteX914" fmla="*/ 2714362 w 12084394"/>
                <a:gd name="connsiteY914" fmla="*/ 879636 h 4077840"/>
                <a:gd name="connsiteX915" fmla="*/ 2777827 w 12084394"/>
                <a:gd name="connsiteY915" fmla="*/ 943101 h 4077840"/>
                <a:gd name="connsiteX916" fmla="*/ 2714362 w 12084394"/>
                <a:gd name="connsiteY916" fmla="*/ 1006567 h 4077840"/>
                <a:gd name="connsiteX917" fmla="*/ 2650897 w 12084394"/>
                <a:gd name="connsiteY917" fmla="*/ 943101 h 4077840"/>
                <a:gd name="connsiteX918" fmla="*/ 2714362 w 12084394"/>
                <a:gd name="connsiteY918" fmla="*/ 879636 h 4077840"/>
                <a:gd name="connsiteX919" fmla="*/ 2202305 w 12084394"/>
                <a:gd name="connsiteY919" fmla="*/ 879636 h 4077840"/>
                <a:gd name="connsiteX920" fmla="*/ 2265769 w 12084394"/>
                <a:gd name="connsiteY920" fmla="*/ 943101 h 4077840"/>
                <a:gd name="connsiteX921" fmla="*/ 2202305 w 12084394"/>
                <a:gd name="connsiteY921" fmla="*/ 1006567 h 4077840"/>
                <a:gd name="connsiteX922" fmla="*/ 2138841 w 12084394"/>
                <a:gd name="connsiteY922" fmla="*/ 943101 h 4077840"/>
                <a:gd name="connsiteX923" fmla="*/ 2202305 w 12084394"/>
                <a:gd name="connsiteY923" fmla="*/ 879636 h 4077840"/>
                <a:gd name="connsiteX924" fmla="*/ 1690412 w 12084394"/>
                <a:gd name="connsiteY924" fmla="*/ 879636 h 4077840"/>
                <a:gd name="connsiteX925" fmla="*/ 1753877 w 12084394"/>
                <a:gd name="connsiteY925" fmla="*/ 943101 h 4077840"/>
                <a:gd name="connsiteX926" fmla="*/ 1690412 w 12084394"/>
                <a:gd name="connsiteY926" fmla="*/ 1006567 h 4077840"/>
                <a:gd name="connsiteX927" fmla="*/ 1626948 w 12084394"/>
                <a:gd name="connsiteY927" fmla="*/ 943101 h 4077840"/>
                <a:gd name="connsiteX928" fmla="*/ 1690412 w 12084394"/>
                <a:gd name="connsiteY928" fmla="*/ 879636 h 4077840"/>
                <a:gd name="connsiteX929" fmla="*/ 1178353 w 12084394"/>
                <a:gd name="connsiteY929" fmla="*/ 879636 h 4077840"/>
                <a:gd name="connsiteX930" fmla="*/ 1241817 w 12084394"/>
                <a:gd name="connsiteY930" fmla="*/ 943101 h 4077840"/>
                <a:gd name="connsiteX931" fmla="*/ 1178353 w 12084394"/>
                <a:gd name="connsiteY931" fmla="*/ 1006567 h 4077840"/>
                <a:gd name="connsiteX932" fmla="*/ 1114888 w 12084394"/>
                <a:gd name="connsiteY932" fmla="*/ 943101 h 4077840"/>
                <a:gd name="connsiteX933" fmla="*/ 1178353 w 12084394"/>
                <a:gd name="connsiteY933" fmla="*/ 879636 h 4077840"/>
                <a:gd name="connsiteX934" fmla="*/ 666483 w 12084394"/>
                <a:gd name="connsiteY934" fmla="*/ 879636 h 4077840"/>
                <a:gd name="connsiteX935" fmla="*/ 729947 w 12084394"/>
                <a:gd name="connsiteY935" fmla="*/ 943101 h 4077840"/>
                <a:gd name="connsiteX936" fmla="*/ 666483 w 12084394"/>
                <a:gd name="connsiteY936" fmla="*/ 1006567 h 4077840"/>
                <a:gd name="connsiteX937" fmla="*/ 603018 w 12084394"/>
                <a:gd name="connsiteY937" fmla="*/ 943101 h 4077840"/>
                <a:gd name="connsiteX938" fmla="*/ 666483 w 12084394"/>
                <a:gd name="connsiteY938" fmla="*/ 879636 h 4077840"/>
                <a:gd name="connsiteX939" fmla="*/ 154424 w 12084394"/>
                <a:gd name="connsiteY939" fmla="*/ 879636 h 4077840"/>
                <a:gd name="connsiteX940" fmla="*/ 217889 w 12084394"/>
                <a:gd name="connsiteY940" fmla="*/ 943101 h 4077840"/>
                <a:gd name="connsiteX941" fmla="*/ 154424 w 12084394"/>
                <a:gd name="connsiteY941" fmla="*/ 1006567 h 4077840"/>
                <a:gd name="connsiteX942" fmla="*/ 90960 w 12084394"/>
                <a:gd name="connsiteY942" fmla="*/ 943101 h 4077840"/>
                <a:gd name="connsiteX943" fmla="*/ 154424 w 12084394"/>
                <a:gd name="connsiteY943" fmla="*/ 879636 h 4077840"/>
                <a:gd name="connsiteX944" fmla="*/ 9370014 w 12084394"/>
                <a:gd name="connsiteY944" fmla="*/ 879635 h 4077840"/>
                <a:gd name="connsiteX945" fmla="*/ 9433479 w 12084394"/>
                <a:gd name="connsiteY945" fmla="*/ 943100 h 4077840"/>
                <a:gd name="connsiteX946" fmla="*/ 9370014 w 12084394"/>
                <a:gd name="connsiteY946" fmla="*/ 1006566 h 4077840"/>
                <a:gd name="connsiteX947" fmla="*/ 9306549 w 12084394"/>
                <a:gd name="connsiteY947" fmla="*/ 943100 h 4077840"/>
                <a:gd name="connsiteX948" fmla="*/ 9370014 w 12084394"/>
                <a:gd name="connsiteY948" fmla="*/ 879635 h 4077840"/>
                <a:gd name="connsiteX949" fmla="*/ 8857948 w 12084394"/>
                <a:gd name="connsiteY949" fmla="*/ 879635 h 4077840"/>
                <a:gd name="connsiteX950" fmla="*/ 8921412 w 12084394"/>
                <a:gd name="connsiteY950" fmla="*/ 943100 h 4077840"/>
                <a:gd name="connsiteX951" fmla="*/ 8857948 w 12084394"/>
                <a:gd name="connsiteY951" fmla="*/ 1006566 h 4077840"/>
                <a:gd name="connsiteX952" fmla="*/ 8794482 w 12084394"/>
                <a:gd name="connsiteY952" fmla="*/ 943100 h 4077840"/>
                <a:gd name="connsiteX953" fmla="*/ 8857948 w 12084394"/>
                <a:gd name="connsiteY953" fmla="*/ 879635 h 4077840"/>
                <a:gd name="connsiteX954" fmla="*/ 8346071 w 12084394"/>
                <a:gd name="connsiteY954" fmla="*/ 879635 h 4077840"/>
                <a:gd name="connsiteX955" fmla="*/ 8409535 w 12084394"/>
                <a:gd name="connsiteY955" fmla="*/ 943100 h 4077840"/>
                <a:gd name="connsiteX956" fmla="*/ 8346071 w 12084394"/>
                <a:gd name="connsiteY956" fmla="*/ 1006566 h 4077840"/>
                <a:gd name="connsiteX957" fmla="*/ 8282605 w 12084394"/>
                <a:gd name="connsiteY957" fmla="*/ 943100 h 4077840"/>
                <a:gd name="connsiteX958" fmla="*/ 8346071 w 12084394"/>
                <a:gd name="connsiteY958" fmla="*/ 879635 h 4077840"/>
                <a:gd name="connsiteX959" fmla="*/ 7834005 w 12084394"/>
                <a:gd name="connsiteY959" fmla="*/ 879635 h 4077840"/>
                <a:gd name="connsiteX960" fmla="*/ 7897470 w 12084394"/>
                <a:gd name="connsiteY960" fmla="*/ 943100 h 4077840"/>
                <a:gd name="connsiteX961" fmla="*/ 7834005 w 12084394"/>
                <a:gd name="connsiteY961" fmla="*/ 1006566 h 4077840"/>
                <a:gd name="connsiteX962" fmla="*/ 7770540 w 12084394"/>
                <a:gd name="connsiteY962" fmla="*/ 943100 h 4077840"/>
                <a:gd name="connsiteX963" fmla="*/ 7834005 w 12084394"/>
                <a:gd name="connsiteY963" fmla="*/ 879635 h 4077840"/>
                <a:gd name="connsiteX964" fmla="*/ 7322128 w 12084394"/>
                <a:gd name="connsiteY964" fmla="*/ 879635 h 4077840"/>
                <a:gd name="connsiteX965" fmla="*/ 7385592 w 12084394"/>
                <a:gd name="connsiteY965" fmla="*/ 943100 h 4077840"/>
                <a:gd name="connsiteX966" fmla="*/ 7322128 w 12084394"/>
                <a:gd name="connsiteY966" fmla="*/ 1006566 h 4077840"/>
                <a:gd name="connsiteX967" fmla="*/ 7258662 w 12084394"/>
                <a:gd name="connsiteY967" fmla="*/ 943100 h 4077840"/>
                <a:gd name="connsiteX968" fmla="*/ 7322128 w 12084394"/>
                <a:gd name="connsiteY968" fmla="*/ 879635 h 4077840"/>
                <a:gd name="connsiteX969" fmla="*/ 6810062 w 12084394"/>
                <a:gd name="connsiteY969" fmla="*/ 879635 h 4077840"/>
                <a:gd name="connsiteX970" fmla="*/ 6873527 w 12084394"/>
                <a:gd name="connsiteY970" fmla="*/ 943100 h 4077840"/>
                <a:gd name="connsiteX971" fmla="*/ 6810062 w 12084394"/>
                <a:gd name="connsiteY971" fmla="*/ 1006566 h 4077840"/>
                <a:gd name="connsiteX972" fmla="*/ 6746597 w 12084394"/>
                <a:gd name="connsiteY972" fmla="*/ 943100 h 4077840"/>
                <a:gd name="connsiteX973" fmla="*/ 6810062 w 12084394"/>
                <a:gd name="connsiteY973" fmla="*/ 879635 h 4077840"/>
                <a:gd name="connsiteX974" fmla="*/ 6298186 w 12084394"/>
                <a:gd name="connsiteY974" fmla="*/ 879635 h 4077840"/>
                <a:gd name="connsiteX975" fmla="*/ 6361650 w 12084394"/>
                <a:gd name="connsiteY975" fmla="*/ 943100 h 4077840"/>
                <a:gd name="connsiteX976" fmla="*/ 6298186 w 12084394"/>
                <a:gd name="connsiteY976" fmla="*/ 1006566 h 4077840"/>
                <a:gd name="connsiteX977" fmla="*/ 6234720 w 12084394"/>
                <a:gd name="connsiteY977" fmla="*/ 943100 h 4077840"/>
                <a:gd name="connsiteX978" fmla="*/ 6298186 w 12084394"/>
                <a:gd name="connsiteY978" fmla="*/ 879635 h 4077840"/>
                <a:gd name="connsiteX979" fmla="*/ 5786126 w 12084394"/>
                <a:gd name="connsiteY979" fmla="*/ 879635 h 4077840"/>
                <a:gd name="connsiteX980" fmla="*/ 5849588 w 12084394"/>
                <a:gd name="connsiteY980" fmla="*/ 943100 h 4077840"/>
                <a:gd name="connsiteX981" fmla="*/ 5786126 w 12084394"/>
                <a:gd name="connsiteY981" fmla="*/ 1006566 h 4077840"/>
                <a:gd name="connsiteX982" fmla="*/ 5722663 w 12084394"/>
                <a:gd name="connsiteY982" fmla="*/ 943100 h 4077840"/>
                <a:gd name="connsiteX983" fmla="*/ 5786126 w 12084394"/>
                <a:gd name="connsiteY983" fmla="*/ 879635 h 4077840"/>
                <a:gd name="connsiteX984" fmla="*/ 11417900 w 12084394"/>
                <a:gd name="connsiteY984" fmla="*/ 439913 h 4077840"/>
                <a:gd name="connsiteX985" fmla="*/ 11467010 w 12084394"/>
                <a:gd name="connsiteY985" fmla="*/ 489022 h 4077840"/>
                <a:gd name="connsiteX986" fmla="*/ 11417900 w 12084394"/>
                <a:gd name="connsiteY986" fmla="*/ 538132 h 4077840"/>
                <a:gd name="connsiteX987" fmla="*/ 11368791 w 12084394"/>
                <a:gd name="connsiteY987" fmla="*/ 489022 h 4077840"/>
                <a:gd name="connsiteX988" fmla="*/ 11417900 w 12084394"/>
                <a:gd name="connsiteY988" fmla="*/ 439913 h 4077840"/>
                <a:gd name="connsiteX989" fmla="*/ 10906024 w 12084394"/>
                <a:gd name="connsiteY989" fmla="*/ 439913 h 4077840"/>
                <a:gd name="connsiteX990" fmla="*/ 10955133 w 12084394"/>
                <a:gd name="connsiteY990" fmla="*/ 489022 h 4077840"/>
                <a:gd name="connsiteX991" fmla="*/ 10906024 w 12084394"/>
                <a:gd name="connsiteY991" fmla="*/ 538132 h 4077840"/>
                <a:gd name="connsiteX992" fmla="*/ 10856914 w 12084394"/>
                <a:gd name="connsiteY992" fmla="*/ 489022 h 4077840"/>
                <a:gd name="connsiteX993" fmla="*/ 10906024 w 12084394"/>
                <a:gd name="connsiteY993" fmla="*/ 439913 h 4077840"/>
                <a:gd name="connsiteX994" fmla="*/ 10393958 w 12084394"/>
                <a:gd name="connsiteY994" fmla="*/ 439913 h 4077840"/>
                <a:gd name="connsiteX995" fmla="*/ 10443067 w 12084394"/>
                <a:gd name="connsiteY995" fmla="*/ 489022 h 4077840"/>
                <a:gd name="connsiteX996" fmla="*/ 10393958 w 12084394"/>
                <a:gd name="connsiteY996" fmla="*/ 538132 h 4077840"/>
                <a:gd name="connsiteX997" fmla="*/ 10344848 w 12084394"/>
                <a:gd name="connsiteY997" fmla="*/ 489022 h 4077840"/>
                <a:gd name="connsiteX998" fmla="*/ 10393958 w 12084394"/>
                <a:gd name="connsiteY998" fmla="*/ 439913 h 4077840"/>
                <a:gd name="connsiteX999" fmla="*/ 9882080 w 12084394"/>
                <a:gd name="connsiteY999" fmla="*/ 439913 h 4077840"/>
                <a:gd name="connsiteX1000" fmla="*/ 9931190 w 12084394"/>
                <a:gd name="connsiteY1000" fmla="*/ 489022 h 4077840"/>
                <a:gd name="connsiteX1001" fmla="*/ 9882080 w 12084394"/>
                <a:gd name="connsiteY1001" fmla="*/ 538132 h 4077840"/>
                <a:gd name="connsiteX1002" fmla="*/ 9832971 w 12084394"/>
                <a:gd name="connsiteY1002" fmla="*/ 489022 h 4077840"/>
                <a:gd name="connsiteX1003" fmla="*/ 9882080 w 12084394"/>
                <a:gd name="connsiteY1003" fmla="*/ 439913 h 4077840"/>
                <a:gd name="connsiteX1004" fmla="*/ 9370013 w 12084394"/>
                <a:gd name="connsiteY1004" fmla="*/ 439913 h 4077840"/>
                <a:gd name="connsiteX1005" fmla="*/ 9419123 w 12084394"/>
                <a:gd name="connsiteY1005" fmla="*/ 489022 h 4077840"/>
                <a:gd name="connsiteX1006" fmla="*/ 9370013 w 12084394"/>
                <a:gd name="connsiteY1006" fmla="*/ 538132 h 4077840"/>
                <a:gd name="connsiteX1007" fmla="*/ 9320903 w 12084394"/>
                <a:gd name="connsiteY1007" fmla="*/ 489022 h 4077840"/>
                <a:gd name="connsiteX1008" fmla="*/ 9370013 w 12084394"/>
                <a:gd name="connsiteY1008" fmla="*/ 439913 h 4077840"/>
                <a:gd name="connsiteX1009" fmla="*/ 8858137 w 12084394"/>
                <a:gd name="connsiteY1009" fmla="*/ 439913 h 4077840"/>
                <a:gd name="connsiteX1010" fmla="*/ 8907247 w 12084394"/>
                <a:gd name="connsiteY1010" fmla="*/ 489022 h 4077840"/>
                <a:gd name="connsiteX1011" fmla="*/ 8858137 w 12084394"/>
                <a:gd name="connsiteY1011" fmla="*/ 538132 h 4077840"/>
                <a:gd name="connsiteX1012" fmla="*/ 8809027 w 12084394"/>
                <a:gd name="connsiteY1012" fmla="*/ 489022 h 4077840"/>
                <a:gd name="connsiteX1013" fmla="*/ 8858137 w 12084394"/>
                <a:gd name="connsiteY1013" fmla="*/ 439913 h 4077840"/>
                <a:gd name="connsiteX1014" fmla="*/ 8346071 w 12084394"/>
                <a:gd name="connsiteY1014" fmla="*/ 439913 h 4077840"/>
                <a:gd name="connsiteX1015" fmla="*/ 8395181 w 12084394"/>
                <a:gd name="connsiteY1015" fmla="*/ 489022 h 4077840"/>
                <a:gd name="connsiteX1016" fmla="*/ 8346071 w 12084394"/>
                <a:gd name="connsiteY1016" fmla="*/ 538132 h 4077840"/>
                <a:gd name="connsiteX1017" fmla="*/ 8296961 w 12084394"/>
                <a:gd name="connsiteY1017" fmla="*/ 489022 h 4077840"/>
                <a:gd name="connsiteX1018" fmla="*/ 8346071 w 12084394"/>
                <a:gd name="connsiteY1018" fmla="*/ 439913 h 4077840"/>
                <a:gd name="connsiteX1019" fmla="*/ 7834193 w 12084394"/>
                <a:gd name="connsiteY1019" fmla="*/ 439913 h 4077840"/>
                <a:gd name="connsiteX1020" fmla="*/ 7883303 w 12084394"/>
                <a:gd name="connsiteY1020" fmla="*/ 489022 h 4077840"/>
                <a:gd name="connsiteX1021" fmla="*/ 7834193 w 12084394"/>
                <a:gd name="connsiteY1021" fmla="*/ 538132 h 4077840"/>
                <a:gd name="connsiteX1022" fmla="*/ 7785083 w 12084394"/>
                <a:gd name="connsiteY1022" fmla="*/ 489022 h 4077840"/>
                <a:gd name="connsiteX1023" fmla="*/ 7834193 w 12084394"/>
                <a:gd name="connsiteY1023" fmla="*/ 439913 h 4077840"/>
                <a:gd name="connsiteX1024" fmla="*/ 7322128 w 12084394"/>
                <a:gd name="connsiteY1024" fmla="*/ 439913 h 4077840"/>
                <a:gd name="connsiteX1025" fmla="*/ 7371238 w 12084394"/>
                <a:gd name="connsiteY1025" fmla="*/ 489022 h 4077840"/>
                <a:gd name="connsiteX1026" fmla="*/ 7322128 w 12084394"/>
                <a:gd name="connsiteY1026" fmla="*/ 538132 h 4077840"/>
                <a:gd name="connsiteX1027" fmla="*/ 7273018 w 12084394"/>
                <a:gd name="connsiteY1027" fmla="*/ 489022 h 4077840"/>
                <a:gd name="connsiteX1028" fmla="*/ 7322128 w 12084394"/>
                <a:gd name="connsiteY1028" fmla="*/ 439913 h 4077840"/>
                <a:gd name="connsiteX1029" fmla="*/ 6810251 w 12084394"/>
                <a:gd name="connsiteY1029" fmla="*/ 439913 h 4077840"/>
                <a:gd name="connsiteX1030" fmla="*/ 6859361 w 12084394"/>
                <a:gd name="connsiteY1030" fmla="*/ 489022 h 4077840"/>
                <a:gd name="connsiteX1031" fmla="*/ 6810251 w 12084394"/>
                <a:gd name="connsiteY1031" fmla="*/ 538132 h 4077840"/>
                <a:gd name="connsiteX1032" fmla="*/ 6761141 w 12084394"/>
                <a:gd name="connsiteY1032" fmla="*/ 489022 h 4077840"/>
                <a:gd name="connsiteX1033" fmla="*/ 6810251 w 12084394"/>
                <a:gd name="connsiteY1033" fmla="*/ 439913 h 4077840"/>
                <a:gd name="connsiteX1034" fmla="*/ 6298184 w 12084394"/>
                <a:gd name="connsiteY1034" fmla="*/ 439913 h 4077840"/>
                <a:gd name="connsiteX1035" fmla="*/ 6347295 w 12084394"/>
                <a:gd name="connsiteY1035" fmla="*/ 489022 h 4077840"/>
                <a:gd name="connsiteX1036" fmla="*/ 6298184 w 12084394"/>
                <a:gd name="connsiteY1036" fmla="*/ 538132 h 4077840"/>
                <a:gd name="connsiteX1037" fmla="*/ 6249074 w 12084394"/>
                <a:gd name="connsiteY1037" fmla="*/ 489022 h 4077840"/>
                <a:gd name="connsiteX1038" fmla="*/ 6298184 w 12084394"/>
                <a:gd name="connsiteY1038" fmla="*/ 439913 h 4077840"/>
                <a:gd name="connsiteX1039" fmla="*/ 5786315 w 12084394"/>
                <a:gd name="connsiteY1039" fmla="*/ 439913 h 4077840"/>
                <a:gd name="connsiteX1040" fmla="*/ 5835423 w 12084394"/>
                <a:gd name="connsiteY1040" fmla="*/ 489022 h 4077840"/>
                <a:gd name="connsiteX1041" fmla="*/ 5786315 w 12084394"/>
                <a:gd name="connsiteY1041" fmla="*/ 538132 h 4077840"/>
                <a:gd name="connsiteX1042" fmla="*/ 5737207 w 12084394"/>
                <a:gd name="connsiteY1042" fmla="*/ 489022 h 4077840"/>
                <a:gd name="connsiteX1043" fmla="*/ 5786315 w 12084394"/>
                <a:gd name="connsiteY1043" fmla="*/ 439913 h 4077840"/>
                <a:gd name="connsiteX1044" fmla="*/ 5274270 w 12084394"/>
                <a:gd name="connsiteY1044" fmla="*/ 439913 h 4077840"/>
                <a:gd name="connsiteX1045" fmla="*/ 5323380 w 12084394"/>
                <a:gd name="connsiteY1045" fmla="*/ 489022 h 4077840"/>
                <a:gd name="connsiteX1046" fmla="*/ 5274270 w 12084394"/>
                <a:gd name="connsiteY1046" fmla="*/ 538132 h 4077840"/>
                <a:gd name="connsiteX1047" fmla="*/ 5225158 w 12084394"/>
                <a:gd name="connsiteY1047" fmla="*/ 489022 h 4077840"/>
                <a:gd name="connsiteX1048" fmla="*/ 5274270 w 12084394"/>
                <a:gd name="connsiteY1048" fmla="*/ 439913 h 4077840"/>
                <a:gd name="connsiteX1049" fmla="*/ 4762180 w 12084394"/>
                <a:gd name="connsiteY1049" fmla="*/ 439913 h 4077840"/>
                <a:gd name="connsiteX1050" fmla="*/ 4811308 w 12084394"/>
                <a:gd name="connsiteY1050" fmla="*/ 489022 h 4077840"/>
                <a:gd name="connsiteX1051" fmla="*/ 4762180 w 12084394"/>
                <a:gd name="connsiteY1051" fmla="*/ 538132 h 4077840"/>
                <a:gd name="connsiteX1052" fmla="*/ 4713081 w 12084394"/>
                <a:gd name="connsiteY1052" fmla="*/ 489022 h 4077840"/>
                <a:gd name="connsiteX1053" fmla="*/ 4762180 w 12084394"/>
                <a:gd name="connsiteY1053" fmla="*/ 439913 h 4077840"/>
                <a:gd name="connsiteX1054" fmla="*/ 4250316 w 12084394"/>
                <a:gd name="connsiteY1054" fmla="*/ 439913 h 4077840"/>
                <a:gd name="connsiteX1055" fmla="*/ 4299428 w 12084394"/>
                <a:gd name="connsiteY1055" fmla="*/ 489022 h 4077840"/>
                <a:gd name="connsiteX1056" fmla="*/ 4250316 w 12084394"/>
                <a:gd name="connsiteY1056" fmla="*/ 538132 h 4077840"/>
                <a:gd name="connsiteX1057" fmla="*/ 4201204 w 12084394"/>
                <a:gd name="connsiteY1057" fmla="*/ 489022 h 4077840"/>
                <a:gd name="connsiteX1058" fmla="*/ 4250316 w 12084394"/>
                <a:gd name="connsiteY1058" fmla="*/ 439913 h 4077840"/>
                <a:gd name="connsiteX1059" fmla="*/ 3738287 w 12084394"/>
                <a:gd name="connsiteY1059" fmla="*/ 439913 h 4077840"/>
                <a:gd name="connsiteX1060" fmla="*/ 3787395 w 12084394"/>
                <a:gd name="connsiteY1060" fmla="*/ 489022 h 4077840"/>
                <a:gd name="connsiteX1061" fmla="*/ 3738287 w 12084394"/>
                <a:gd name="connsiteY1061" fmla="*/ 538132 h 4077840"/>
                <a:gd name="connsiteX1062" fmla="*/ 3689172 w 12084394"/>
                <a:gd name="connsiteY1062" fmla="*/ 489022 h 4077840"/>
                <a:gd name="connsiteX1063" fmla="*/ 3738287 w 12084394"/>
                <a:gd name="connsiteY1063" fmla="*/ 439913 h 4077840"/>
                <a:gd name="connsiteX1064" fmla="*/ 3226241 w 12084394"/>
                <a:gd name="connsiteY1064" fmla="*/ 439913 h 4077840"/>
                <a:gd name="connsiteX1065" fmla="*/ 3275356 w 12084394"/>
                <a:gd name="connsiteY1065" fmla="*/ 489022 h 4077840"/>
                <a:gd name="connsiteX1066" fmla="*/ 3226241 w 12084394"/>
                <a:gd name="connsiteY1066" fmla="*/ 538132 h 4077840"/>
                <a:gd name="connsiteX1067" fmla="*/ 3177127 w 12084394"/>
                <a:gd name="connsiteY1067" fmla="*/ 489022 h 4077840"/>
                <a:gd name="connsiteX1068" fmla="*/ 3226241 w 12084394"/>
                <a:gd name="connsiteY1068" fmla="*/ 439913 h 4077840"/>
                <a:gd name="connsiteX1069" fmla="*/ 2714361 w 12084394"/>
                <a:gd name="connsiteY1069" fmla="*/ 439913 h 4077840"/>
                <a:gd name="connsiteX1070" fmla="*/ 2763472 w 12084394"/>
                <a:gd name="connsiteY1070" fmla="*/ 489022 h 4077840"/>
                <a:gd name="connsiteX1071" fmla="*/ 2714361 w 12084394"/>
                <a:gd name="connsiteY1071" fmla="*/ 538132 h 4077840"/>
                <a:gd name="connsiteX1072" fmla="*/ 2665250 w 12084394"/>
                <a:gd name="connsiteY1072" fmla="*/ 489022 h 4077840"/>
                <a:gd name="connsiteX1073" fmla="*/ 2714361 w 12084394"/>
                <a:gd name="connsiteY1073" fmla="*/ 439913 h 4077840"/>
                <a:gd name="connsiteX1074" fmla="*/ 2202305 w 12084394"/>
                <a:gd name="connsiteY1074" fmla="*/ 439913 h 4077840"/>
                <a:gd name="connsiteX1075" fmla="*/ 2251415 w 12084394"/>
                <a:gd name="connsiteY1075" fmla="*/ 489022 h 4077840"/>
                <a:gd name="connsiteX1076" fmla="*/ 2202305 w 12084394"/>
                <a:gd name="connsiteY1076" fmla="*/ 538132 h 4077840"/>
                <a:gd name="connsiteX1077" fmla="*/ 2153195 w 12084394"/>
                <a:gd name="connsiteY1077" fmla="*/ 489022 h 4077840"/>
                <a:gd name="connsiteX1078" fmla="*/ 2202305 w 12084394"/>
                <a:gd name="connsiteY1078" fmla="*/ 439913 h 4077840"/>
                <a:gd name="connsiteX1079" fmla="*/ 1690412 w 12084394"/>
                <a:gd name="connsiteY1079" fmla="*/ 439913 h 4077840"/>
                <a:gd name="connsiteX1080" fmla="*/ 1739522 w 12084394"/>
                <a:gd name="connsiteY1080" fmla="*/ 489022 h 4077840"/>
                <a:gd name="connsiteX1081" fmla="*/ 1690412 w 12084394"/>
                <a:gd name="connsiteY1081" fmla="*/ 538132 h 4077840"/>
                <a:gd name="connsiteX1082" fmla="*/ 1641302 w 12084394"/>
                <a:gd name="connsiteY1082" fmla="*/ 489022 h 4077840"/>
                <a:gd name="connsiteX1083" fmla="*/ 1690412 w 12084394"/>
                <a:gd name="connsiteY1083" fmla="*/ 439913 h 4077840"/>
                <a:gd name="connsiteX1084" fmla="*/ 1178353 w 12084394"/>
                <a:gd name="connsiteY1084" fmla="*/ 439913 h 4077840"/>
                <a:gd name="connsiteX1085" fmla="*/ 1227462 w 12084394"/>
                <a:gd name="connsiteY1085" fmla="*/ 489022 h 4077840"/>
                <a:gd name="connsiteX1086" fmla="*/ 1178353 w 12084394"/>
                <a:gd name="connsiteY1086" fmla="*/ 538132 h 4077840"/>
                <a:gd name="connsiteX1087" fmla="*/ 1129243 w 12084394"/>
                <a:gd name="connsiteY1087" fmla="*/ 489022 h 4077840"/>
                <a:gd name="connsiteX1088" fmla="*/ 1178353 w 12084394"/>
                <a:gd name="connsiteY1088" fmla="*/ 439913 h 4077840"/>
                <a:gd name="connsiteX1089" fmla="*/ 666483 w 12084394"/>
                <a:gd name="connsiteY1089" fmla="*/ 439913 h 4077840"/>
                <a:gd name="connsiteX1090" fmla="*/ 715592 w 12084394"/>
                <a:gd name="connsiteY1090" fmla="*/ 489022 h 4077840"/>
                <a:gd name="connsiteX1091" fmla="*/ 666483 w 12084394"/>
                <a:gd name="connsiteY1091" fmla="*/ 538132 h 4077840"/>
                <a:gd name="connsiteX1092" fmla="*/ 617373 w 12084394"/>
                <a:gd name="connsiteY1092" fmla="*/ 489022 h 4077840"/>
                <a:gd name="connsiteX1093" fmla="*/ 666483 w 12084394"/>
                <a:gd name="connsiteY1093" fmla="*/ 439913 h 4077840"/>
                <a:gd name="connsiteX1094" fmla="*/ 154424 w 12084394"/>
                <a:gd name="connsiteY1094" fmla="*/ 439913 h 4077840"/>
                <a:gd name="connsiteX1095" fmla="*/ 203534 w 12084394"/>
                <a:gd name="connsiteY1095" fmla="*/ 489022 h 4077840"/>
                <a:gd name="connsiteX1096" fmla="*/ 154424 w 12084394"/>
                <a:gd name="connsiteY1096" fmla="*/ 538132 h 4077840"/>
                <a:gd name="connsiteX1097" fmla="*/ 105315 w 12084394"/>
                <a:gd name="connsiteY1097" fmla="*/ 489022 h 4077840"/>
                <a:gd name="connsiteX1098" fmla="*/ 154424 w 12084394"/>
                <a:gd name="connsiteY1098" fmla="*/ 439913 h 4077840"/>
                <a:gd name="connsiteX1099" fmla="*/ 11929966 w 12084394"/>
                <a:gd name="connsiteY1099" fmla="*/ 439912 h 4077840"/>
                <a:gd name="connsiteX1100" fmla="*/ 11979075 w 12084394"/>
                <a:gd name="connsiteY1100" fmla="*/ 489022 h 4077840"/>
                <a:gd name="connsiteX1101" fmla="*/ 11929966 w 12084394"/>
                <a:gd name="connsiteY1101" fmla="*/ 538132 h 4077840"/>
                <a:gd name="connsiteX1102" fmla="*/ 11880856 w 12084394"/>
                <a:gd name="connsiteY1102" fmla="*/ 489022 h 4077840"/>
                <a:gd name="connsiteX1103" fmla="*/ 11929966 w 12084394"/>
                <a:gd name="connsiteY1103" fmla="*/ 439912 h 4077840"/>
                <a:gd name="connsiteX1104" fmla="*/ 11929965 w 12084394"/>
                <a:gd name="connsiteY1104" fmla="*/ 0 h 4077840"/>
                <a:gd name="connsiteX1105" fmla="*/ 11964908 w 12084394"/>
                <a:gd name="connsiteY1105" fmla="*/ 34944 h 4077840"/>
                <a:gd name="connsiteX1106" fmla="*/ 11929965 w 12084394"/>
                <a:gd name="connsiteY1106" fmla="*/ 69887 h 4077840"/>
                <a:gd name="connsiteX1107" fmla="*/ 11895022 w 12084394"/>
                <a:gd name="connsiteY1107" fmla="*/ 34944 h 4077840"/>
                <a:gd name="connsiteX1108" fmla="*/ 11929965 w 12084394"/>
                <a:gd name="connsiteY1108" fmla="*/ 0 h 4077840"/>
                <a:gd name="connsiteX1109" fmla="*/ 11417900 w 12084394"/>
                <a:gd name="connsiteY1109" fmla="*/ 0 h 4077840"/>
                <a:gd name="connsiteX1110" fmla="*/ 11452843 w 12084394"/>
                <a:gd name="connsiteY1110" fmla="*/ 34944 h 4077840"/>
                <a:gd name="connsiteX1111" fmla="*/ 11417900 w 12084394"/>
                <a:gd name="connsiteY1111" fmla="*/ 69887 h 4077840"/>
                <a:gd name="connsiteX1112" fmla="*/ 11382957 w 12084394"/>
                <a:gd name="connsiteY1112" fmla="*/ 34944 h 4077840"/>
                <a:gd name="connsiteX1113" fmla="*/ 11417900 w 12084394"/>
                <a:gd name="connsiteY1113" fmla="*/ 0 h 4077840"/>
                <a:gd name="connsiteX1114" fmla="*/ 10906023 w 12084394"/>
                <a:gd name="connsiteY1114" fmla="*/ 0 h 4077840"/>
                <a:gd name="connsiteX1115" fmla="*/ 10940966 w 12084394"/>
                <a:gd name="connsiteY1115" fmla="*/ 34944 h 4077840"/>
                <a:gd name="connsiteX1116" fmla="*/ 10906023 w 12084394"/>
                <a:gd name="connsiteY1116" fmla="*/ 69887 h 4077840"/>
                <a:gd name="connsiteX1117" fmla="*/ 10871080 w 12084394"/>
                <a:gd name="connsiteY1117" fmla="*/ 34944 h 4077840"/>
                <a:gd name="connsiteX1118" fmla="*/ 10906023 w 12084394"/>
                <a:gd name="connsiteY1118" fmla="*/ 0 h 4077840"/>
                <a:gd name="connsiteX1119" fmla="*/ 10393958 w 12084394"/>
                <a:gd name="connsiteY1119" fmla="*/ 0 h 4077840"/>
                <a:gd name="connsiteX1120" fmla="*/ 10428901 w 12084394"/>
                <a:gd name="connsiteY1120" fmla="*/ 34944 h 4077840"/>
                <a:gd name="connsiteX1121" fmla="*/ 10393958 w 12084394"/>
                <a:gd name="connsiteY1121" fmla="*/ 69887 h 4077840"/>
                <a:gd name="connsiteX1122" fmla="*/ 10359014 w 12084394"/>
                <a:gd name="connsiteY1122" fmla="*/ 34944 h 4077840"/>
                <a:gd name="connsiteX1123" fmla="*/ 10393958 w 12084394"/>
                <a:gd name="connsiteY1123" fmla="*/ 0 h 4077840"/>
                <a:gd name="connsiteX1124" fmla="*/ 9882080 w 12084394"/>
                <a:gd name="connsiteY1124" fmla="*/ 0 h 4077840"/>
                <a:gd name="connsiteX1125" fmla="*/ 9917023 w 12084394"/>
                <a:gd name="connsiteY1125" fmla="*/ 34944 h 4077840"/>
                <a:gd name="connsiteX1126" fmla="*/ 9882080 w 12084394"/>
                <a:gd name="connsiteY1126" fmla="*/ 69887 h 4077840"/>
                <a:gd name="connsiteX1127" fmla="*/ 9847137 w 12084394"/>
                <a:gd name="connsiteY1127" fmla="*/ 34944 h 4077840"/>
                <a:gd name="connsiteX1128" fmla="*/ 9882080 w 12084394"/>
                <a:gd name="connsiteY1128" fmla="*/ 0 h 4077840"/>
                <a:gd name="connsiteX1129" fmla="*/ 9370014 w 12084394"/>
                <a:gd name="connsiteY1129" fmla="*/ 0 h 4077840"/>
                <a:gd name="connsiteX1130" fmla="*/ 9404958 w 12084394"/>
                <a:gd name="connsiteY1130" fmla="*/ 34944 h 4077840"/>
                <a:gd name="connsiteX1131" fmla="*/ 9370014 w 12084394"/>
                <a:gd name="connsiteY1131" fmla="*/ 69887 h 4077840"/>
                <a:gd name="connsiteX1132" fmla="*/ 9335070 w 12084394"/>
                <a:gd name="connsiteY1132" fmla="*/ 34944 h 4077840"/>
                <a:gd name="connsiteX1133" fmla="*/ 9370014 w 12084394"/>
                <a:gd name="connsiteY1133" fmla="*/ 0 h 4077840"/>
                <a:gd name="connsiteX1134" fmla="*/ 8857948 w 12084394"/>
                <a:gd name="connsiteY1134" fmla="*/ 0 h 4077840"/>
                <a:gd name="connsiteX1135" fmla="*/ 8892891 w 12084394"/>
                <a:gd name="connsiteY1135" fmla="*/ 34944 h 4077840"/>
                <a:gd name="connsiteX1136" fmla="*/ 8857948 w 12084394"/>
                <a:gd name="connsiteY1136" fmla="*/ 69887 h 4077840"/>
                <a:gd name="connsiteX1137" fmla="*/ 8823004 w 12084394"/>
                <a:gd name="connsiteY1137" fmla="*/ 34944 h 4077840"/>
                <a:gd name="connsiteX1138" fmla="*/ 8857948 w 12084394"/>
                <a:gd name="connsiteY1138" fmla="*/ 0 h 4077840"/>
                <a:gd name="connsiteX1139" fmla="*/ 8346071 w 12084394"/>
                <a:gd name="connsiteY1139" fmla="*/ 0 h 4077840"/>
                <a:gd name="connsiteX1140" fmla="*/ 8381015 w 12084394"/>
                <a:gd name="connsiteY1140" fmla="*/ 34944 h 4077840"/>
                <a:gd name="connsiteX1141" fmla="*/ 8346071 w 12084394"/>
                <a:gd name="connsiteY1141" fmla="*/ 69887 h 4077840"/>
                <a:gd name="connsiteX1142" fmla="*/ 8311127 w 12084394"/>
                <a:gd name="connsiteY1142" fmla="*/ 34944 h 4077840"/>
                <a:gd name="connsiteX1143" fmla="*/ 8346071 w 12084394"/>
                <a:gd name="connsiteY1143" fmla="*/ 0 h 4077840"/>
                <a:gd name="connsiteX1144" fmla="*/ 7834004 w 12084394"/>
                <a:gd name="connsiteY1144" fmla="*/ 0 h 4077840"/>
                <a:gd name="connsiteX1145" fmla="*/ 7868948 w 12084394"/>
                <a:gd name="connsiteY1145" fmla="*/ 34944 h 4077840"/>
                <a:gd name="connsiteX1146" fmla="*/ 7834004 w 12084394"/>
                <a:gd name="connsiteY1146" fmla="*/ 69887 h 4077840"/>
                <a:gd name="connsiteX1147" fmla="*/ 7799061 w 12084394"/>
                <a:gd name="connsiteY1147" fmla="*/ 34944 h 4077840"/>
                <a:gd name="connsiteX1148" fmla="*/ 7834004 w 12084394"/>
                <a:gd name="connsiteY1148" fmla="*/ 0 h 4077840"/>
                <a:gd name="connsiteX1149" fmla="*/ 7322128 w 12084394"/>
                <a:gd name="connsiteY1149" fmla="*/ 0 h 4077840"/>
                <a:gd name="connsiteX1150" fmla="*/ 7357071 w 12084394"/>
                <a:gd name="connsiteY1150" fmla="*/ 34944 h 4077840"/>
                <a:gd name="connsiteX1151" fmla="*/ 7322128 w 12084394"/>
                <a:gd name="connsiteY1151" fmla="*/ 69887 h 4077840"/>
                <a:gd name="connsiteX1152" fmla="*/ 7287184 w 12084394"/>
                <a:gd name="connsiteY1152" fmla="*/ 34944 h 4077840"/>
                <a:gd name="connsiteX1153" fmla="*/ 7322128 w 12084394"/>
                <a:gd name="connsiteY1153" fmla="*/ 0 h 4077840"/>
                <a:gd name="connsiteX1154" fmla="*/ 6810062 w 12084394"/>
                <a:gd name="connsiteY1154" fmla="*/ 0 h 4077840"/>
                <a:gd name="connsiteX1155" fmla="*/ 6845006 w 12084394"/>
                <a:gd name="connsiteY1155" fmla="*/ 34944 h 4077840"/>
                <a:gd name="connsiteX1156" fmla="*/ 6810062 w 12084394"/>
                <a:gd name="connsiteY1156" fmla="*/ 69887 h 4077840"/>
                <a:gd name="connsiteX1157" fmla="*/ 6775118 w 12084394"/>
                <a:gd name="connsiteY1157" fmla="*/ 34944 h 4077840"/>
                <a:gd name="connsiteX1158" fmla="*/ 6810062 w 12084394"/>
                <a:gd name="connsiteY1158" fmla="*/ 0 h 4077840"/>
                <a:gd name="connsiteX1159" fmla="*/ 6298186 w 12084394"/>
                <a:gd name="connsiteY1159" fmla="*/ 0 h 4077840"/>
                <a:gd name="connsiteX1160" fmla="*/ 6333129 w 12084394"/>
                <a:gd name="connsiteY1160" fmla="*/ 34944 h 4077840"/>
                <a:gd name="connsiteX1161" fmla="*/ 6298186 w 12084394"/>
                <a:gd name="connsiteY1161" fmla="*/ 69887 h 4077840"/>
                <a:gd name="connsiteX1162" fmla="*/ 6263242 w 12084394"/>
                <a:gd name="connsiteY1162" fmla="*/ 34944 h 4077840"/>
                <a:gd name="connsiteX1163" fmla="*/ 6298186 w 12084394"/>
                <a:gd name="connsiteY1163" fmla="*/ 0 h 4077840"/>
                <a:gd name="connsiteX1164" fmla="*/ 5786126 w 12084394"/>
                <a:gd name="connsiteY1164" fmla="*/ 0 h 4077840"/>
                <a:gd name="connsiteX1165" fmla="*/ 5821068 w 12084394"/>
                <a:gd name="connsiteY1165" fmla="*/ 34944 h 4077840"/>
                <a:gd name="connsiteX1166" fmla="*/ 5786126 w 12084394"/>
                <a:gd name="connsiteY1166" fmla="*/ 69887 h 4077840"/>
                <a:gd name="connsiteX1167" fmla="*/ 5751183 w 12084394"/>
                <a:gd name="connsiteY1167" fmla="*/ 34944 h 4077840"/>
                <a:gd name="connsiteX1168" fmla="*/ 5786126 w 12084394"/>
                <a:gd name="connsiteY1168" fmla="*/ 0 h 4077840"/>
                <a:gd name="connsiteX1169" fmla="*/ 5274270 w 12084394"/>
                <a:gd name="connsiteY1169" fmla="*/ 0 h 4077840"/>
                <a:gd name="connsiteX1170" fmla="*/ 5309213 w 12084394"/>
                <a:gd name="connsiteY1170" fmla="*/ 34944 h 4077840"/>
                <a:gd name="connsiteX1171" fmla="*/ 5274270 w 12084394"/>
                <a:gd name="connsiteY1171" fmla="*/ 69887 h 4077840"/>
                <a:gd name="connsiteX1172" fmla="*/ 5239326 w 12084394"/>
                <a:gd name="connsiteY1172" fmla="*/ 34944 h 4077840"/>
                <a:gd name="connsiteX1173" fmla="*/ 5274270 w 12084394"/>
                <a:gd name="connsiteY1173" fmla="*/ 0 h 4077840"/>
                <a:gd name="connsiteX1174" fmla="*/ 4762180 w 12084394"/>
                <a:gd name="connsiteY1174" fmla="*/ 0 h 4077840"/>
                <a:gd name="connsiteX1175" fmla="*/ 4797138 w 12084394"/>
                <a:gd name="connsiteY1175" fmla="*/ 34944 h 4077840"/>
                <a:gd name="connsiteX1176" fmla="*/ 4762180 w 12084394"/>
                <a:gd name="connsiteY1176" fmla="*/ 69887 h 4077840"/>
                <a:gd name="connsiteX1177" fmla="*/ 4727244 w 12084394"/>
                <a:gd name="connsiteY1177" fmla="*/ 34944 h 4077840"/>
                <a:gd name="connsiteX1178" fmla="*/ 4762180 w 12084394"/>
                <a:gd name="connsiteY1178" fmla="*/ 0 h 4077840"/>
                <a:gd name="connsiteX1179" fmla="*/ 4250316 w 12084394"/>
                <a:gd name="connsiteY1179" fmla="*/ 0 h 4077840"/>
                <a:gd name="connsiteX1180" fmla="*/ 4285260 w 12084394"/>
                <a:gd name="connsiteY1180" fmla="*/ 34944 h 4077840"/>
                <a:gd name="connsiteX1181" fmla="*/ 4250316 w 12084394"/>
                <a:gd name="connsiteY1181" fmla="*/ 69887 h 4077840"/>
                <a:gd name="connsiteX1182" fmla="*/ 4215371 w 12084394"/>
                <a:gd name="connsiteY1182" fmla="*/ 34944 h 4077840"/>
                <a:gd name="connsiteX1183" fmla="*/ 4250316 w 12084394"/>
                <a:gd name="connsiteY1183" fmla="*/ 0 h 4077840"/>
                <a:gd name="connsiteX1184" fmla="*/ 3738287 w 12084394"/>
                <a:gd name="connsiteY1184" fmla="*/ 0 h 4077840"/>
                <a:gd name="connsiteX1185" fmla="*/ 3773228 w 12084394"/>
                <a:gd name="connsiteY1185" fmla="*/ 34944 h 4077840"/>
                <a:gd name="connsiteX1186" fmla="*/ 3738287 w 12084394"/>
                <a:gd name="connsiteY1186" fmla="*/ 69887 h 4077840"/>
                <a:gd name="connsiteX1187" fmla="*/ 3703339 w 12084394"/>
                <a:gd name="connsiteY1187" fmla="*/ 34944 h 4077840"/>
                <a:gd name="connsiteX1188" fmla="*/ 3738287 w 12084394"/>
                <a:gd name="connsiteY1188" fmla="*/ 0 h 4077840"/>
                <a:gd name="connsiteX1189" fmla="*/ 3226239 w 12084394"/>
                <a:gd name="connsiteY1189" fmla="*/ 0 h 4077840"/>
                <a:gd name="connsiteX1190" fmla="*/ 3261187 w 12084394"/>
                <a:gd name="connsiteY1190" fmla="*/ 34944 h 4077840"/>
                <a:gd name="connsiteX1191" fmla="*/ 3226239 w 12084394"/>
                <a:gd name="connsiteY1191" fmla="*/ 69887 h 4077840"/>
                <a:gd name="connsiteX1192" fmla="*/ 3191293 w 12084394"/>
                <a:gd name="connsiteY1192" fmla="*/ 34944 h 4077840"/>
                <a:gd name="connsiteX1193" fmla="*/ 3226239 w 12084394"/>
                <a:gd name="connsiteY1193" fmla="*/ 0 h 4077840"/>
                <a:gd name="connsiteX1194" fmla="*/ 2714361 w 12084394"/>
                <a:gd name="connsiteY1194" fmla="*/ 0 h 4077840"/>
                <a:gd name="connsiteX1195" fmla="*/ 2749305 w 12084394"/>
                <a:gd name="connsiteY1195" fmla="*/ 34944 h 4077840"/>
                <a:gd name="connsiteX1196" fmla="*/ 2714361 w 12084394"/>
                <a:gd name="connsiteY1196" fmla="*/ 69887 h 4077840"/>
                <a:gd name="connsiteX1197" fmla="*/ 2679418 w 12084394"/>
                <a:gd name="connsiteY1197" fmla="*/ 34944 h 4077840"/>
                <a:gd name="connsiteX1198" fmla="*/ 2714361 w 12084394"/>
                <a:gd name="connsiteY1198" fmla="*/ 0 h 4077840"/>
                <a:gd name="connsiteX1199" fmla="*/ 2202305 w 12084394"/>
                <a:gd name="connsiteY1199" fmla="*/ 0 h 4077840"/>
                <a:gd name="connsiteX1200" fmla="*/ 2237248 w 12084394"/>
                <a:gd name="connsiteY1200" fmla="*/ 34944 h 4077840"/>
                <a:gd name="connsiteX1201" fmla="*/ 2202305 w 12084394"/>
                <a:gd name="connsiteY1201" fmla="*/ 69887 h 4077840"/>
                <a:gd name="connsiteX1202" fmla="*/ 2167360 w 12084394"/>
                <a:gd name="connsiteY1202" fmla="*/ 34944 h 4077840"/>
                <a:gd name="connsiteX1203" fmla="*/ 2202305 w 12084394"/>
                <a:gd name="connsiteY1203" fmla="*/ 0 h 4077840"/>
                <a:gd name="connsiteX1204" fmla="*/ 1690412 w 12084394"/>
                <a:gd name="connsiteY1204" fmla="*/ 0 h 4077840"/>
                <a:gd name="connsiteX1205" fmla="*/ 1725355 w 12084394"/>
                <a:gd name="connsiteY1205" fmla="*/ 34944 h 4077840"/>
                <a:gd name="connsiteX1206" fmla="*/ 1690412 w 12084394"/>
                <a:gd name="connsiteY1206" fmla="*/ 69887 h 4077840"/>
                <a:gd name="connsiteX1207" fmla="*/ 1655468 w 12084394"/>
                <a:gd name="connsiteY1207" fmla="*/ 34944 h 4077840"/>
                <a:gd name="connsiteX1208" fmla="*/ 1690412 w 12084394"/>
                <a:gd name="connsiteY1208" fmla="*/ 0 h 4077840"/>
                <a:gd name="connsiteX1209" fmla="*/ 1178353 w 12084394"/>
                <a:gd name="connsiteY1209" fmla="*/ 0 h 4077840"/>
                <a:gd name="connsiteX1210" fmla="*/ 1213295 w 12084394"/>
                <a:gd name="connsiteY1210" fmla="*/ 34944 h 4077840"/>
                <a:gd name="connsiteX1211" fmla="*/ 1178353 w 12084394"/>
                <a:gd name="connsiteY1211" fmla="*/ 69887 h 4077840"/>
                <a:gd name="connsiteX1212" fmla="*/ 1143409 w 12084394"/>
                <a:gd name="connsiteY1212" fmla="*/ 34944 h 4077840"/>
                <a:gd name="connsiteX1213" fmla="*/ 1178353 w 12084394"/>
                <a:gd name="connsiteY1213" fmla="*/ 0 h 4077840"/>
                <a:gd name="connsiteX1214" fmla="*/ 666483 w 12084394"/>
                <a:gd name="connsiteY1214" fmla="*/ 0 h 4077840"/>
                <a:gd name="connsiteX1215" fmla="*/ 701425 w 12084394"/>
                <a:gd name="connsiteY1215" fmla="*/ 34944 h 4077840"/>
                <a:gd name="connsiteX1216" fmla="*/ 666483 w 12084394"/>
                <a:gd name="connsiteY1216" fmla="*/ 69887 h 4077840"/>
                <a:gd name="connsiteX1217" fmla="*/ 631539 w 12084394"/>
                <a:gd name="connsiteY1217" fmla="*/ 34944 h 4077840"/>
                <a:gd name="connsiteX1218" fmla="*/ 666483 w 12084394"/>
                <a:gd name="connsiteY1218" fmla="*/ 0 h 4077840"/>
                <a:gd name="connsiteX1219" fmla="*/ 154424 w 12084394"/>
                <a:gd name="connsiteY1219" fmla="*/ 0 h 4077840"/>
                <a:gd name="connsiteX1220" fmla="*/ 189367 w 12084394"/>
                <a:gd name="connsiteY1220" fmla="*/ 34944 h 4077840"/>
                <a:gd name="connsiteX1221" fmla="*/ 154424 w 12084394"/>
                <a:gd name="connsiteY1221" fmla="*/ 69887 h 4077840"/>
                <a:gd name="connsiteX1222" fmla="*/ 119480 w 12084394"/>
                <a:gd name="connsiteY1222" fmla="*/ 34944 h 4077840"/>
                <a:gd name="connsiteX1223" fmla="*/ 154424 w 12084394"/>
                <a:gd name="connsiteY1223" fmla="*/ 0 h 40778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</a:cxnLst>
              <a:rect l="l" t="t" r="r" b="b"/>
              <a:pathLst>
                <a:path w="12084394" h="4077840">
                  <a:moveTo>
                    <a:pt x="11929965" y="3958074"/>
                  </a:moveTo>
                  <a:cubicBezTo>
                    <a:pt x="11997563" y="3958074"/>
                    <a:pt x="12055562" y="3999174"/>
                    <a:pt x="12080337" y="4057748"/>
                  </a:cubicBezTo>
                  <a:lnTo>
                    <a:pt x="12084394" y="4077840"/>
                  </a:lnTo>
                  <a:lnTo>
                    <a:pt x="11775537" y="4077840"/>
                  </a:lnTo>
                  <a:lnTo>
                    <a:pt x="11779594" y="4057748"/>
                  </a:lnTo>
                  <a:cubicBezTo>
                    <a:pt x="11804369" y="3999174"/>
                    <a:pt x="11862367" y="3958074"/>
                    <a:pt x="11929965" y="3958074"/>
                  </a:cubicBezTo>
                  <a:close/>
                  <a:moveTo>
                    <a:pt x="11417899" y="3958074"/>
                  </a:moveTo>
                  <a:cubicBezTo>
                    <a:pt x="11485497" y="3958074"/>
                    <a:pt x="11543496" y="3999174"/>
                    <a:pt x="11568271" y="4057748"/>
                  </a:cubicBezTo>
                  <a:lnTo>
                    <a:pt x="11572328" y="4077840"/>
                  </a:lnTo>
                  <a:lnTo>
                    <a:pt x="11263471" y="4077840"/>
                  </a:lnTo>
                  <a:lnTo>
                    <a:pt x="11267528" y="4057748"/>
                  </a:lnTo>
                  <a:cubicBezTo>
                    <a:pt x="11292303" y="3999174"/>
                    <a:pt x="11350302" y="3958074"/>
                    <a:pt x="11417899" y="3958074"/>
                  </a:cubicBezTo>
                  <a:close/>
                  <a:moveTo>
                    <a:pt x="10906022" y="3958074"/>
                  </a:moveTo>
                  <a:cubicBezTo>
                    <a:pt x="10973620" y="3958074"/>
                    <a:pt x="11031619" y="3999174"/>
                    <a:pt x="11056393" y="4057748"/>
                  </a:cubicBezTo>
                  <a:lnTo>
                    <a:pt x="11060450" y="4077840"/>
                  </a:lnTo>
                  <a:lnTo>
                    <a:pt x="10751593" y="4077840"/>
                  </a:lnTo>
                  <a:lnTo>
                    <a:pt x="10755650" y="4057748"/>
                  </a:lnTo>
                  <a:cubicBezTo>
                    <a:pt x="10780425" y="3999174"/>
                    <a:pt x="10838424" y="3958074"/>
                    <a:pt x="10906022" y="3958074"/>
                  </a:cubicBezTo>
                  <a:close/>
                  <a:moveTo>
                    <a:pt x="10393956" y="3958074"/>
                  </a:moveTo>
                  <a:cubicBezTo>
                    <a:pt x="10461554" y="3958074"/>
                    <a:pt x="10519553" y="3999174"/>
                    <a:pt x="10544328" y="4057748"/>
                  </a:cubicBezTo>
                  <a:lnTo>
                    <a:pt x="10548385" y="4077840"/>
                  </a:lnTo>
                  <a:lnTo>
                    <a:pt x="10239527" y="4077840"/>
                  </a:lnTo>
                  <a:lnTo>
                    <a:pt x="10243584" y="4057748"/>
                  </a:lnTo>
                  <a:cubicBezTo>
                    <a:pt x="10268359" y="3999174"/>
                    <a:pt x="10326358" y="3958074"/>
                    <a:pt x="10393956" y="3958074"/>
                  </a:cubicBezTo>
                  <a:close/>
                  <a:moveTo>
                    <a:pt x="9882079" y="3958074"/>
                  </a:moveTo>
                  <a:cubicBezTo>
                    <a:pt x="9949677" y="3958074"/>
                    <a:pt x="10007676" y="3999174"/>
                    <a:pt x="10032451" y="4057748"/>
                  </a:cubicBezTo>
                  <a:lnTo>
                    <a:pt x="10036508" y="4077840"/>
                  </a:lnTo>
                  <a:lnTo>
                    <a:pt x="9727651" y="4077840"/>
                  </a:lnTo>
                  <a:lnTo>
                    <a:pt x="9731708" y="4057748"/>
                  </a:lnTo>
                  <a:cubicBezTo>
                    <a:pt x="9756482" y="3999174"/>
                    <a:pt x="9814482" y="3958074"/>
                    <a:pt x="9882079" y="3958074"/>
                  </a:cubicBezTo>
                  <a:close/>
                  <a:moveTo>
                    <a:pt x="9370013" y="3958074"/>
                  </a:moveTo>
                  <a:cubicBezTo>
                    <a:pt x="9437610" y="3958074"/>
                    <a:pt x="9495610" y="3999174"/>
                    <a:pt x="9520384" y="4057748"/>
                  </a:cubicBezTo>
                  <a:lnTo>
                    <a:pt x="9524441" y="4077840"/>
                  </a:lnTo>
                  <a:lnTo>
                    <a:pt x="9215584" y="4077840"/>
                  </a:lnTo>
                  <a:lnTo>
                    <a:pt x="9219641" y="4057748"/>
                  </a:lnTo>
                  <a:cubicBezTo>
                    <a:pt x="9244415" y="3999174"/>
                    <a:pt x="9302414" y="3958074"/>
                    <a:pt x="9370013" y="3958074"/>
                  </a:cubicBezTo>
                  <a:close/>
                  <a:moveTo>
                    <a:pt x="8858136" y="3958074"/>
                  </a:moveTo>
                  <a:cubicBezTo>
                    <a:pt x="8925734" y="3958074"/>
                    <a:pt x="8983733" y="3999174"/>
                    <a:pt x="9008508" y="4057748"/>
                  </a:cubicBezTo>
                  <a:lnTo>
                    <a:pt x="9012565" y="4077840"/>
                  </a:lnTo>
                  <a:lnTo>
                    <a:pt x="8703708" y="4077840"/>
                  </a:lnTo>
                  <a:lnTo>
                    <a:pt x="8707765" y="4057748"/>
                  </a:lnTo>
                  <a:cubicBezTo>
                    <a:pt x="8732539" y="3999174"/>
                    <a:pt x="8790538" y="3958074"/>
                    <a:pt x="8858136" y="3958074"/>
                  </a:cubicBezTo>
                  <a:close/>
                  <a:moveTo>
                    <a:pt x="8346070" y="3958074"/>
                  </a:moveTo>
                  <a:cubicBezTo>
                    <a:pt x="8413668" y="3958074"/>
                    <a:pt x="8471666" y="3999174"/>
                    <a:pt x="8496441" y="4057748"/>
                  </a:cubicBezTo>
                  <a:lnTo>
                    <a:pt x="8500498" y="4077840"/>
                  </a:lnTo>
                  <a:lnTo>
                    <a:pt x="8191642" y="4077840"/>
                  </a:lnTo>
                  <a:lnTo>
                    <a:pt x="8195698" y="4057748"/>
                  </a:lnTo>
                  <a:cubicBezTo>
                    <a:pt x="8220473" y="3999174"/>
                    <a:pt x="8278472" y="3958074"/>
                    <a:pt x="8346070" y="3958074"/>
                  </a:cubicBezTo>
                  <a:close/>
                  <a:moveTo>
                    <a:pt x="7834193" y="3958074"/>
                  </a:moveTo>
                  <a:cubicBezTo>
                    <a:pt x="7901792" y="3958074"/>
                    <a:pt x="7959791" y="3999174"/>
                    <a:pt x="7984565" y="4057748"/>
                  </a:cubicBezTo>
                  <a:lnTo>
                    <a:pt x="7988622" y="4077840"/>
                  </a:lnTo>
                  <a:lnTo>
                    <a:pt x="7679765" y="4077840"/>
                  </a:lnTo>
                  <a:lnTo>
                    <a:pt x="7683822" y="4057748"/>
                  </a:lnTo>
                  <a:cubicBezTo>
                    <a:pt x="7708596" y="3999174"/>
                    <a:pt x="7766595" y="3958074"/>
                    <a:pt x="7834193" y="3958074"/>
                  </a:cubicBezTo>
                  <a:close/>
                  <a:moveTo>
                    <a:pt x="7322127" y="3958074"/>
                  </a:moveTo>
                  <a:cubicBezTo>
                    <a:pt x="7389725" y="3958074"/>
                    <a:pt x="7447724" y="3999174"/>
                    <a:pt x="7472498" y="4057748"/>
                  </a:cubicBezTo>
                  <a:lnTo>
                    <a:pt x="7476555" y="4077840"/>
                  </a:lnTo>
                  <a:lnTo>
                    <a:pt x="7167699" y="4077840"/>
                  </a:lnTo>
                  <a:lnTo>
                    <a:pt x="7171755" y="4057748"/>
                  </a:lnTo>
                  <a:cubicBezTo>
                    <a:pt x="7196530" y="3999174"/>
                    <a:pt x="7254529" y="3958074"/>
                    <a:pt x="7322127" y="3958074"/>
                  </a:cubicBezTo>
                  <a:close/>
                  <a:moveTo>
                    <a:pt x="6810062" y="3958074"/>
                  </a:moveTo>
                  <a:cubicBezTo>
                    <a:pt x="6877661" y="3958074"/>
                    <a:pt x="6935660" y="3999174"/>
                    <a:pt x="6960434" y="4057748"/>
                  </a:cubicBezTo>
                  <a:lnTo>
                    <a:pt x="6964491" y="4077840"/>
                  </a:lnTo>
                  <a:lnTo>
                    <a:pt x="6655635" y="4077840"/>
                  </a:lnTo>
                  <a:lnTo>
                    <a:pt x="6659691" y="4057748"/>
                  </a:lnTo>
                  <a:cubicBezTo>
                    <a:pt x="6684466" y="3999174"/>
                    <a:pt x="6742464" y="3958074"/>
                    <a:pt x="6810062" y="3958074"/>
                  </a:cubicBezTo>
                  <a:close/>
                  <a:moveTo>
                    <a:pt x="6298184" y="3958074"/>
                  </a:moveTo>
                  <a:cubicBezTo>
                    <a:pt x="6365783" y="3958074"/>
                    <a:pt x="6423782" y="3999174"/>
                    <a:pt x="6448557" y="4057748"/>
                  </a:cubicBezTo>
                  <a:lnTo>
                    <a:pt x="6452613" y="4077840"/>
                  </a:lnTo>
                  <a:lnTo>
                    <a:pt x="6143757" y="4077840"/>
                  </a:lnTo>
                  <a:lnTo>
                    <a:pt x="6147813" y="4057748"/>
                  </a:lnTo>
                  <a:cubicBezTo>
                    <a:pt x="6172588" y="3999174"/>
                    <a:pt x="6230586" y="3958074"/>
                    <a:pt x="6298184" y="3958074"/>
                  </a:cubicBezTo>
                  <a:close/>
                  <a:moveTo>
                    <a:pt x="5786126" y="3958074"/>
                  </a:moveTo>
                  <a:cubicBezTo>
                    <a:pt x="5853721" y="3958074"/>
                    <a:pt x="5911718" y="3999174"/>
                    <a:pt x="5936491" y="4057748"/>
                  </a:cubicBezTo>
                  <a:lnTo>
                    <a:pt x="5940548" y="4077840"/>
                  </a:lnTo>
                  <a:lnTo>
                    <a:pt x="5631705" y="4077840"/>
                  </a:lnTo>
                  <a:lnTo>
                    <a:pt x="5635761" y="4057748"/>
                  </a:lnTo>
                  <a:cubicBezTo>
                    <a:pt x="5660535" y="3999174"/>
                    <a:pt x="5718532" y="3958074"/>
                    <a:pt x="5786126" y="3958074"/>
                  </a:cubicBezTo>
                  <a:close/>
                  <a:moveTo>
                    <a:pt x="5274270" y="3958074"/>
                  </a:moveTo>
                  <a:cubicBezTo>
                    <a:pt x="5341866" y="3958074"/>
                    <a:pt x="5399863" y="3999174"/>
                    <a:pt x="5424637" y="4057748"/>
                  </a:cubicBezTo>
                  <a:lnTo>
                    <a:pt x="5428693" y="4077840"/>
                  </a:lnTo>
                  <a:lnTo>
                    <a:pt x="5119842" y="4077840"/>
                  </a:lnTo>
                  <a:lnTo>
                    <a:pt x="5123898" y="4057748"/>
                  </a:lnTo>
                  <a:cubicBezTo>
                    <a:pt x="5148673" y="3999174"/>
                    <a:pt x="5206672" y="3958074"/>
                    <a:pt x="5274270" y="3958074"/>
                  </a:cubicBezTo>
                  <a:close/>
                  <a:moveTo>
                    <a:pt x="4762180" y="3958074"/>
                  </a:moveTo>
                  <a:cubicBezTo>
                    <a:pt x="4829804" y="3958074"/>
                    <a:pt x="4887811" y="3999174"/>
                    <a:pt x="4912588" y="4057748"/>
                  </a:cubicBezTo>
                  <a:lnTo>
                    <a:pt x="4916645" y="4077840"/>
                  </a:lnTo>
                  <a:lnTo>
                    <a:pt x="4607771" y="4077840"/>
                  </a:lnTo>
                  <a:lnTo>
                    <a:pt x="4611827" y="4057748"/>
                  </a:lnTo>
                  <a:cubicBezTo>
                    <a:pt x="4636599" y="3999174"/>
                    <a:pt x="4694593" y="3958074"/>
                    <a:pt x="4762180" y="3958074"/>
                  </a:cubicBezTo>
                  <a:close/>
                  <a:moveTo>
                    <a:pt x="4250316" y="3958074"/>
                  </a:moveTo>
                  <a:cubicBezTo>
                    <a:pt x="4317919" y="3958074"/>
                    <a:pt x="4375920" y="3999174"/>
                    <a:pt x="4400696" y="4057748"/>
                  </a:cubicBezTo>
                  <a:lnTo>
                    <a:pt x="4404753" y="4077840"/>
                  </a:lnTo>
                  <a:lnTo>
                    <a:pt x="4095930" y="4077840"/>
                  </a:lnTo>
                  <a:lnTo>
                    <a:pt x="4099984" y="4057748"/>
                  </a:lnTo>
                  <a:cubicBezTo>
                    <a:pt x="4124744" y="3999174"/>
                    <a:pt x="4182715" y="3958074"/>
                    <a:pt x="4250316" y="3958074"/>
                  </a:cubicBezTo>
                  <a:close/>
                  <a:moveTo>
                    <a:pt x="3738289" y="3958074"/>
                  </a:moveTo>
                  <a:cubicBezTo>
                    <a:pt x="3805888" y="3958074"/>
                    <a:pt x="3863888" y="3999174"/>
                    <a:pt x="3888663" y="4057748"/>
                  </a:cubicBezTo>
                  <a:lnTo>
                    <a:pt x="3892720" y="4077840"/>
                  </a:lnTo>
                  <a:lnTo>
                    <a:pt x="3583860" y="4077840"/>
                  </a:lnTo>
                  <a:lnTo>
                    <a:pt x="3587916" y="4057748"/>
                  </a:lnTo>
                  <a:cubicBezTo>
                    <a:pt x="3612688" y="3999174"/>
                    <a:pt x="3670683" y="3958074"/>
                    <a:pt x="3738289" y="3958074"/>
                  </a:cubicBezTo>
                  <a:close/>
                  <a:moveTo>
                    <a:pt x="3226242" y="3958074"/>
                  </a:moveTo>
                  <a:cubicBezTo>
                    <a:pt x="3293846" y="3958074"/>
                    <a:pt x="3351848" y="3999174"/>
                    <a:pt x="3376624" y="4057748"/>
                  </a:cubicBezTo>
                  <a:lnTo>
                    <a:pt x="3380681" y="4077840"/>
                  </a:lnTo>
                  <a:lnTo>
                    <a:pt x="3071812" y="4077840"/>
                  </a:lnTo>
                  <a:lnTo>
                    <a:pt x="3075868" y="4057748"/>
                  </a:lnTo>
                  <a:cubicBezTo>
                    <a:pt x="3100643" y="3999174"/>
                    <a:pt x="3158643" y="3958074"/>
                    <a:pt x="3226242" y="3958074"/>
                  </a:cubicBezTo>
                  <a:close/>
                  <a:moveTo>
                    <a:pt x="2714363" y="3958074"/>
                  </a:moveTo>
                  <a:cubicBezTo>
                    <a:pt x="2781962" y="3958074"/>
                    <a:pt x="2839961" y="3999174"/>
                    <a:pt x="2864736" y="4057748"/>
                  </a:cubicBezTo>
                  <a:lnTo>
                    <a:pt x="2868792" y="4077840"/>
                  </a:lnTo>
                  <a:lnTo>
                    <a:pt x="2559936" y="4077840"/>
                  </a:lnTo>
                  <a:lnTo>
                    <a:pt x="2563993" y="4057748"/>
                  </a:lnTo>
                  <a:cubicBezTo>
                    <a:pt x="2588767" y="3999174"/>
                    <a:pt x="2646765" y="3958074"/>
                    <a:pt x="2714363" y="3958074"/>
                  </a:cubicBezTo>
                  <a:close/>
                  <a:moveTo>
                    <a:pt x="2202307" y="3958074"/>
                  </a:moveTo>
                  <a:cubicBezTo>
                    <a:pt x="2269904" y="3958074"/>
                    <a:pt x="2327902" y="3999174"/>
                    <a:pt x="2352676" y="4057748"/>
                  </a:cubicBezTo>
                  <a:lnTo>
                    <a:pt x="2356732" y="4077840"/>
                  </a:lnTo>
                  <a:lnTo>
                    <a:pt x="2047866" y="4077840"/>
                  </a:lnTo>
                  <a:lnTo>
                    <a:pt x="2051924" y="4057748"/>
                  </a:lnTo>
                  <a:cubicBezTo>
                    <a:pt x="2076703" y="3999174"/>
                    <a:pt x="2134711" y="3958074"/>
                    <a:pt x="2202307" y="3958074"/>
                  </a:cubicBezTo>
                  <a:close/>
                  <a:moveTo>
                    <a:pt x="1690413" y="3958074"/>
                  </a:moveTo>
                  <a:cubicBezTo>
                    <a:pt x="1758012" y="3958074"/>
                    <a:pt x="1816010" y="3999174"/>
                    <a:pt x="1840785" y="4057748"/>
                  </a:cubicBezTo>
                  <a:lnTo>
                    <a:pt x="1844841" y="4077840"/>
                  </a:lnTo>
                  <a:lnTo>
                    <a:pt x="1535987" y="4077840"/>
                  </a:lnTo>
                  <a:lnTo>
                    <a:pt x="1540043" y="4057748"/>
                  </a:lnTo>
                  <a:cubicBezTo>
                    <a:pt x="1564818" y="3999174"/>
                    <a:pt x="1622817" y="3958074"/>
                    <a:pt x="1690413" y="3958074"/>
                  </a:cubicBezTo>
                  <a:close/>
                  <a:moveTo>
                    <a:pt x="1178354" y="3958074"/>
                  </a:moveTo>
                  <a:cubicBezTo>
                    <a:pt x="1245952" y="3958074"/>
                    <a:pt x="1303950" y="3999174"/>
                    <a:pt x="1328724" y="4057748"/>
                  </a:cubicBezTo>
                  <a:lnTo>
                    <a:pt x="1332781" y="4077840"/>
                  </a:lnTo>
                  <a:lnTo>
                    <a:pt x="1023928" y="4077840"/>
                  </a:lnTo>
                  <a:lnTo>
                    <a:pt x="1027984" y="4057748"/>
                  </a:lnTo>
                  <a:cubicBezTo>
                    <a:pt x="1052759" y="3999174"/>
                    <a:pt x="1110758" y="3958074"/>
                    <a:pt x="1178354" y="3958074"/>
                  </a:cubicBezTo>
                  <a:close/>
                  <a:moveTo>
                    <a:pt x="666484" y="3958074"/>
                  </a:moveTo>
                  <a:cubicBezTo>
                    <a:pt x="734082" y="3958074"/>
                    <a:pt x="792080" y="3999174"/>
                    <a:pt x="816855" y="4057748"/>
                  </a:cubicBezTo>
                  <a:lnTo>
                    <a:pt x="820911" y="4077840"/>
                  </a:lnTo>
                  <a:lnTo>
                    <a:pt x="512057" y="4077840"/>
                  </a:lnTo>
                  <a:lnTo>
                    <a:pt x="516114" y="4057748"/>
                  </a:lnTo>
                  <a:cubicBezTo>
                    <a:pt x="540888" y="3999174"/>
                    <a:pt x="598887" y="3958074"/>
                    <a:pt x="666484" y="3958074"/>
                  </a:cubicBezTo>
                  <a:close/>
                  <a:moveTo>
                    <a:pt x="154426" y="3958074"/>
                  </a:moveTo>
                  <a:cubicBezTo>
                    <a:pt x="222024" y="3958074"/>
                    <a:pt x="280023" y="3999174"/>
                    <a:pt x="304797" y="4057748"/>
                  </a:cubicBezTo>
                  <a:lnTo>
                    <a:pt x="308853" y="4077840"/>
                  </a:lnTo>
                  <a:lnTo>
                    <a:pt x="0" y="4077840"/>
                  </a:lnTo>
                  <a:lnTo>
                    <a:pt x="4057" y="4057748"/>
                  </a:lnTo>
                  <a:cubicBezTo>
                    <a:pt x="28831" y="3999174"/>
                    <a:pt x="86829" y="3958074"/>
                    <a:pt x="154426" y="3958074"/>
                  </a:cubicBezTo>
                  <a:close/>
                  <a:moveTo>
                    <a:pt x="11929966" y="3518352"/>
                  </a:moveTo>
                  <a:cubicBezTo>
                    <a:pt x="12012273" y="3518352"/>
                    <a:pt x="12078996" y="3585074"/>
                    <a:pt x="12078996" y="3667382"/>
                  </a:cubicBezTo>
                  <a:cubicBezTo>
                    <a:pt x="12078996" y="3749688"/>
                    <a:pt x="12012273" y="3816412"/>
                    <a:pt x="11929966" y="3816412"/>
                  </a:cubicBezTo>
                  <a:cubicBezTo>
                    <a:pt x="11847659" y="3816412"/>
                    <a:pt x="11780936" y="3749689"/>
                    <a:pt x="11780936" y="3667382"/>
                  </a:cubicBezTo>
                  <a:cubicBezTo>
                    <a:pt x="11780936" y="3585075"/>
                    <a:pt x="11847659" y="3518352"/>
                    <a:pt x="11929966" y="3518352"/>
                  </a:cubicBezTo>
                  <a:close/>
                  <a:moveTo>
                    <a:pt x="11417900" y="3518352"/>
                  </a:moveTo>
                  <a:cubicBezTo>
                    <a:pt x="11500207" y="3518352"/>
                    <a:pt x="11566930" y="3585074"/>
                    <a:pt x="11566930" y="3667382"/>
                  </a:cubicBezTo>
                  <a:cubicBezTo>
                    <a:pt x="11566930" y="3749688"/>
                    <a:pt x="11500207" y="3816412"/>
                    <a:pt x="11417900" y="3816412"/>
                  </a:cubicBezTo>
                  <a:cubicBezTo>
                    <a:pt x="11335593" y="3816412"/>
                    <a:pt x="11268870" y="3749689"/>
                    <a:pt x="11268870" y="3667382"/>
                  </a:cubicBezTo>
                  <a:cubicBezTo>
                    <a:pt x="11268870" y="3585075"/>
                    <a:pt x="11335593" y="3518352"/>
                    <a:pt x="11417900" y="3518352"/>
                  </a:cubicBezTo>
                  <a:close/>
                  <a:moveTo>
                    <a:pt x="10906022" y="3518352"/>
                  </a:moveTo>
                  <a:cubicBezTo>
                    <a:pt x="10988330" y="3518352"/>
                    <a:pt x="11055053" y="3585074"/>
                    <a:pt x="11055053" y="3667382"/>
                  </a:cubicBezTo>
                  <a:cubicBezTo>
                    <a:pt x="11055053" y="3749688"/>
                    <a:pt x="10988330" y="3816412"/>
                    <a:pt x="10906022" y="3816412"/>
                  </a:cubicBezTo>
                  <a:cubicBezTo>
                    <a:pt x="10823715" y="3816412"/>
                    <a:pt x="10756992" y="3749689"/>
                    <a:pt x="10756992" y="3667382"/>
                  </a:cubicBezTo>
                  <a:cubicBezTo>
                    <a:pt x="10756992" y="3585075"/>
                    <a:pt x="10823715" y="3518352"/>
                    <a:pt x="10906022" y="3518352"/>
                  </a:cubicBezTo>
                  <a:close/>
                  <a:moveTo>
                    <a:pt x="10393957" y="3518352"/>
                  </a:moveTo>
                  <a:cubicBezTo>
                    <a:pt x="10476264" y="3518352"/>
                    <a:pt x="10542987" y="3585074"/>
                    <a:pt x="10542987" y="3667382"/>
                  </a:cubicBezTo>
                  <a:cubicBezTo>
                    <a:pt x="10542987" y="3749688"/>
                    <a:pt x="10476264" y="3816412"/>
                    <a:pt x="10393957" y="3816412"/>
                  </a:cubicBezTo>
                  <a:cubicBezTo>
                    <a:pt x="10311649" y="3816412"/>
                    <a:pt x="10244926" y="3749689"/>
                    <a:pt x="10244926" y="3667382"/>
                  </a:cubicBezTo>
                  <a:cubicBezTo>
                    <a:pt x="10244926" y="3585075"/>
                    <a:pt x="10311649" y="3518352"/>
                    <a:pt x="10393957" y="3518352"/>
                  </a:cubicBezTo>
                  <a:close/>
                  <a:moveTo>
                    <a:pt x="9882080" y="3518352"/>
                  </a:moveTo>
                  <a:cubicBezTo>
                    <a:pt x="9964387" y="3518352"/>
                    <a:pt x="10031110" y="3585074"/>
                    <a:pt x="10031110" y="3667382"/>
                  </a:cubicBezTo>
                  <a:cubicBezTo>
                    <a:pt x="10031110" y="3749688"/>
                    <a:pt x="9964387" y="3816412"/>
                    <a:pt x="9882080" y="3816412"/>
                  </a:cubicBezTo>
                  <a:cubicBezTo>
                    <a:pt x="9799773" y="3816412"/>
                    <a:pt x="9733050" y="3749689"/>
                    <a:pt x="9733050" y="3667382"/>
                  </a:cubicBezTo>
                  <a:cubicBezTo>
                    <a:pt x="9733050" y="3585075"/>
                    <a:pt x="9799773" y="3518352"/>
                    <a:pt x="9882080" y="3518352"/>
                  </a:cubicBezTo>
                  <a:close/>
                  <a:moveTo>
                    <a:pt x="9370013" y="3518352"/>
                  </a:moveTo>
                  <a:cubicBezTo>
                    <a:pt x="9452320" y="3518352"/>
                    <a:pt x="9519043" y="3585074"/>
                    <a:pt x="9519043" y="3667382"/>
                  </a:cubicBezTo>
                  <a:cubicBezTo>
                    <a:pt x="9519043" y="3749688"/>
                    <a:pt x="9452321" y="3816412"/>
                    <a:pt x="9370013" y="3816412"/>
                  </a:cubicBezTo>
                  <a:cubicBezTo>
                    <a:pt x="9287707" y="3816412"/>
                    <a:pt x="9220983" y="3749689"/>
                    <a:pt x="9220983" y="3667382"/>
                  </a:cubicBezTo>
                  <a:cubicBezTo>
                    <a:pt x="9220983" y="3585075"/>
                    <a:pt x="9287706" y="3518352"/>
                    <a:pt x="9370013" y="3518352"/>
                  </a:cubicBezTo>
                  <a:close/>
                  <a:moveTo>
                    <a:pt x="8858137" y="3518352"/>
                  </a:moveTo>
                  <a:cubicBezTo>
                    <a:pt x="8940443" y="3518352"/>
                    <a:pt x="9007167" y="3585074"/>
                    <a:pt x="9007167" y="3667382"/>
                  </a:cubicBezTo>
                  <a:cubicBezTo>
                    <a:pt x="9007167" y="3749688"/>
                    <a:pt x="8940444" y="3816412"/>
                    <a:pt x="8858137" y="3816412"/>
                  </a:cubicBezTo>
                  <a:cubicBezTo>
                    <a:pt x="8775830" y="3816412"/>
                    <a:pt x="8709107" y="3749689"/>
                    <a:pt x="8709107" y="3667382"/>
                  </a:cubicBezTo>
                  <a:cubicBezTo>
                    <a:pt x="8709107" y="3585075"/>
                    <a:pt x="8775829" y="3518352"/>
                    <a:pt x="8858137" y="3518352"/>
                  </a:cubicBezTo>
                  <a:close/>
                  <a:moveTo>
                    <a:pt x="8346070" y="3518352"/>
                  </a:moveTo>
                  <a:cubicBezTo>
                    <a:pt x="8428377" y="3518352"/>
                    <a:pt x="8495101" y="3585074"/>
                    <a:pt x="8495101" y="3667382"/>
                  </a:cubicBezTo>
                  <a:cubicBezTo>
                    <a:pt x="8495101" y="3749688"/>
                    <a:pt x="8428378" y="3816412"/>
                    <a:pt x="8346070" y="3816412"/>
                  </a:cubicBezTo>
                  <a:cubicBezTo>
                    <a:pt x="8263764" y="3816412"/>
                    <a:pt x="8197040" y="3749689"/>
                    <a:pt x="8197040" y="3667382"/>
                  </a:cubicBezTo>
                  <a:cubicBezTo>
                    <a:pt x="8197040" y="3585075"/>
                    <a:pt x="8263763" y="3518352"/>
                    <a:pt x="8346070" y="3518352"/>
                  </a:cubicBezTo>
                  <a:close/>
                  <a:moveTo>
                    <a:pt x="7834194" y="3518352"/>
                  </a:moveTo>
                  <a:cubicBezTo>
                    <a:pt x="7916501" y="3518352"/>
                    <a:pt x="7983224" y="3585074"/>
                    <a:pt x="7983224" y="3667382"/>
                  </a:cubicBezTo>
                  <a:cubicBezTo>
                    <a:pt x="7983224" y="3749688"/>
                    <a:pt x="7916501" y="3816412"/>
                    <a:pt x="7834194" y="3816412"/>
                  </a:cubicBezTo>
                  <a:cubicBezTo>
                    <a:pt x="7751887" y="3816412"/>
                    <a:pt x="7685164" y="3749689"/>
                    <a:pt x="7685164" y="3667382"/>
                  </a:cubicBezTo>
                  <a:cubicBezTo>
                    <a:pt x="7685164" y="3585075"/>
                    <a:pt x="7751887" y="3518352"/>
                    <a:pt x="7834194" y="3518352"/>
                  </a:cubicBezTo>
                  <a:close/>
                  <a:moveTo>
                    <a:pt x="7322128" y="3518352"/>
                  </a:moveTo>
                  <a:cubicBezTo>
                    <a:pt x="7404434" y="3518352"/>
                    <a:pt x="7471158" y="3585074"/>
                    <a:pt x="7471158" y="3667382"/>
                  </a:cubicBezTo>
                  <a:cubicBezTo>
                    <a:pt x="7471158" y="3749688"/>
                    <a:pt x="7404435" y="3816412"/>
                    <a:pt x="7322128" y="3816412"/>
                  </a:cubicBezTo>
                  <a:cubicBezTo>
                    <a:pt x="7239821" y="3816412"/>
                    <a:pt x="7173097" y="3749689"/>
                    <a:pt x="7173097" y="3667382"/>
                  </a:cubicBezTo>
                  <a:cubicBezTo>
                    <a:pt x="7173097" y="3585075"/>
                    <a:pt x="7239820" y="3518352"/>
                    <a:pt x="7322128" y="3518352"/>
                  </a:cubicBezTo>
                  <a:close/>
                  <a:moveTo>
                    <a:pt x="6810062" y="3518352"/>
                  </a:moveTo>
                  <a:cubicBezTo>
                    <a:pt x="6892369" y="3518352"/>
                    <a:pt x="6959092" y="3585074"/>
                    <a:pt x="6959092" y="3667382"/>
                  </a:cubicBezTo>
                  <a:cubicBezTo>
                    <a:pt x="6959092" y="3749688"/>
                    <a:pt x="6892369" y="3816412"/>
                    <a:pt x="6810062" y="3816412"/>
                  </a:cubicBezTo>
                  <a:cubicBezTo>
                    <a:pt x="6727755" y="3816412"/>
                    <a:pt x="6661032" y="3749689"/>
                    <a:pt x="6661032" y="3667382"/>
                  </a:cubicBezTo>
                  <a:cubicBezTo>
                    <a:pt x="6661032" y="3585075"/>
                    <a:pt x="6727755" y="3518352"/>
                    <a:pt x="6810062" y="3518352"/>
                  </a:cubicBezTo>
                  <a:close/>
                  <a:moveTo>
                    <a:pt x="6298186" y="3518352"/>
                  </a:moveTo>
                  <a:cubicBezTo>
                    <a:pt x="6380491" y="3518352"/>
                    <a:pt x="6447215" y="3585074"/>
                    <a:pt x="6447215" y="3667382"/>
                  </a:cubicBezTo>
                  <a:cubicBezTo>
                    <a:pt x="6447215" y="3749688"/>
                    <a:pt x="6380493" y="3816412"/>
                    <a:pt x="6298186" y="3816412"/>
                  </a:cubicBezTo>
                  <a:cubicBezTo>
                    <a:pt x="6215878" y="3816412"/>
                    <a:pt x="6149155" y="3749689"/>
                    <a:pt x="6149155" y="3667382"/>
                  </a:cubicBezTo>
                  <a:cubicBezTo>
                    <a:pt x="6149155" y="3585075"/>
                    <a:pt x="6215877" y="3518352"/>
                    <a:pt x="6298186" y="3518352"/>
                  </a:cubicBezTo>
                  <a:close/>
                  <a:moveTo>
                    <a:pt x="5786126" y="3518352"/>
                  </a:moveTo>
                  <a:cubicBezTo>
                    <a:pt x="5868430" y="3518352"/>
                    <a:pt x="5935149" y="3585074"/>
                    <a:pt x="5935149" y="3667382"/>
                  </a:cubicBezTo>
                  <a:cubicBezTo>
                    <a:pt x="5935149" y="3749688"/>
                    <a:pt x="5868430" y="3816412"/>
                    <a:pt x="5786126" y="3816412"/>
                  </a:cubicBezTo>
                  <a:cubicBezTo>
                    <a:pt x="5703824" y="3816412"/>
                    <a:pt x="5637102" y="3749689"/>
                    <a:pt x="5637102" y="3667382"/>
                  </a:cubicBezTo>
                  <a:cubicBezTo>
                    <a:pt x="5637102" y="3585075"/>
                    <a:pt x="5703823" y="3518352"/>
                    <a:pt x="5786126" y="3518352"/>
                  </a:cubicBezTo>
                  <a:close/>
                  <a:moveTo>
                    <a:pt x="5274270" y="3518352"/>
                  </a:moveTo>
                  <a:cubicBezTo>
                    <a:pt x="5356576" y="3518352"/>
                    <a:pt x="5423296" y="3585074"/>
                    <a:pt x="5423296" y="3667382"/>
                  </a:cubicBezTo>
                  <a:cubicBezTo>
                    <a:pt x="5423296" y="3749688"/>
                    <a:pt x="5356576" y="3816412"/>
                    <a:pt x="5274270" y="3816412"/>
                  </a:cubicBezTo>
                  <a:cubicBezTo>
                    <a:pt x="5191962" y="3816412"/>
                    <a:pt x="5125232" y="3749689"/>
                    <a:pt x="5125232" y="3667382"/>
                  </a:cubicBezTo>
                  <a:cubicBezTo>
                    <a:pt x="5125232" y="3585075"/>
                    <a:pt x="5191962" y="3518352"/>
                    <a:pt x="5274270" y="3518352"/>
                  </a:cubicBezTo>
                  <a:close/>
                  <a:moveTo>
                    <a:pt x="4762180" y="3518352"/>
                  </a:moveTo>
                  <a:cubicBezTo>
                    <a:pt x="4844514" y="3518352"/>
                    <a:pt x="4911249" y="3585074"/>
                    <a:pt x="4911249" y="3667382"/>
                  </a:cubicBezTo>
                  <a:cubicBezTo>
                    <a:pt x="4911249" y="3749688"/>
                    <a:pt x="4844516" y="3816412"/>
                    <a:pt x="4762180" y="3816412"/>
                  </a:cubicBezTo>
                  <a:cubicBezTo>
                    <a:pt x="4679887" y="3816412"/>
                    <a:pt x="4613169" y="3749689"/>
                    <a:pt x="4613169" y="3667382"/>
                  </a:cubicBezTo>
                  <a:cubicBezTo>
                    <a:pt x="4613169" y="3585075"/>
                    <a:pt x="4679887" y="3518352"/>
                    <a:pt x="4762180" y="3518352"/>
                  </a:cubicBezTo>
                  <a:close/>
                  <a:moveTo>
                    <a:pt x="4250316" y="3518352"/>
                  </a:moveTo>
                  <a:cubicBezTo>
                    <a:pt x="4332628" y="3518352"/>
                    <a:pt x="4399355" y="3585074"/>
                    <a:pt x="4399355" y="3667382"/>
                  </a:cubicBezTo>
                  <a:cubicBezTo>
                    <a:pt x="4399355" y="3749688"/>
                    <a:pt x="4332628" y="3816412"/>
                    <a:pt x="4250316" y="3816412"/>
                  </a:cubicBezTo>
                  <a:cubicBezTo>
                    <a:pt x="4168006" y="3816412"/>
                    <a:pt x="4101334" y="3749689"/>
                    <a:pt x="4101334" y="3667382"/>
                  </a:cubicBezTo>
                  <a:cubicBezTo>
                    <a:pt x="4101334" y="3585075"/>
                    <a:pt x="4168006" y="3518352"/>
                    <a:pt x="4250316" y="3518352"/>
                  </a:cubicBezTo>
                  <a:close/>
                  <a:moveTo>
                    <a:pt x="3738289" y="3518352"/>
                  </a:moveTo>
                  <a:cubicBezTo>
                    <a:pt x="3820593" y="3518352"/>
                    <a:pt x="3887320" y="3585074"/>
                    <a:pt x="3887320" y="3667382"/>
                  </a:cubicBezTo>
                  <a:cubicBezTo>
                    <a:pt x="3887320" y="3749688"/>
                    <a:pt x="3820593" y="3816412"/>
                    <a:pt x="3738289" y="3816412"/>
                  </a:cubicBezTo>
                  <a:cubicBezTo>
                    <a:pt x="3655972" y="3816412"/>
                    <a:pt x="3589256" y="3749689"/>
                    <a:pt x="3589256" y="3667382"/>
                  </a:cubicBezTo>
                  <a:cubicBezTo>
                    <a:pt x="3589256" y="3585075"/>
                    <a:pt x="3655972" y="3518352"/>
                    <a:pt x="3738289" y="3518352"/>
                  </a:cubicBezTo>
                  <a:close/>
                  <a:moveTo>
                    <a:pt x="3226242" y="3518352"/>
                  </a:moveTo>
                  <a:cubicBezTo>
                    <a:pt x="3308555" y="3518352"/>
                    <a:pt x="3375284" y="3585074"/>
                    <a:pt x="3375284" y="3667382"/>
                  </a:cubicBezTo>
                  <a:cubicBezTo>
                    <a:pt x="3375284" y="3749688"/>
                    <a:pt x="3308555" y="3816412"/>
                    <a:pt x="3226242" y="3816412"/>
                  </a:cubicBezTo>
                  <a:cubicBezTo>
                    <a:pt x="3143933" y="3816412"/>
                    <a:pt x="3077210" y="3749689"/>
                    <a:pt x="3077210" y="3667382"/>
                  </a:cubicBezTo>
                  <a:cubicBezTo>
                    <a:pt x="3077210" y="3585075"/>
                    <a:pt x="3143933" y="3518352"/>
                    <a:pt x="3226242" y="3518352"/>
                  </a:cubicBezTo>
                  <a:close/>
                  <a:moveTo>
                    <a:pt x="2714363" y="3518352"/>
                  </a:moveTo>
                  <a:cubicBezTo>
                    <a:pt x="2796672" y="3518352"/>
                    <a:pt x="2863399" y="3585074"/>
                    <a:pt x="2863399" y="3667382"/>
                  </a:cubicBezTo>
                  <a:cubicBezTo>
                    <a:pt x="2863399" y="3749688"/>
                    <a:pt x="2796672" y="3816412"/>
                    <a:pt x="2714363" y="3816412"/>
                  </a:cubicBezTo>
                  <a:cubicBezTo>
                    <a:pt x="2632054" y="3816412"/>
                    <a:pt x="2565335" y="3749689"/>
                    <a:pt x="2565335" y="3667382"/>
                  </a:cubicBezTo>
                  <a:cubicBezTo>
                    <a:pt x="2565335" y="3585075"/>
                    <a:pt x="2632054" y="3518352"/>
                    <a:pt x="2714363" y="3518352"/>
                  </a:cubicBezTo>
                  <a:close/>
                  <a:moveTo>
                    <a:pt x="2202307" y="3518352"/>
                  </a:moveTo>
                  <a:cubicBezTo>
                    <a:pt x="2284612" y="3518352"/>
                    <a:pt x="2351334" y="3585074"/>
                    <a:pt x="2351334" y="3667382"/>
                  </a:cubicBezTo>
                  <a:cubicBezTo>
                    <a:pt x="2351334" y="3749688"/>
                    <a:pt x="2284612" y="3816412"/>
                    <a:pt x="2202307" y="3816412"/>
                  </a:cubicBezTo>
                  <a:cubicBezTo>
                    <a:pt x="2120002" y="3816412"/>
                    <a:pt x="2053277" y="3749689"/>
                    <a:pt x="2053277" y="3667382"/>
                  </a:cubicBezTo>
                  <a:cubicBezTo>
                    <a:pt x="2053277" y="3585075"/>
                    <a:pt x="2120002" y="3518352"/>
                    <a:pt x="2202307" y="3518352"/>
                  </a:cubicBezTo>
                  <a:close/>
                  <a:moveTo>
                    <a:pt x="1690413" y="3518352"/>
                  </a:moveTo>
                  <a:cubicBezTo>
                    <a:pt x="1772720" y="3518352"/>
                    <a:pt x="1839443" y="3585074"/>
                    <a:pt x="1839443" y="3667382"/>
                  </a:cubicBezTo>
                  <a:cubicBezTo>
                    <a:pt x="1839443" y="3749688"/>
                    <a:pt x="1772720" y="3816412"/>
                    <a:pt x="1690413" y="3816412"/>
                  </a:cubicBezTo>
                  <a:cubicBezTo>
                    <a:pt x="1608107" y="3816412"/>
                    <a:pt x="1541384" y="3749689"/>
                    <a:pt x="1541384" y="3667382"/>
                  </a:cubicBezTo>
                  <a:cubicBezTo>
                    <a:pt x="1541384" y="3585075"/>
                    <a:pt x="1608107" y="3518352"/>
                    <a:pt x="1690413" y="3518352"/>
                  </a:cubicBezTo>
                  <a:close/>
                  <a:moveTo>
                    <a:pt x="1178354" y="3518352"/>
                  </a:moveTo>
                  <a:cubicBezTo>
                    <a:pt x="1260660" y="3518352"/>
                    <a:pt x="1327383" y="3585074"/>
                    <a:pt x="1327383" y="3667382"/>
                  </a:cubicBezTo>
                  <a:cubicBezTo>
                    <a:pt x="1327383" y="3749688"/>
                    <a:pt x="1260660" y="3816412"/>
                    <a:pt x="1178354" y="3816412"/>
                  </a:cubicBezTo>
                  <a:cubicBezTo>
                    <a:pt x="1096047" y="3816412"/>
                    <a:pt x="1029325" y="3749689"/>
                    <a:pt x="1029325" y="3667382"/>
                  </a:cubicBezTo>
                  <a:cubicBezTo>
                    <a:pt x="1029325" y="3585075"/>
                    <a:pt x="1096047" y="3518352"/>
                    <a:pt x="1178354" y="3518352"/>
                  </a:cubicBezTo>
                  <a:close/>
                  <a:moveTo>
                    <a:pt x="666484" y="3518352"/>
                  </a:moveTo>
                  <a:cubicBezTo>
                    <a:pt x="748790" y="3518352"/>
                    <a:pt x="815513" y="3585074"/>
                    <a:pt x="815513" y="3667382"/>
                  </a:cubicBezTo>
                  <a:cubicBezTo>
                    <a:pt x="815513" y="3749688"/>
                    <a:pt x="748790" y="3816412"/>
                    <a:pt x="666484" y="3816412"/>
                  </a:cubicBezTo>
                  <a:cubicBezTo>
                    <a:pt x="584178" y="3816412"/>
                    <a:pt x="517455" y="3749689"/>
                    <a:pt x="517455" y="3667382"/>
                  </a:cubicBezTo>
                  <a:cubicBezTo>
                    <a:pt x="517455" y="3585075"/>
                    <a:pt x="584178" y="3518352"/>
                    <a:pt x="666484" y="3518352"/>
                  </a:cubicBezTo>
                  <a:close/>
                  <a:moveTo>
                    <a:pt x="154426" y="3518352"/>
                  </a:moveTo>
                  <a:cubicBezTo>
                    <a:pt x="236733" y="3518352"/>
                    <a:pt x="303455" y="3585074"/>
                    <a:pt x="303455" y="3667382"/>
                  </a:cubicBezTo>
                  <a:cubicBezTo>
                    <a:pt x="303455" y="3749688"/>
                    <a:pt x="236733" y="3816412"/>
                    <a:pt x="154426" y="3816412"/>
                  </a:cubicBezTo>
                  <a:cubicBezTo>
                    <a:pt x="72120" y="3816412"/>
                    <a:pt x="5397" y="3749689"/>
                    <a:pt x="5397" y="3667382"/>
                  </a:cubicBezTo>
                  <a:cubicBezTo>
                    <a:pt x="5397" y="3585075"/>
                    <a:pt x="72120" y="3518352"/>
                    <a:pt x="154426" y="3518352"/>
                  </a:cubicBezTo>
                  <a:close/>
                  <a:moveTo>
                    <a:pt x="11929966" y="3078629"/>
                  </a:moveTo>
                  <a:cubicBezTo>
                    <a:pt x="12004345" y="3078629"/>
                    <a:pt x="12064640" y="3138925"/>
                    <a:pt x="12064640" y="3213304"/>
                  </a:cubicBezTo>
                  <a:cubicBezTo>
                    <a:pt x="12064640" y="3287683"/>
                    <a:pt x="12004345" y="3347979"/>
                    <a:pt x="11929966" y="3347979"/>
                  </a:cubicBezTo>
                  <a:cubicBezTo>
                    <a:pt x="11855587" y="3347979"/>
                    <a:pt x="11795291" y="3287683"/>
                    <a:pt x="11795291" y="3213304"/>
                  </a:cubicBezTo>
                  <a:cubicBezTo>
                    <a:pt x="11795291" y="3138925"/>
                    <a:pt x="11855587" y="3078629"/>
                    <a:pt x="11929966" y="3078629"/>
                  </a:cubicBezTo>
                  <a:close/>
                  <a:moveTo>
                    <a:pt x="11417900" y="3078629"/>
                  </a:moveTo>
                  <a:cubicBezTo>
                    <a:pt x="11492279" y="3078629"/>
                    <a:pt x="11552575" y="3138925"/>
                    <a:pt x="11552575" y="3213304"/>
                  </a:cubicBezTo>
                  <a:cubicBezTo>
                    <a:pt x="11552575" y="3287683"/>
                    <a:pt x="11492279" y="3347979"/>
                    <a:pt x="11417900" y="3347979"/>
                  </a:cubicBezTo>
                  <a:cubicBezTo>
                    <a:pt x="11343521" y="3347979"/>
                    <a:pt x="11283225" y="3287683"/>
                    <a:pt x="11283225" y="3213304"/>
                  </a:cubicBezTo>
                  <a:cubicBezTo>
                    <a:pt x="11283225" y="3138925"/>
                    <a:pt x="11343521" y="3078629"/>
                    <a:pt x="11417900" y="3078629"/>
                  </a:cubicBezTo>
                  <a:close/>
                  <a:moveTo>
                    <a:pt x="10906022" y="3078629"/>
                  </a:moveTo>
                  <a:cubicBezTo>
                    <a:pt x="10980401" y="3078629"/>
                    <a:pt x="11040697" y="3138925"/>
                    <a:pt x="11040697" y="3213304"/>
                  </a:cubicBezTo>
                  <a:cubicBezTo>
                    <a:pt x="11040697" y="3287683"/>
                    <a:pt x="10980401" y="3347979"/>
                    <a:pt x="10906022" y="3347979"/>
                  </a:cubicBezTo>
                  <a:cubicBezTo>
                    <a:pt x="10831643" y="3347979"/>
                    <a:pt x="10771347" y="3287683"/>
                    <a:pt x="10771347" y="3213304"/>
                  </a:cubicBezTo>
                  <a:cubicBezTo>
                    <a:pt x="10771347" y="3138925"/>
                    <a:pt x="10831643" y="3078629"/>
                    <a:pt x="10906022" y="3078629"/>
                  </a:cubicBezTo>
                  <a:close/>
                  <a:moveTo>
                    <a:pt x="10393956" y="3078629"/>
                  </a:moveTo>
                  <a:cubicBezTo>
                    <a:pt x="10468335" y="3078629"/>
                    <a:pt x="10528631" y="3138925"/>
                    <a:pt x="10528631" y="3213304"/>
                  </a:cubicBezTo>
                  <a:cubicBezTo>
                    <a:pt x="10528631" y="3287683"/>
                    <a:pt x="10468335" y="3347979"/>
                    <a:pt x="10393956" y="3347979"/>
                  </a:cubicBezTo>
                  <a:cubicBezTo>
                    <a:pt x="10319577" y="3347979"/>
                    <a:pt x="10259282" y="3287683"/>
                    <a:pt x="10259282" y="3213304"/>
                  </a:cubicBezTo>
                  <a:cubicBezTo>
                    <a:pt x="10259282" y="3138925"/>
                    <a:pt x="10319577" y="3078629"/>
                    <a:pt x="10393956" y="3078629"/>
                  </a:cubicBezTo>
                  <a:close/>
                  <a:moveTo>
                    <a:pt x="9882080" y="3078629"/>
                  </a:moveTo>
                  <a:cubicBezTo>
                    <a:pt x="9956459" y="3078629"/>
                    <a:pt x="10016755" y="3138925"/>
                    <a:pt x="10016755" y="3213304"/>
                  </a:cubicBezTo>
                  <a:cubicBezTo>
                    <a:pt x="10016755" y="3287683"/>
                    <a:pt x="9956459" y="3347979"/>
                    <a:pt x="9882080" y="3347979"/>
                  </a:cubicBezTo>
                  <a:cubicBezTo>
                    <a:pt x="9807701" y="3347979"/>
                    <a:pt x="9747405" y="3287683"/>
                    <a:pt x="9747405" y="3213304"/>
                  </a:cubicBezTo>
                  <a:cubicBezTo>
                    <a:pt x="9747405" y="3138925"/>
                    <a:pt x="9807701" y="3078629"/>
                    <a:pt x="9882080" y="3078629"/>
                  </a:cubicBezTo>
                  <a:close/>
                  <a:moveTo>
                    <a:pt x="9370014" y="3078629"/>
                  </a:moveTo>
                  <a:cubicBezTo>
                    <a:pt x="9444393" y="3078629"/>
                    <a:pt x="9504688" y="3138925"/>
                    <a:pt x="9504688" y="3213304"/>
                  </a:cubicBezTo>
                  <a:cubicBezTo>
                    <a:pt x="9504688" y="3287683"/>
                    <a:pt x="9444393" y="3347979"/>
                    <a:pt x="9370014" y="3347979"/>
                  </a:cubicBezTo>
                  <a:cubicBezTo>
                    <a:pt x="9295635" y="3347979"/>
                    <a:pt x="9235339" y="3287683"/>
                    <a:pt x="9235339" y="3213304"/>
                  </a:cubicBezTo>
                  <a:cubicBezTo>
                    <a:pt x="9235339" y="3138925"/>
                    <a:pt x="9295635" y="3078629"/>
                    <a:pt x="9370014" y="3078629"/>
                  </a:cubicBezTo>
                  <a:close/>
                  <a:moveTo>
                    <a:pt x="8858136" y="3078629"/>
                  </a:moveTo>
                  <a:cubicBezTo>
                    <a:pt x="8932516" y="3078629"/>
                    <a:pt x="8992811" y="3138925"/>
                    <a:pt x="8992811" y="3213304"/>
                  </a:cubicBezTo>
                  <a:cubicBezTo>
                    <a:pt x="8992811" y="3287683"/>
                    <a:pt x="8932516" y="3347979"/>
                    <a:pt x="8858136" y="3347979"/>
                  </a:cubicBezTo>
                  <a:cubicBezTo>
                    <a:pt x="8783757" y="3347979"/>
                    <a:pt x="8723462" y="3287683"/>
                    <a:pt x="8723462" y="3213304"/>
                  </a:cubicBezTo>
                  <a:cubicBezTo>
                    <a:pt x="8723462" y="3138925"/>
                    <a:pt x="8783757" y="3078629"/>
                    <a:pt x="8858136" y="3078629"/>
                  </a:cubicBezTo>
                  <a:close/>
                  <a:moveTo>
                    <a:pt x="8346071" y="3078629"/>
                  </a:moveTo>
                  <a:cubicBezTo>
                    <a:pt x="8420450" y="3078629"/>
                    <a:pt x="8480746" y="3138925"/>
                    <a:pt x="8480746" y="3213304"/>
                  </a:cubicBezTo>
                  <a:cubicBezTo>
                    <a:pt x="8480746" y="3287683"/>
                    <a:pt x="8420450" y="3347979"/>
                    <a:pt x="8346071" y="3347979"/>
                  </a:cubicBezTo>
                  <a:cubicBezTo>
                    <a:pt x="8271692" y="3347979"/>
                    <a:pt x="8211396" y="3287683"/>
                    <a:pt x="8211396" y="3213304"/>
                  </a:cubicBezTo>
                  <a:cubicBezTo>
                    <a:pt x="8211396" y="3138925"/>
                    <a:pt x="8271692" y="3078629"/>
                    <a:pt x="8346071" y="3078629"/>
                  </a:cubicBezTo>
                  <a:close/>
                  <a:moveTo>
                    <a:pt x="7834194" y="3078629"/>
                  </a:moveTo>
                  <a:cubicBezTo>
                    <a:pt x="7908573" y="3078629"/>
                    <a:pt x="7968868" y="3138925"/>
                    <a:pt x="7968868" y="3213304"/>
                  </a:cubicBezTo>
                  <a:cubicBezTo>
                    <a:pt x="7968868" y="3287683"/>
                    <a:pt x="7908573" y="3347979"/>
                    <a:pt x="7834194" y="3347979"/>
                  </a:cubicBezTo>
                  <a:cubicBezTo>
                    <a:pt x="7759815" y="3347979"/>
                    <a:pt x="7699519" y="3287683"/>
                    <a:pt x="7699519" y="3213304"/>
                  </a:cubicBezTo>
                  <a:cubicBezTo>
                    <a:pt x="7699519" y="3138925"/>
                    <a:pt x="7759815" y="3078629"/>
                    <a:pt x="7834194" y="3078629"/>
                  </a:cubicBezTo>
                  <a:close/>
                  <a:moveTo>
                    <a:pt x="7322127" y="3078629"/>
                  </a:moveTo>
                  <a:cubicBezTo>
                    <a:pt x="7396506" y="3078629"/>
                    <a:pt x="7456802" y="3138925"/>
                    <a:pt x="7456802" y="3213304"/>
                  </a:cubicBezTo>
                  <a:cubicBezTo>
                    <a:pt x="7456802" y="3287683"/>
                    <a:pt x="7396506" y="3347979"/>
                    <a:pt x="7322127" y="3347979"/>
                  </a:cubicBezTo>
                  <a:cubicBezTo>
                    <a:pt x="7247748" y="3347979"/>
                    <a:pt x="7187453" y="3287683"/>
                    <a:pt x="7187453" y="3213304"/>
                  </a:cubicBezTo>
                  <a:cubicBezTo>
                    <a:pt x="7187453" y="3138925"/>
                    <a:pt x="7247748" y="3078629"/>
                    <a:pt x="7322127" y="3078629"/>
                  </a:cubicBezTo>
                  <a:close/>
                  <a:moveTo>
                    <a:pt x="6810062" y="3078629"/>
                  </a:moveTo>
                  <a:cubicBezTo>
                    <a:pt x="6884441" y="3078629"/>
                    <a:pt x="6944736" y="3138925"/>
                    <a:pt x="6944736" y="3213304"/>
                  </a:cubicBezTo>
                  <a:cubicBezTo>
                    <a:pt x="6944736" y="3287683"/>
                    <a:pt x="6884441" y="3347979"/>
                    <a:pt x="6810062" y="3347979"/>
                  </a:cubicBezTo>
                  <a:cubicBezTo>
                    <a:pt x="6735683" y="3347979"/>
                    <a:pt x="6675387" y="3287683"/>
                    <a:pt x="6675387" y="3213304"/>
                  </a:cubicBezTo>
                  <a:cubicBezTo>
                    <a:pt x="6675387" y="3138925"/>
                    <a:pt x="6735683" y="3078629"/>
                    <a:pt x="6810062" y="3078629"/>
                  </a:cubicBezTo>
                  <a:close/>
                  <a:moveTo>
                    <a:pt x="6298186" y="3078629"/>
                  </a:moveTo>
                  <a:cubicBezTo>
                    <a:pt x="6372564" y="3078629"/>
                    <a:pt x="6432860" y="3138925"/>
                    <a:pt x="6432860" y="3213304"/>
                  </a:cubicBezTo>
                  <a:cubicBezTo>
                    <a:pt x="6432860" y="3287683"/>
                    <a:pt x="6372564" y="3347979"/>
                    <a:pt x="6298186" y="3347979"/>
                  </a:cubicBezTo>
                  <a:cubicBezTo>
                    <a:pt x="6223806" y="3347979"/>
                    <a:pt x="6163510" y="3287683"/>
                    <a:pt x="6163510" y="3213304"/>
                  </a:cubicBezTo>
                  <a:cubicBezTo>
                    <a:pt x="6163510" y="3138925"/>
                    <a:pt x="6223806" y="3078629"/>
                    <a:pt x="6298186" y="3078629"/>
                  </a:cubicBezTo>
                  <a:close/>
                  <a:moveTo>
                    <a:pt x="5786126" y="3078629"/>
                  </a:moveTo>
                  <a:cubicBezTo>
                    <a:pt x="5860504" y="3078629"/>
                    <a:pt x="5920794" y="3138925"/>
                    <a:pt x="5920794" y="3213304"/>
                  </a:cubicBezTo>
                  <a:cubicBezTo>
                    <a:pt x="5920794" y="3287683"/>
                    <a:pt x="5860504" y="3347979"/>
                    <a:pt x="5786126" y="3347979"/>
                  </a:cubicBezTo>
                  <a:cubicBezTo>
                    <a:pt x="5711750" y="3347979"/>
                    <a:pt x="5651456" y="3287683"/>
                    <a:pt x="5651456" y="3213304"/>
                  </a:cubicBezTo>
                  <a:cubicBezTo>
                    <a:pt x="5651456" y="3138925"/>
                    <a:pt x="5711750" y="3078629"/>
                    <a:pt x="5786126" y="3078629"/>
                  </a:cubicBezTo>
                  <a:close/>
                  <a:moveTo>
                    <a:pt x="5274270" y="3078629"/>
                  </a:moveTo>
                  <a:cubicBezTo>
                    <a:pt x="5348647" y="3078629"/>
                    <a:pt x="5408941" y="3138925"/>
                    <a:pt x="5408941" y="3213304"/>
                  </a:cubicBezTo>
                  <a:cubicBezTo>
                    <a:pt x="5408941" y="3287683"/>
                    <a:pt x="5348647" y="3347979"/>
                    <a:pt x="5274270" y="3347979"/>
                  </a:cubicBezTo>
                  <a:cubicBezTo>
                    <a:pt x="5199890" y="3347979"/>
                    <a:pt x="5139595" y="3287683"/>
                    <a:pt x="5139595" y="3213304"/>
                  </a:cubicBezTo>
                  <a:cubicBezTo>
                    <a:pt x="5139595" y="3138925"/>
                    <a:pt x="5199890" y="3078629"/>
                    <a:pt x="5274270" y="3078629"/>
                  </a:cubicBezTo>
                  <a:close/>
                  <a:moveTo>
                    <a:pt x="4762180" y="3078629"/>
                  </a:moveTo>
                  <a:cubicBezTo>
                    <a:pt x="4836585" y="3078629"/>
                    <a:pt x="4896897" y="3138925"/>
                    <a:pt x="4896897" y="3213304"/>
                  </a:cubicBezTo>
                  <a:cubicBezTo>
                    <a:pt x="4896897" y="3287683"/>
                    <a:pt x="4836585" y="3347979"/>
                    <a:pt x="4762180" y="3347979"/>
                  </a:cubicBezTo>
                  <a:cubicBezTo>
                    <a:pt x="4687815" y="3347979"/>
                    <a:pt x="4627526" y="3287683"/>
                    <a:pt x="4627526" y="3213304"/>
                  </a:cubicBezTo>
                  <a:cubicBezTo>
                    <a:pt x="4627526" y="3138925"/>
                    <a:pt x="4687815" y="3078629"/>
                    <a:pt x="4762180" y="3078629"/>
                  </a:cubicBezTo>
                  <a:close/>
                  <a:moveTo>
                    <a:pt x="4250316" y="3078629"/>
                  </a:moveTo>
                  <a:cubicBezTo>
                    <a:pt x="4324700" y="3078629"/>
                    <a:pt x="4385000" y="3138925"/>
                    <a:pt x="4385000" y="3213304"/>
                  </a:cubicBezTo>
                  <a:cubicBezTo>
                    <a:pt x="4385000" y="3287683"/>
                    <a:pt x="4324700" y="3347979"/>
                    <a:pt x="4250316" y="3347979"/>
                  </a:cubicBezTo>
                  <a:cubicBezTo>
                    <a:pt x="4175935" y="3347979"/>
                    <a:pt x="4115689" y="3287683"/>
                    <a:pt x="4115689" y="3213304"/>
                  </a:cubicBezTo>
                  <a:cubicBezTo>
                    <a:pt x="4115689" y="3138925"/>
                    <a:pt x="4175935" y="3078629"/>
                    <a:pt x="4250316" y="3078629"/>
                  </a:cubicBezTo>
                  <a:close/>
                  <a:moveTo>
                    <a:pt x="3738289" y="3078629"/>
                  </a:moveTo>
                  <a:cubicBezTo>
                    <a:pt x="3812664" y="3078629"/>
                    <a:pt x="3872963" y="3138925"/>
                    <a:pt x="3872963" y="3213304"/>
                  </a:cubicBezTo>
                  <a:cubicBezTo>
                    <a:pt x="3872963" y="3287683"/>
                    <a:pt x="3812664" y="3347979"/>
                    <a:pt x="3738289" y="3347979"/>
                  </a:cubicBezTo>
                  <a:cubicBezTo>
                    <a:pt x="3663899" y="3347979"/>
                    <a:pt x="3603609" y="3287683"/>
                    <a:pt x="3603609" y="3213304"/>
                  </a:cubicBezTo>
                  <a:cubicBezTo>
                    <a:pt x="3603609" y="3138925"/>
                    <a:pt x="3663899" y="3078629"/>
                    <a:pt x="3738289" y="3078629"/>
                  </a:cubicBezTo>
                  <a:close/>
                  <a:moveTo>
                    <a:pt x="3226242" y="3078629"/>
                  </a:moveTo>
                  <a:cubicBezTo>
                    <a:pt x="3300623" y="3078629"/>
                    <a:pt x="3360931" y="3138925"/>
                    <a:pt x="3360931" y="3213304"/>
                  </a:cubicBezTo>
                  <a:cubicBezTo>
                    <a:pt x="3360931" y="3287683"/>
                    <a:pt x="3300623" y="3347979"/>
                    <a:pt x="3226242" y="3347979"/>
                  </a:cubicBezTo>
                  <a:cubicBezTo>
                    <a:pt x="3151856" y="3347979"/>
                    <a:pt x="3091565" y="3287683"/>
                    <a:pt x="3091565" y="3213304"/>
                  </a:cubicBezTo>
                  <a:cubicBezTo>
                    <a:pt x="3091565" y="3138925"/>
                    <a:pt x="3151856" y="3078629"/>
                    <a:pt x="3226242" y="3078629"/>
                  </a:cubicBezTo>
                  <a:close/>
                  <a:moveTo>
                    <a:pt x="2714363" y="3078629"/>
                  </a:moveTo>
                  <a:cubicBezTo>
                    <a:pt x="2788741" y="3078629"/>
                    <a:pt x="2849039" y="3138925"/>
                    <a:pt x="2849039" y="3213304"/>
                  </a:cubicBezTo>
                  <a:cubicBezTo>
                    <a:pt x="2849039" y="3287683"/>
                    <a:pt x="2788741" y="3347979"/>
                    <a:pt x="2714363" y="3347979"/>
                  </a:cubicBezTo>
                  <a:cubicBezTo>
                    <a:pt x="2639985" y="3347979"/>
                    <a:pt x="2579687" y="3287683"/>
                    <a:pt x="2579687" y="3213304"/>
                  </a:cubicBezTo>
                  <a:cubicBezTo>
                    <a:pt x="2579687" y="3138925"/>
                    <a:pt x="2639985" y="3078629"/>
                    <a:pt x="2714363" y="3078629"/>
                  </a:cubicBezTo>
                  <a:close/>
                  <a:moveTo>
                    <a:pt x="2202306" y="3078629"/>
                  </a:moveTo>
                  <a:cubicBezTo>
                    <a:pt x="2276684" y="3078629"/>
                    <a:pt x="2336978" y="3138925"/>
                    <a:pt x="2336978" y="3213304"/>
                  </a:cubicBezTo>
                  <a:cubicBezTo>
                    <a:pt x="2336978" y="3287683"/>
                    <a:pt x="2276683" y="3347979"/>
                    <a:pt x="2202306" y="3347979"/>
                  </a:cubicBezTo>
                  <a:cubicBezTo>
                    <a:pt x="2127929" y="3347979"/>
                    <a:pt x="2067631" y="3287683"/>
                    <a:pt x="2067631" y="3213304"/>
                  </a:cubicBezTo>
                  <a:cubicBezTo>
                    <a:pt x="2067631" y="3138925"/>
                    <a:pt x="2127929" y="3078629"/>
                    <a:pt x="2202306" y="3078629"/>
                  </a:cubicBezTo>
                  <a:close/>
                  <a:moveTo>
                    <a:pt x="1690413" y="3078629"/>
                  </a:moveTo>
                  <a:cubicBezTo>
                    <a:pt x="1764791" y="3078629"/>
                    <a:pt x="1825086" y="3138925"/>
                    <a:pt x="1825086" y="3213304"/>
                  </a:cubicBezTo>
                  <a:cubicBezTo>
                    <a:pt x="1825086" y="3287683"/>
                    <a:pt x="1764791" y="3347979"/>
                    <a:pt x="1690413" y="3347979"/>
                  </a:cubicBezTo>
                  <a:cubicBezTo>
                    <a:pt x="1616035" y="3347979"/>
                    <a:pt x="1555739" y="3287683"/>
                    <a:pt x="1555739" y="3213304"/>
                  </a:cubicBezTo>
                  <a:cubicBezTo>
                    <a:pt x="1555739" y="3138925"/>
                    <a:pt x="1616035" y="3078629"/>
                    <a:pt x="1690413" y="3078629"/>
                  </a:cubicBezTo>
                  <a:close/>
                  <a:moveTo>
                    <a:pt x="1178354" y="3078629"/>
                  </a:moveTo>
                  <a:cubicBezTo>
                    <a:pt x="1252731" y="3078629"/>
                    <a:pt x="1313027" y="3138925"/>
                    <a:pt x="1313027" y="3213304"/>
                  </a:cubicBezTo>
                  <a:cubicBezTo>
                    <a:pt x="1313027" y="3287683"/>
                    <a:pt x="1252731" y="3347979"/>
                    <a:pt x="1178354" y="3347979"/>
                  </a:cubicBezTo>
                  <a:cubicBezTo>
                    <a:pt x="1103975" y="3347979"/>
                    <a:pt x="1043680" y="3287683"/>
                    <a:pt x="1043680" y="3213304"/>
                  </a:cubicBezTo>
                  <a:cubicBezTo>
                    <a:pt x="1043680" y="3138925"/>
                    <a:pt x="1103975" y="3078629"/>
                    <a:pt x="1178354" y="3078629"/>
                  </a:cubicBezTo>
                  <a:close/>
                  <a:moveTo>
                    <a:pt x="666484" y="3078629"/>
                  </a:moveTo>
                  <a:cubicBezTo>
                    <a:pt x="740861" y="3078629"/>
                    <a:pt x="801157" y="3138925"/>
                    <a:pt x="801157" y="3213304"/>
                  </a:cubicBezTo>
                  <a:cubicBezTo>
                    <a:pt x="801157" y="3287683"/>
                    <a:pt x="740861" y="3347979"/>
                    <a:pt x="666484" y="3347979"/>
                  </a:cubicBezTo>
                  <a:cubicBezTo>
                    <a:pt x="592105" y="3347979"/>
                    <a:pt x="531810" y="3287683"/>
                    <a:pt x="531810" y="3213304"/>
                  </a:cubicBezTo>
                  <a:cubicBezTo>
                    <a:pt x="531810" y="3138925"/>
                    <a:pt x="592105" y="3078629"/>
                    <a:pt x="666484" y="3078629"/>
                  </a:cubicBezTo>
                  <a:close/>
                  <a:moveTo>
                    <a:pt x="154426" y="3078629"/>
                  </a:moveTo>
                  <a:cubicBezTo>
                    <a:pt x="228804" y="3078629"/>
                    <a:pt x="289099" y="3138925"/>
                    <a:pt x="289099" y="3213304"/>
                  </a:cubicBezTo>
                  <a:cubicBezTo>
                    <a:pt x="289099" y="3287683"/>
                    <a:pt x="228804" y="3347979"/>
                    <a:pt x="154426" y="3347979"/>
                  </a:cubicBezTo>
                  <a:cubicBezTo>
                    <a:pt x="80048" y="3347979"/>
                    <a:pt x="19752" y="3287683"/>
                    <a:pt x="19752" y="3213304"/>
                  </a:cubicBezTo>
                  <a:cubicBezTo>
                    <a:pt x="19752" y="3138925"/>
                    <a:pt x="80048" y="3078629"/>
                    <a:pt x="154426" y="3078629"/>
                  </a:cubicBezTo>
                  <a:close/>
                  <a:moveTo>
                    <a:pt x="11929965" y="2638717"/>
                  </a:moveTo>
                  <a:cubicBezTo>
                    <a:pt x="11996520" y="2638717"/>
                    <a:pt x="12050474" y="2692670"/>
                    <a:pt x="12050474" y="2759225"/>
                  </a:cubicBezTo>
                  <a:cubicBezTo>
                    <a:pt x="12050474" y="2825780"/>
                    <a:pt x="11996520" y="2879734"/>
                    <a:pt x="11929965" y="2879734"/>
                  </a:cubicBezTo>
                  <a:cubicBezTo>
                    <a:pt x="11863411" y="2879734"/>
                    <a:pt x="11809457" y="2825780"/>
                    <a:pt x="11809457" y="2759225"/>
                  </a:cubicBezTo>
                  <a:cubicBezTo>
                    <a:pt x="11809457" y="2692670"/>
                    <a:pt x="11863411" y="2638717"/>
                    <a:pt x="11929965" y="2638717"/>
                  </a:cubicBezTo>
                  <a:close/>
                  <a:moveTo>
                    <a:pt x="11417900" y="2638717"/>
                  </a:moveTo>
                  <a:cubicBezTo>
                    <a:pt x="11484454" y="2638717"/>
                    <a:pt x="11538408" y="2692670"/>
                    <a:pt x="11538408" y="2759225"/>
                  </a:cubicBezTo>
                  <a:cubicBezTo>
                    <a:pt x="11538408" y="2825780"/>
                    <a:pt x="11484454" y="2879734"/>
                    <a:pt x="11417900" y="2879734"/>
                  </a:cubicBezTo>
                  <a:cubicBezTo>
                    <a:pt x="11351345" y="2879734"/>
                    <a:pt x="11297391" y="2825780"/>
                    <a:pt x="11297391" y="2759225"/>
                  </a:cubicBezTo>
                  <a:cubicBezTo>
                    <a:pt x="11297391" y="2692670"/>
                    <a:pt x="11351345" y="2638717"/>
                    <a:pt x="11417900" y="2638717"/>
                  </a:cubicBezTo>
                  <a:close/>
                  <a:moveTo>
                    <a:pt x="10906022" y="2638717"/>
                  </a:moveTo>
                  <a:cubicBezTo>
                    <a:pt x="10972576" y="2638717"/>
                    <a:pt x="11026530" y="2692670"/>
                    <a:pt x="11026530" y="2759225"/>
                  </a:cubicBezTo>
                  <a:cubicBezTo>
                    <a:pt x="11026530" y="2825780"/>
                    <a:pt x="10972576" y="2879734"/>
                    <a:pt x="10906022" y="2879734"/>
                  </a:cubicBezTo>
                  <a:cubicBezTo>
                    <a:pt x="10839467" y="2879734"/>
                    <a:pt x="10785513" y="2825780"/>
                    <a:pt x="10785513" y="2759225"/>
                  </a:cubicBezTo>
                  <a:cubicBezTo>
                    <a:pt x="10785513" y="2692670"/>
                    <a:pt x="10839467" y="2638717"/>
                    <a:pt x="10906022" y="2638717"/>
                  </a:cubicBezTo>
                  <a:close/>
                  <a:moveTo>
                    <a:pt x="10393956" y="2638717"/>
                  </a:moveTo>
                  <a:cubicBezTo>
                    <a:pt x="10460511" y="2638717"/>
                    <a:pt x="10514465" y="2692670"/>
                    <a:pt x="10514465" y="2759225"/>
                  </a:cubicBezTo>
                  <a:cubicBezTo>
                    <a:pt x="10514465" y="2825780"/>
                    <a:pt x="10460511" y="2879734"/>
                    <a:pt x="10393956" y="2879734"/>
                  </a:cubicBezTo>
                  <a:cubicBezTo>
                    <a:pt x="10327402" y="2879734"/>
                    <a:pt x="10273448" y="2825780"/>
                    <a:pt x="10273448" y="2759225"/>
                  </a:cubicBezTo>
                  <a:cubicBezTo>
                    <a:pt x="10273448" y="2692670"/>
                    <a:pt x="10327402" y="2638717"/>
                    <a:pt x="10393956" y="2638717"/>
                  </a:cubicBezTo>
                  <a:close/>
                  <a:moveTo>
                    <a:pt x="9882080" y="2638717"/>
                  </a:moveTo>
                  <a:cubicBezTo>
                    <a:pt x="9948634" y="2638717"/>
                    <a:pt x="10002588" y="2692670"/>
                    <a:pt x="10002588" y="2759225"/>
                  </a:cubicBezTo>
                  <a:cubicBezTo>
                    <a:pt x="10002588" y="2825780"/>
                    <a:pt x="9948634" y="2879734"/>
                    <a:pt x="9882080" y="2879734"/>
                  </a:cubicBezTo>
                  <a:cubicBezTo>
                    <a:pt x="9815525" y="2879734"/>
                    <a:pt x="9761571" y="2825780"/>
                    <a:pt x="9761571" y="2759225"/>
                  </a:cubicBezTo>
                  <a:cubicBezTo>
                    <a:pt x="9761571" y="2692670"/>
                    <a:pt x="9815525" y="2638717"/>
                    <a:pt x="9882080" y="2638717"/>
                  </a:cubicBezTo>
                  <a:close/>
                  <a:moveTo>
                    <a:pt x="9370013" y="2638717"/>
                  </a:moveTo>
                  <a:cubicBezTo>
                    <a:pt x="9436568" y="2638717"/>
                    <a:pt x="9490522" y="2692670"/>
                    <a:pt x="9490522" y="2759225"/>
                  </a:cubicBezTo>
                  <a:cubicBezTo>
                    <a:pt x="9490522" y="2825780"/>
                    <a:pt x="9436568" y="2879734"/>
                    <a:pt x="9370013" y="2879734"/>
                  </a:cubicBezTo>
                  <a:cubicBezTo>
                    <a:pt x="9303458" y="2879734"/>
                    <a:pt x="9249505" y="2825780"/>
                    <a:pt x="9249505" y="2759225"/>
                  </a:cubicBezTo>
                  <a:cubicBezTo>
                    <a:pt x="9249505" y="2692670"/>
                    <a:pt x="9303458" y="2638717"/>
                    <a:pt x="9370013" y="2638717"/>
                  </a:cubicBezTo>
                  <a:close/>
                  <a:moveTo>
                    <a:pt x="8858136" y="2638717"/>
                  </a:moveTo>
                  <a:cubicBezTo>
                    <a:pt x="8924691" y="2638717"/>
                    <a:pt x="8978645" y="2692670"/>
                    <a:pt x="8978645" y="2759225"/>
                  </a:cubicBezTo>
                  <a:cubicBezTo>
                    <a:pt x="8978645" y="2825780"/>
                    <a:pt x="8924691" y="2879734"/>
                    <a:pt x="8858136" y="2879734"/>
                  </a:cubicBezTo>
                  <a:cubicBezTo>
                    <a:pt x="8791581" y="2879734"/>
                    <a:pt x="8737628" y="2825780"/>
                    <a:pt x="8737628" y="2759225"/>
                  </a:cubicBezTo>
                  <a:cubicBezTo>
                    <a:pt x="8737628" y="2692670"/>
                    <a:pt x="8791581" y="2638717"/>
                    <a:pt x="8858136" y="2638717"/>
                  </a:cubicBezTo>
                  <a:close/>
                  <a:moveTo>
                    <a:pt x="8346070" y="2638717"/>
                  </a:moveTo>
                  <a:cubicBezTo>
                    <a:pt x="8412626" y="2638717"/>
                    <a:pt x="8466579" y="2692670"/>
                    <a:pt x="8466579" y="2759225"/>
                  </a:cubicBezTo>
                  <a:cubicBezTo>
                    <a:pt x="8466579" y="2825780"/>
                    <a:pt x="8412626" y="2879734"/>
                    <a:pt x="8346070" y="2879734"/>
                  </a:cubicBezTo>
                  <a:cubicBezTo>
                    <a:pt x="8279515" y="2879734"/>
                    <a:pt x="8225562" y="2825780"/>
                    <a:pt x="8225562" y="2759225"/>
                  </a:cubicBezTo>
                  <a:cubicBezTo>
                    <a:pt x="8225562" y="2692670"/>
                    <a:pt x="8279515" y="2638717"/>
                    <a:pt x="8346070" y="2638717"/>
                  </a:cubicBezTo>
                  <a:close/>
                  <a:moveTo>
                    <a:pt x="7834193" y="2638717"/>
                  </a:moveTo>
                  <a:cubicBezTo>
                    <a:pt x="7900748" y="2638717"/>
                    <a:pt x="7954702" y="2692670"/>
                    <a:pt x="7954702" y="2759225"/>
                  </a:cubicBezTo>
                  <a:cubicBezTo>
                    <a:pt x="7954702" y="2825780"/>
                    <a:pt x="7900748" y="2879734"/>
                    <a:pt x="7834193" y="2879734"/>
                  </a:cubicBezTo>
                  <a:cubicBezTo>
                    <a:pt x="7767638" y="2879734"/>
                    <a:pt x="7713685" y="2825780"/>
                    <a:pt x="7713685" y="2759225"/>
                  </a:cubicBezTo>
                  <a:cubicBezTo>
                    <a:pt x="7713685" y="2692670"/>
                    <a:pt x="7767638" y="2638717"/>
                    <a:pt x="7834193" y="2638717"/>
                  </a:cubicBezTo>
                  <a:close/>
                  <a:moveTo>
                    <a:pt x="7322127" y="2638717"/>
                  </a:moveTo>
                  <a:cubicBezTo>
                    <a:pt x="7388682" y="2638717"/>
                    <a:pt x="7442635" y="2692670"/>
                    <a:pt x="7442635" y="2759225"/>
                  </a:cubicBezTo>
                  <a:cubicBezTo>
                    <a:pt x="7442635" y="2825780"/>
                    <a:pt x="7388682" y="2879734"/>
                    <a:pt x="7322127" y="2879734"/>
                  </a:cubicBezTo>
                  <a:cubicBezTo>
                    <a:pt x="7255572" y="2879734"/>
                    <a:pt x="7201619" y="2825780"/>
                    <a:pt x="7201619" y="2759225"/>
                  </a:cubicBezTo>
                  <a:cubicBezTo>
                    <a:pt x="7201619" y="2692670"/>
                    <a:pt x="7255572" y="2638717"/>
                    <a:pt x="7322127" y="2638717"/>
                  </a:cubicBezTo>
                  <a:close/>
                  <a:moveTo>
                    <a:pt x="6810061" y="2638717"/>
                  </a:moveTo>
                  <a:cubicBezTo>
                    <a:pt x="6876616" y="2638717"/>
                    <a:pt x="6930570" y="2692670"/>
                    <a:pt x="6930570" y="2759225"/>
                  </a:cubicBezTo>
                  <a:cubicBezTo>
                    <a:pt x="6930570" y="2825780"/>
                    <a:pt x="6876616" y="2879734"/>
                    <a:pt x="6810061" y="2879734"/>
                  </a:cubicBezTo>
                  <a:cubicBezTo>
                    <a:pt x="6743506" y="2879734"/>
                    <a:pt x="6689553" y="2825780"/>
                    <a:pt x="6689553" y="2759225"/>
                  </a:cubicBezTo>
                  <a:cubicBezTo>
                    <a:pt x="6689553" y="2692670"/>
                    <a:pt x="6743506" y="2638717"/>
                    <a:pt x="6810061" y="2638717"/>
                  </a:cubicBezTo>
                  <a:close/>
                  <a:moveTo>
                    <a:pt x="6298184" y="2638717"/>
                  </a:moveTo>
                  <a:cubicBezTo>
                    <a:pt x="6364739" y="2638717"/>
                    <a:pt x="6418693" y="2692670"/>
                    <a:pt x="6418693" y="2759225"/>
                  </a:cubicBezTo>
                  <a:cubicBezTo>
                    <a:pt x="6418693" y="2825780"/>
                    <a:pt x="6364739" y="2879734"/>
                    <a:pt x="6298184" y="2879734"/>
                  </a:cubicBezTo>
                  <a:cubicBezTo>
                    <a:pt x="6231629" y="2879734"/>
                    <a:pt x="6177677" y="2825780"/>
                    <a:pt x="6177677" y="2759225"/>
                  </a:cubicBezTo>
                  <a:cubicBezTo>
                    <a:pt x="6177677" y="2692670"/>
                    <a:pt x="6231629" y="2638717"/>
                    <a:pt x="6298184" y="2638717"/>
                  </a:cubicBezTo>
                  <a:close/>
                  <a:moveTo>
                    <a:pt x="5786126" y="2638717"/>
                  </a:moveTo>
                  <a:cubicBezTo>
                    <a:pt x="5852678" y="2638717"/>
                    <a:pt x="5906628" y="2692670"/>
                    <a:pt x="5906628" y="2759225"/>
                  </a:cubicBezTo>
                  <a:cubicBezTo>
                    <a:pt x="5906628" y="2825780"/>
                    <a:pt x="5852678" y="2879734"/>
                    <a:pt x="5786126" y="2879734"/>
                  </a:cubicBezTo>
                  <a:cubicBezTo>
                    <a:pt x="5719573" y="2879734"/>
                    <a:pt x="5665623" y="2825780"/>
                    <a:pt x="5665623" y="2759225"/>
                  </a:cubicBezTo>
                  <a:cubicBezTo>
                    <a:pt x="5665623" y="2692670"/>
                    <a:pt x="5719573" y="2638717"/>
                    <a:pt x="5786126" y="2638717"/>
                  </a:cubicBezTo>
                  <a:close/>
                  <a:moveTo>
                    <a:pt x="5274270" y="2638717"/>
                  </a:moveTo>
                  <a:cubicBezTo>
                    <a:pt x="5340824" y="2638717"/>
                    <a:pt x="5394775" y="2692670"/>
                    <a:pt x="5394775" y="2759225"/>
                  </a:cubicBezTo>
                  <a:cubicBezTo>
                    <a:pt x="5394775" y="2825780"/>
                    <a:pt x="5340824" y="2879734"/>
                    <a:pt x="5274270" y="2879734"/>
                  </a:cubicBezTo>
                  <a:cubicBezTo>
                    <a:pt x="5207718" y="2879734"/>
                    <a:pt x="5153767" y="2825780"/>
                    <a:pt x="5153767" y="2759225"/>
                  </a:cubicBezTo>
                  <a:cubicBezTo>
                    <a:pt x="5153767" y="2692670"/>
                    <a:pt x="5207718" y="2638717"/>
                    <a:pt x="5274270" y="2638717"/>
                  </a:cubicBezTo>
                  <a:close/>
                  <a:moveTo>
                    <a:pt x="4762180" y="2638717"/>
                  </a:moveTo>
                  <a:cubicBezTo>
                    <a:pt x="4828758" y="2638717"/>
                    <a:pt x="4882728" y="2692670"/>
                    <a:pt x="4882728" y="2759225"/>
                  </a:cubicBezTo>
                  <a:cubicBezTo>
                    <a:pt x="4882728" y="2825780"/>
                    <a:pt x="4828758" y="2879734"/>
                    <a:pt x="4762180" y="2879734"/>
                  </a:cubicBezTo>
                  <a:cubicBezTo>
                    <a:pt x="4695639" y="2879734"/>
                    <a:pt x="4641689" y="2825780"/>
                    <a:pt x="4641689" y="2759225"/>
                  </a:cubicBezTo>
                  <a:cubicBezTo>
                    <a:pt x="4641689" y="2692670"/>
                    <a:pt x="4695639" y="2638717"/>
                    <a:pt x="4762180" y="2638717"/>
                  </a:cubicBezTo>
                  <a:close/>
                  <a:moveTo>
                    <a:pt x="4250316" y="2638717"/>
                  </a:moveTo>
                  <a:cubicBezTo>
                    <a:pt x="4316876" y="2638717"/>
                    <a:pt x="4370831" y="2692670"/>
                    <a:pt x="4370831" y="2759225"/>
                  </a:cubicBezTo>
                  <a:cubicBezTo>
                    <a:pt x="4370831" y="2825780"/>
                    <a:pt x="4316876" y="2879734"/>
                    <a:pt x="4250316" y="2879734"/>
                  </a:cubicBezTo>
                  <a:cubicBezTo>
                    <a:pt x="4183758" y="2879734"/>
                    <a:pt x="4129855" y="2825780"/>
                    <a:pt x="4129855" y="2759225"/>
                  </a:cubicBezTo>
                  <a:cubicBezTo>
                    <a:pt x="4129855" y="2692670"/>
                    <a:pt x="4183758" y="2638717"/>
                    <a:pt x="4250316" y="2638717"/>
                  </a:cubicBezTo>
                  <a:close/>
                  <a:moveTo>
                    <a:pt x="3738287" y="2638717"/>
                  </a:moveTo>
                  <a:cubicBezTo>
                    <a:pt x="3804840" y="2638717"/>
                    <a:pt x="3858795" y="2692670"/>
                    <a:pt x="3858795" y="2759225"/>
                  </a:cubicBezTo>
                  <a:cubicBezTo>
                    <a:pt x="3858795" y="2825780"/>
                    <a:pt x="3804840" y="2879734"/>
                    <a:pt x="3738287" y="2879734"/>
                  </a:cubicBezTo>
                  <a:cubicBezTo>
                    <a:pt x="3671724" y="2879734"/>
                    <a:pt x="3617773" y="2825780"/>
                    <a:pt x="3617773" y="2759225"/>
                  </a:cubicBezTo>
                  <a:cubicBezTo>
                    <a:pt x="3617773" y="2692670"/>
                    <a:pt x="3671724" y="2638717"/>
                    <a:pt x="3738287" y="2638717"/>
                  </a:cubicBezTo>
                  <a:close/>
                  <a:moveTo>
                    <a:pt x="3226242" y="2638717"/>
                  </a:moveTo>
                  <a:cubicBezTo>
                    <a:pt x="3292801" y="2638717"/>
                    <a:pt x="3346764" y="2692670"/>
                    <a:pt x="3346764" y="2759225"/>
                  </a:cubicBezTo>
                  <a:cubicBezTo>
                    <a:pt x="3346764" y="2825780"/>
                    <a:pt x="3292801" y="2879734"/>
                    <a:pt x="3226242" y="2879734"/>
                  </a:cubicBezTo>
                  <a:cubicBezTo>
                    <a:pt x="3159683" y="2879734"/>
                    <a:pt x="3105731" y="2825780"/>
                    <a:pt x="3105731" y="2759225"/>
                  </a:cubicBezTo>
                  <a:cubicBezTo>
                    <a:pt x="3105731" y="2692670"/>
                    <a:pt x="3159683" y="2638717"/>
                    <a:pt x="3226242" y="2638717"/>
                  </a:cubicBezTo>
                  <a:close/>
                  <a:moveTo>
                    <a:pt x="2714362" y="2638717"/>
                  </a:moveTo>
                  <a:cubicBezTo>
                    <a:pt x="2780917" y="2638717"/>
                    <a:pt x="2834873" y="2692670"/>
                    <a:pt x="2834873" y="2759225"/>
                  </a:cubicBezTo>
                  <a:cubicBezTo>
                    <a:pt x="2834873" y="2825780"/>
                    <a:pt x="2780917" y="2879734"/>
                    <a:pt x="2714362" y="2879734"/>
                  </a:cubicBezTo>
                  <a:cubicBezTo>
                    <a:pt x="2647808" y="2879734"/>
                    <a:pt x="2593854" y="2825780"/>
                    <a:pt x="2593854" y="2759225"/>
                  </a:cubicBezTo>
                  <a:cubicBezTo>
                    <a:pt x="2593854" y="2692670"/>
                    <a:pt x="2647808" y="2638717"/>
                    <a:pt x="2714362" y="2638717"/>
                  </a:cubicBezTo>
                  <a:close/>
                  <a:moveTo>
                    <a:pt x="2202306" y="2638717"/>
                  </a:moveTo>
                  <a:cubicBezTo>
                    <a:pt x="2268862" y="2638717"/>
                    <a:pt x="2322813" y="2692670"/>
                    <a:pt x="2322813" y="2759225"/>
                  </a:cubicBezTo>
                  <a:cubicBezTo>
                    <a:pt x="2322813" y="2825780"/>
                    <a:pt x="2268860" y="2879734"/>
                    <a:pt x="2202306" y="2879734"/>
                  </a:cubicBezTo>
                  <a:cubicBezTo>
                    <a:pt x="2135752" y="2879734"/>
                    <a:pt x="2081795" y="2825780"/>
                    <a:pt x="2081795" y="2759225"/>
                  </a:cubicBezTo>
                  <a:cubicBezTo>
                    <a:pt x="2081795" y="2692670"/>
                    <a:pt x="2135752" y="2638717"/>
                    <a:pt x="2202306" y="2638717"/>
                  </a:cubicBezTo>
                  <a:close/>
                  <a:moveTo>
                    <a:pt x="1690412" y="2638717"/>
                  </a:moveTo>
                  <a:cubicBezTo>
                    <a:pt x="1756967" y="2638717"/>
                    <a:pt x="1810920" y="2692670"/>
                    <a:pt x="1810920" y="2759225"/>
                  </a:cubicBezTo>
                  <a:cubicBezTo>
                    <a:pt x="1810920" y="2825780"/>
                    <a:pt x="1756967" y="2879734"/>
                    <a:pt x="1690412" y="2879734"/>
                  </a:cubicBezTo>
                  <a:cubicBezTo>
                    <a:pt x="1623857" y="2879734"/>
                    <a:pt x="1569905" y="2825780"/>
                    <a:pt x="1569905" y="2759225"/>
                  </a:cubicBezTo>
                  <a:cubicBezTo>
                    <a:pt x="1569905" y="2692670"/>
                    <a:pt x="1623857" y="2638717"/>
                    <a:pt x="1690412" y="2638717"/>
                  </a:cubicBezTo>
                  <a:close/>
                  <a:moveTo>
                    <a:pt x="1178354" y="2638717"/>
                  </a:moveTo>
                  <a:cubicBezTo>
                    <a:pt x="1244908" y="2638717"/>
                    <a:pt x="1298862" y="2692670"/>
                    <a:pt x="1298862" y="2759225"/>
                  </a:cubicBezTo>
                  <a:cubicBezTo>
                    <a:pt x="1298862" y="2825780"/>
                    <a:pt x="1244908" y="2879734"/>
                    <a:pt x="1178354" y="2879734"/>
                  </a:cubicBezTo>
                  <a:cubicBezTo>
                    <a:pt x="1111799" y="2879734"/>
                    <a:pt x="1057846" y="2825780"/>
                    <a:pt x="1057846" y="2759225"/>
                  </a:cubicBezTo>
                  <a:cubicBezTo>
                    <a:pt x="1057846" y="2692670"/>
                    <a:pt x="1111799" y="2638717"/>
                    <a:pt x="1178354" y="2638717"/>
                  </a:cubicBezTo>
                  <a:close/>
                  <a:moveTo>
                    <a:pt x="666483" y="2638717"/>
                  </a:moveTo>
                  <a:cubicBezTo>
                    <a:pt x="733037" y="2638717"/>
                    <a:pt x="786991" y="2692670"/>
                    <a:pt x="786991" y="2759225"/>
                  </a:cubicBezTo>
                  <a:cubicBezTo>
                    <a:pt x="786991" y="2825780"/>
                    <a:pt x="733037" y="2879734"/>
                    <a:pt x="666483" y="2879734"/>
                  </a:cubicBezTo>
                  <a:cubicBezTo>
                    <a:pt x="599928" y="2879734"/>
                    <a:pt x="545976" y="2825780"/>
                    <a:pt x="545976" y="2759225"/>
                  </a:cubicBezTo>
                  <a:cubicBezTo>
                    <a:pt x="545976" y="2692670"/>
                    <a:pt x="599928" y="2638717"/>
                    <a:pt x="666483" y="2638717"/>
                  </a:cubicBezTo>
                  <a:close/>
                  <a:moveTo>
                    <a:pt x="154426" y="2638717"/>
                  </a:moveTo>
                  <a:cubicBezTo>
                    <a:pt x="220980" y="2638717"/>
                    <a:pt x="274934" y="2692670"/>
                    <a:pt x="274934" y="2759225"/>
                  </a:cubicBezTo>
                  <a:cubicBezTo>
                    <a:pt x="274934" y="2825780"/>
                    <a:pt x="220980" y="2879734"/>
                    <a:pt x="154426" y="2879734"/>
                  </a:cubicBezTo>
                  <a:cubicBezTo>
                    <a:pt x="87871" y="2879734"/>
                    <a:pt x="33919" y="2825780"/>
                    <a:pt x="33919" y="2759225"/>
                  </a:cubicBezTo>
                  <a:cubicBezTo>
                    <a:pt x="33919" y="2692670"/>
                    <a:pt x="87871" y="2638717"/>
                    <a:pt x="154426" y="2638717"/>
                  </a:cubicBezTo>
                  <a:close/>
                  <a:moveTo>
                    <a:pt x="11929965" y="2198994"/>
                  </a:moveTo>
                  <a:cubicBezTo>
                    <a:pt x="11988591" y="2198994"/>
                    <a:pt x="12036118" y="2246520"/>
                    <a:pt x="12036118" y="2305147"/>
                  </a:cubicBezTo>
                  <a:cubicBezTo>
                    <a:pt x="12036118" y="2363774"/>
                    <a:pt x="11988591" y="2411300"/>
                    <a:pt x="11929965" y="2411300"/>
                  </a:cubicBezTo>
                  <a:cubicBezTo>
                    <a:pt x="11871339" y="2411300"/>
                    <a:pt x="11823812" y="2363774"/>
                    <a:pt x="11823812" y="2305147"/>
                  </a:cubicBezTo>
                  <a:cubicBezTo>
                    <a:pt x="11823812" y="2246520"/>
                    <a:pt x="11871339" y="2198994"/>
                    <a:pt x="11929965" y="2198994"/>
                  </a:cubicBezTo>
                  <a:close/>
                  <a:moveTo>
                    <a:pt x="11417900" y="2198994"/>
                  </a:moveTo>
                  <a:cubicBezTo>
                    <a:pt x="11476527" y="2198994"/>
                    <a:pt x="11524053" y="2246520"/>
                    <a:pt x="11524053" y="2305147"/>
                  </a:cubicBezTo>
                  <a:cubicBezTo>
                    <a:pt x="11524053" y="2363774"/>
                    <a:pt x="11476527" y="2411300"/>
                    <a:pt x="11417900" y="2411300"/>
                  </a:cubicBezTo>
                  <a:cubicBezTo>
                    <a:pt x="11359274" y="2411300"/>
                    <a:pt x="11311747" y="2363774"/>
                    <a:pt x="11311747" y="2305147"/>
                  </a:cubicBezTo>
                  <a:cubicBezTo>
                    <a:pt x="11311747" y="2246520"/>
                    <a:pt x="11359274" y="2198994"/>
                    <a:pt x="11417900" y="2198994"/>
                  </a:cubicBezTo>
                  <a:close/>
                  <a:moveTo>
                    <a:pt x="10906023" y="2198994"/>
                  </a:moveTo>
                  <a:cubicBezTo>
                    <a:pt x="10964649" y="2198994"/>
                    <a:pt x="11012176" y="2246520"/>
                    <a:pt x="11012176" y="2305147"/>
                  </a:cubicBezTo>
                  <a:cubicBezTo>
                    <a:pt x="11012176" y="2363774"/>
                    <a:pt x="10964649" y="2411300"/>
                    <a:pt x="10906023" y="2411300"/>
                  </a:cubicBezTo>
                  <a:cubicBezTo>
                    <a:pt x="10847396" y="2411300"/>
                    <a:pt x="10799870" y="2363774"/>
                    <a:pt x="10799870" y="2305147"/>
                  </a:cubicBezTo>
                  <a:cubicBezTo>
                    <a:pt x="10799870" y="2246520"/>
                    <a:pt x="10847396" y="2198994"/>
                    <a:pt x="10906023" y="2198994"/>
                  </a:cubicBezTo>
                  <a:close/>
                  <a:moveTo>
                    <a:pt x="10393957" y="2198994"/>
                  </a:moveTo>
                  <a:cubicBezTo>
                    <a:pt x="10452583" y="2198994"/>
                    <a:pt x="10500110" y="2246520"/>
                    <a:pt x="10500110" y="2305147"/>
                  </a:cubicBezTo>
                  <a:cubicBezTo>
                    <a:pt x="10500110" y="2363774"/>
                    <a:pt x="10452583" y="2411300"/>
                    <a:pt x="10393957" y="2411300"/>
                  </a:cubicBezTo>
                  <a:cubicBezTo>
                    <a:pt x="10335331" y="2411300"/>
                    <a:pt x="10287804" y="2363774"/>
                    <a:pt x="10287804" y="2305147"/>
                  </a:cubicBezTo>
                  <a:cubicBezTo>
                    <a:pt x="10287804" y="2246520"/>
                    <a:pt x="10335331" y="2198994"/>
                    <a:pt x="10393957" y="2198994"/>
                  </a:cubicBezTo>
                  <a:close/>
                  <a:moveTo>
                    <a:pt x="9882079" y="2198994"/>
                  </a:moveTo>
                  <a:cubicBezTo>
                    <a:pt x="9940706" y="2198994"/>
                    <a:pt x="9988232" y="2246520"/>
                    <a:pt x="9988232" y="2305147"/>
                  </a:cubicBezTo>
                  <a:cubicBezTo>
                    <a:pt x="9988232" y="2363774"/>
                    <a:pt x="9940706" y="2411300"/>
                    <a:pt x="9882079" y="2411300"/>
                  </a:cubicBezTo>
                  <a:cubicBezTo>
                    <a:pt x="9823453" y="2411300"/>
                    <a:pt x="9775926" y="2363774"/>
                    <a:pt x="9775926" y="2305147"/>
                  </a:cubicBezTo>
                  <a:cubicBezTo>
                    <a:pt x="9775926" y="2246520"/>
                    <a:pt x="9823453" y="2198994"/>
                    <a:pt x="9882079" y="2198994"/>
                  </a:cubicBezTo>
                  <a:close/>
                  <a:moveTo>
                    <a:pt x="9370014" y="2198994"/>
                  </a:moveTo>
                  <a:cubicBezTo>
                    <a:pt x="9428568" y="2198994"/>
                    <a:pt x="9476167" y="2246593"/>
                    <a:pt x="9476167" y="2305147"/>
                  </a:cubicBezTo>
                  <a:cubicBezTo>
                    <a:pt x="9476167" y="2363701"/>
                    <a:pt x="9428568" y="2411300"/>
                    <a:pt x="9370014" y="2411300"/>
                  </a:cubicBezTo>
                  <a:cubicBezTo>
                    <a:pt x="9311460" y="2411300"/>
                    <a:pt x="9263861" y="2363701"/>
                    <a:pt x="9263861" y="2305147"/>
                  </a:cubicBezTo>
                  <a:cubicBezTo>
                    <a:pt x="9263861" y="2246593"/>
                    <a:pt x="9311460" y="2198994"/>
                    <a:pt x="9370014" y="2198994"/>
                  </a:cubicBezTo>
                  <a:close/>
                  <a:moveTo>
                    <a:pt x="8858136" y="2198994"/>
                  </a:moveTo>
                  <a:cubicBezTo>
                    <a:pt x="8916763" y="2198994"/>
                    <a:pt x="8964289" y="2246520"/>
                    <a:pt x="8964289" y="2305147"/>
                  </a:cubicBezTo>
                  <a:cubicBezTo>
                    <a:pt x="8964289" y="2363774"/>
                    <a:pt x="8916762" y="2411300"/>
                    <a:pt x="8858136" y="2411300"/>
                  </a:cubicBezTo>
                  <a:cubicBezTo>
                    <a:pt x="8799509" y="2411300"/>
                    <a:pt x="8751983" y="2363774"/>
                    <a:pt x="8751983" y="2305147"/>
                  </a:cubicBezTo>
                  <a:cubicBezTo>
                    <a:pt x="8751983" y="2246520"/>
                    <a:pt x="8799510" y="2198994"/>
                    <a:pt x="8858136" y="2198994"/>
                  </a:cubicBezTo>
                  <a:close/>
                  <a:moveTo>
                    <a:pt x="8346071" y="2198994"/>
                  </a:moveTo>
                  <a:cubicBezTo>
                    <a:pt x="8404698" y="2198994"/>
                    <a:pt x="8452224" y="2246520"/>
                    <a:pt x="8452224" y="2305147"/>
                  </a:cubicBezTo>
                  <a:cubicBezTo>
                    <a:pt x="8452224" y="2363774"/>
                    <a:pt x="8404698" y="2411300"/>
                    <a:pt x="8346071" y="2411300"/>
                  </a:cubicBezTo>
                  <a:cubicBezTo>
                    <a:pt x="8287444" y="2411300"/>
                    <a:pt x="8239918" y="2363774"/>
                    <a:pt x="8239918" y="2305147"/>
                  </a:cubicBezTo>
                  <a:cubicBezTo>
                    <a:pt x="8239918" y="2246520"/>
                    <a:pt x="8287445" y="2198994"/>
                    <a:pt x="8346071" y="2198994"/>
                  </a:cubicBezTo>
                  <a:close/>
                  <a:moveTo>
                    <a:pt x="7834194" y="2198994"/>
                  </a:moveTo>
                  <a:cubicBezTo>
                    <a:pt x="7892748" y="2198994"/>
                    <a:pt x="7940347" y="2246593"/>
                    <a:pt x="7940347" y="2305147"/>
                  </a:cubicBezTo>
                  <a:cubicBezTo>
                    <a:pt x="7940347" y="2363701"/>
                    <a:pt x="7892748" y="2411300"/>
                    <a:pt x="7834194" y="2411300"/>
                  </a:cubicBezTo>
                  <a:cubicBezTo>
                    <a:pt x="7775640" y="2411300"/>
                    <a:pt x="7728041" y="2363701"/>
                    <a:pt x="7728041" y="2305147"/>
                  </a:cubicBezTo>
                  <a:cubicBezTo>
                    <a:pt x="7728041" y="2246593"/>
                    <a:pt x="7775640" y="2198994"/>
                    <a:pt x="7834194" y="2198994"/>
                  </a:cubicBezTo>
                  <a:close/>
                  <a:moveTo>
                    <a:pt x="7322128" y="2198994"/>
                  </a:moveTo>
                  <a:cubicBezTo>
                    <a:pt x="7380755" y="2198994"/>
                    <a:pt x="7428281" y="2246520"/>
                    <a:pt x="7428281" y="2305147"/>
                  </a:cubicBezTo>
                  <a:cubicBezTo>
                    <a:pt x="7428281" y="2363774"/>
                    <a:pt x="7380755" y="2411300"/>
                    <a:pt x="7322128" y="2411300"/>
                  </a:cubicBezTo>
                  <a:cubicBezTo>
                    <a:pt x="7263501" y="2411300"/>
                    <a:pt x="7215975" y="2363774"/>
                    <a:pt x="7215975" y="2305147"/>
                  </a:cubicBezTo>
                  <a:cubicBezTo>
                    <a:pt x="7215975" y="2246520"/>
                    <a:pt x="7263502" y="2198994"/>
                    <a:pt x="7322128" y="2198994"/>
                  </a:cubicBezTo>
                  <a:close/>
                  <a:moveTo>
                    <a:pt x="6810062" y="2198994"/>
                  </a:moveTo>
                  <a:cubicBezTo>
                    <a:pt x="6868689" y="2198994"/>
                    <a:pt x="6916215" y="2246520"/>
                    <a:pt x="6916215" y="2305147"/>
                  </a:cubicBezTo>
                  <a:cubicBezTo>
                    <a:pt x="6916215" y="2363774"/>
                    <a:pt x="6868688" y="2411300"/>
                    <a:pt x="6810062" y="2411300"/>
                  </a:cubicBezTo>
                  <a:cubicBezTo>
                    <a:pt x="6751435" y="2411300"/>
                    <a:pt x="6703909" y="2363774"/>
                    <a:pt x="6703909" y="2305147"/>
                  </a:cubicBezTo>
                  <a:cubicBezTo>
                    <a:pt x="6703909" y="2246520"/>
                    <a:pt x="6751436" y="2198994"/>
                    <a:pt x="6810062" y="2198994"/>
                  </a:cubicBezTo>
                  <a:close/>
                  <a:moveTo>
                    <a:pt x="6298186" y="2198994"/>
                  </a:moveTo>
                  <a:cubicBezTo>
                    <a:pt x="6356812" y="2198994"/>
                    <a:pt x="6404338" y="2246520"/>
                    <a:pt x="6404338" y="2305147"/>
                  </a:cubicBezTo>
                  <a:cubicBezTo>
                    <a:pt x="6404338" y="2363774"/>
                    <a:pt x="6356812" y="2411300"/>
                    <a:pt x="6298186" y="2411300"/>
                  </a:cubicBezTo>
                  <a:cubicBezTo>
                    <a:pt x="6239558" y="2411300"/>
                    <a:pt x="6192032" y="2363774"/>
                    <a:pt x="6192032" y="2305147"/>
                  </a:cubicBezTo>
                  <a:cubicBezTo>
                    <a:pt x="6192032" y="2246520"/>
                    <a:pt x="6239559" y="2198994"/>
                    <a:pt x="6298186" y="2198994"/>
                  </a:cubicBezTo>
                  <a:close/>
                  <a:moveTo>
                    <a:pt x="5786126" y="2198994"/>
                  </a:moveTo>
                  <a:cubicBezTo>
                    <a:pt x="5844751" y="2198994"/>
                    <a:pt x="5892275" y="2246520"/>
                    <a:pt x="5892275" y="2305147"/>
                  </a:cubicBezTo>
                  <a:cubicBezTo>
                    <a:pt x="5892275" y="2363774"/>
                    <a:pt x="5844751" y="2411300"/>
                    <a:pt x="5786126" y="2411300"/>
                  </a:cubicBezTo>
                  <a:cubicBezTo>
                    <a:pt x="5727502" y="2411300"/>
                    <a:pt x="5679979" y="2363774"/>
                    <a:pt x="5679979" y="2305147"/>
                  </a:cubicBezTo>
                  <a:cubicBezTo>
                    <a:pt x="5679979" y="2246520"/>
                    <a:pt x="5727502" y="2198994"/>
                    <a:pt x="5786126" y="2198994"/>
                  </a:cubicBezTo>
                  <a:close/>
                  <a:moveTo>
                    <a:pt x="5274270" y="2198994"/>
                  </a:moveTo>
                  <a:cubicBezTo>
                    <a:pt x="5332896" y="2198994"/>
                    <a:pt x="5380420" y="2246520"/>
                    <a:pt x="5380420" y="2305147"/>
                  </a:cubicBezTo>
                  <a:cubicBezTo>
                    <a:pt x="5380420" y="2363774"/>
                    <a:pt x="5332895" y="2411300"/>
                    <a:pt x="5274270" y="2411300"/>
                  </a:cubicBezTo>
                  <a:cubicBezTo>
                    <a:pt x="5215644" y="2411300"/>
                    <a:pt x="5168119" y="2363774"/>
                    <a:pt x="5168119" y="2305147"/>
                  </a:cubicBezTo>
                  <a:cubicBezTo>
                    <a:pt x="5168119" y="2246520"/>
                    <a:pt x="5215645" y="2198994"/>
                    <a:pt x="5274270" y="2198994"/>
                  </a:cubicBezTo>
                  <a:close/>
                  <a:moveTo>
                    <a:pt x="4762180" y="2198994"/>
                  </a:moveTo>
                  <a:cubicBezTo>
                    <a:pt x="4820832" y="2198994"/>
                    <a:pt x="4868369" y="2246520"/>
                    <a:pt x="4868369" y="2305147"/>
                  </a:cubicBezTo>
                  <a:cubicBezTo>
                    <a:pt x="4868369" y="2363774"/>
                    <a:pt x="4820832" y="2411300"/>
                    <a:pt x="4762180" y="2411300"/>
                  </a:cubicBezTo>
                  <a:cubicBezTo>
                    <a:pt x="4703568" y="2411300"/>
                    <a:pt x="4656043" y="2363774"/>
                    <a:pt x="4656043" y="2305147"/>
                  </a:cubicBezTo>
                  <a:cubicBezTo>
                    <a:pt x="4656043" y="2246520"/>
                    <a:pt x="4703568" y="2198994"/>
                    <a:pt x="4762180" y="2198994"/>
                  </a:cubicBezTo>
                  <a:close/>
                  <a:moveTo>
                    <a:pt x="4250316" y="2198994"/>
                  </a:moveTo>
                  <a:cubicBezTo>
                    <a:pt x="4308947" y="2198994"/>
                    <a:pt x="4356476" y="2246520"/>
                    <a:pt x="4356476" y="2305147"/>
                  </a:cubicBezTo>
                  <a:cubicBezTo>
                    <a:pt x="4356476" y="2363774"/>
                    <a:pt x="4308947" y="2411300"/>
                    <a:pt x="4250316" y="2411300"/>
                  </a:cubicBezTo>
                  <a:cubicBezTo>
                    <a:pt x="4191688" y="2411300"/>
                    <a:pt x="4144156" y="2363774"/>
                    <a:pt x="4144156" y="2305147"/>
                  </a:cubicBezTo>
                  <a:cubicBezTo>
                    <a:pt x="4144156" y="2246520"/>
                    <a:pt x="4191688" y="2198994"/>
                    <a:pt x="4250316" y="2198994"/>
                  </a:cubicBezTo>
                  <a:close/>
                  <a:moveTo>
                    <a:pt x="3738289" y="2198994"/>
                  </a:moveTo>
                  <a:cubicBezTo>
                    <a:pt x="3796911" y="2198994"/>
                    <a:pt x="3844442" y="2246520"/>
                    <a:pt x="3844442" y="2305147"/>
                  </a:cubicBezTo>
                  <a:cubicBezTo>
                    <a:pt x="3844442" y="2363774"/>
                    <a:pt x="3796911" y="2411300"/>
                    <a:pt x="3738289" y="2411300"/>
                  </a:cubicBezTo>
                  <a:cubicBezTo>
                    <a:pt x="3679655" y="2411300"/>
                    <a:pt x="3632128" y="2363774"/>
                    <a:pt x="3632128" y="2305147"/>
                  </a:cubicBezTo>
                  <a:cubicBezTo>
                    <a:pt x="3632128" y="2246520"/>
                    <a:pt x="3679655" y="2198994"/>
                    <a:pt x="3738289" y="2198994"/>
                  </a:cubicBezTo>
                  <a:close/>
                  <a:moveTo>
                    <a:pt x="3226242" y="2198994"/>
                  </a:moveTo>
                  <a:cubicBezTo>
                    <a:pt x="3284873" y="2198994"/>
                    <a:pt x="3332405" y="2246520"/>
                    <a:pt x="3332405" y="2305147"/>
                  </a:cubicBezTo>
                  <a:cubicBezTo>
                    <a:pt x="3332405" y="2363774"/>
                    <a:pt x="3284873" y="2411300"/>
                    <a:pt x="3226242" y="2411300"/>
                  </a:cubicBezTo>
                  <a:cubicBezTo>
                    <a:pt x="3167617" y="2411300"/>
                    <a:pt x="3120089" y="2363774"/>
                    <a:pt x="3120089" y="2305147"/>
                  </a:cubicBezTo>
                  <a:cubicBezTo>
                    <a:pt x="3120089" y="2246520"/>
                    <a:pt x="3167617" y="2198994"/>
                    <a:pt x="3226242" y="2198994"/>
                  </a:cubicBezTo>
                  <a:close/>
                  <a:moveTo>
                    <a:pt x="2714363" y="2198994"/>
                  </a:moveTo>
                  <a:cubicBezTo>
                    <a:pt x="2772989" y="2198994"/>
                    <a:pt x="2820518" y="2246520"/>
                    <a:pt x="2820518" y="2305147"/>
                  </a:cubicBezTo>
                  <a:cubicBezTo>
                    <a:pt x="2820518" y="2363774"/>
                    <a:pt x="2772989" y="2411300"/>
                    <a:pt x="2714363" y="2411300"/>
                  </a:cubicBezTo>
                  <a:cubicBezTo>
                    <a:pt x="2655735" y="2411300"/>
                    <a:pt x="2608208" y="2363774"/>
                    <a:pt x="2608208" y="2305147"/>
                  </a:cubicBezTo>
                  <a:cubicBezTo>
                    <a:pt x="2608208" y="2246520"/>
                    <a:pt x="2655735" y="2198994"/>
                    <a:pt x="2714363" y="2198994"/>
                  </a:cubicBezTo>
                  <a:close/>
                  <a:moveTo>
                    <a:pt x="2202306" y="2198994"/>
                  </a:moveTo>
                  <a:cubicBezTo>
                    <a:pt x="2260932" y="2198994"/>
                    <a:pt x="2308457" y="2246520"/>
                    <a:pt x="2308457" y="2305147"/>
                  </a:cubicBezTo>
                  <a:cubicBezTo>
                    <a:pt x="2308457" y="2363774"/>
                    <a:pt x="2260932" y="2411300"/>
                    <a:pt x="2202306" y="2411300"/>
                  </a:cubicBezTo>
                  <a:cubicBezTo>
                    <a:pt x="2143679" y="2411300"/>
                    <a:pt x="2096153" y="2363774"/>
                    <a:pt x="2096153" y="2305147"/>
                  </a:cubicBezTo>
                  <a:cubicBezTo>
                    <a:pt x="2096153" y="2246520"/>
                    <a:pt x="2143679" y="2198994"/>
                    <a:pt x="2202306" y="2198994"/>
                  </a:cubicBezTo>
                  <a:close/>
                  <a:moveTo>
                    <a:pt x="1690413" y="2198994"/>
                  </a:moveTo>
                  <a:cubicBezTo>
                    <a:pt x="1749039" y="2198994"/>
                    <a:pt x="1796565" y="2246520"/>
                    <a:pt x="1796565" y="2305147"/>
                  </a:cubicBezTo>
                  <a:cubicBezTo>
                    <a:pt x="1796565" y="2363774"/>
                    <a:pt x="1749039" y="2411300"/>
                    <a:pt x="1690413" y="2411300"/>
                  </a:cubicBezTo>
                  <a:cubicBezTo>
                    <a:pt x="1631786" y="2411300"/>
                    <a:pt x="1584260" y="2363774"/>
                    <a:pt x="1584260" y="2305147"/>
                  </a:cubicBezTo>
                  <a:cubicBezTo>
                    <a:pt x="1584260" y="2246520"/>
                    <a:pt x="1631786" y="2198994"/>
                    <a:pt x="1690413" y="2198994"/>
                  </a:cubicBezTo>
                  <a:close/>
                  <a:moveTo>
                    <a:pt x="1178353" y="2198994"/>
                  </a:moveTo>
                  <a:cubicBezTo>
                    <a:pt x="1236980" y="2198994"/>
                    <a:pt x="1284506" y="2246520"/>
                    <a:pt x="1284506" y="2305147"/>
                  </a:cubicBezTo>
                  <a:cubicBezTo>
                    <a:pt x="1284506" y="2363774"/>
                    <a:pt x="1236980" y="2411300"/>
                    <a:pt x="1178353" y="2411300"/>
                  </a:cubicBezTo>
                  <a:cubicBezTo>
                    <a:pt x="1119727" y="2411300"/>
                    <a:pt x="1072201" y="2363774"/>
                    <a:pt x="1072201" y="2305147"/>
                  </a:cubicBezTo>
                  <a:cubicBezTo>
                    <a:pt x="1072201" y="2246520"/>
                    <a:pt x="1119727" y="2198994"/>
                    <a:pt x="1178353" y="2198994"/>
                  </a:cubicBezTo>
                  <a:close/>
                  <a:moveTo>
                    <a:pt x="666483" y="2198994"/>
                  </a:moveTo>
                  <a:cubicBezTo>
                    <a:pt x="725110" y="2198994"/>
                    <a:pt x="772636" y="2246520"/>
                    <a:pt x="772636" y="2305147"/>
                  </a:cubicBezTo>
                  <a:cubicBezTo>
                    <a:pt x="772636" y="2363774"/>
                    <a:pt x="725110" y="2411300"/>
                    <a:pt x="666483" y="2411300"/>
                  </a:cubicBezTo>
                  <a:cubicBezTo>
                    <a:pt x="607857" y="2411300"/>
                    <a:pt x="560331" y="2363774"/>
                    <a:pt x="560331" y="2305147"/>
                  </a:cubicBezTo>
                  <a:cubicBezTo>
                    <a:pt x="560331" y="2246520"/>
                    <a:pt x="607857" y="2198994"/>
                    <a:pt x="666483" y="2198994"/>
                  </a:cubicBezTo>
                  <a:close/>
                  <a:moveTo>
                    <a:pt x="154426" y="2198994"/>
                  </a:moveTo>
                  <a:cubicBezTo>
                    <a:pt x="213052" y="2198994"/>
                    <a:pt x="260578" y="2246520"/>
                    <a:pt x="260578" y="2305147"/>
                  </a:cubicBezTo>
                  <a:cubicBezTo>
                    <a:pt x="260578" y="2363774"/>
                    <a:pt x="213052" y="2411300"/>
                    <a:pt x="154426" y="2411300"/>
                  </a:cubicBezTo>
                  <a:cubicBezTo>
                    <a:pt x="95799" y="2411300"/>
                    <a:pt x="48274" y="2363774"/>
                    <a:pt x="48274" y="2305147"/>
                  </a:cubicBezTo>
                  <a:cubicBezTo>
                    <a:pt x="48274" y="2246520"/>
                    <a:pt x="95799" y="2198994"/>
                    <a:pt x="154426" y="2198994"/>
                  </a:cubicBezTo>
                  <a:close/>
                  <a:moveTo>
                    <a:pt x="11929966" y="1759082"/>
                  </a:moveTo>
                  <a:cubicBezTo>
                    <a:pt x="11980769" y="1759082"/>
                    <a:pt x="12021952" y="1800266"/>
                    <a:pt x="12021952" y="1851069"/>
                  </a:cubicBezTo>
                  <a:cubicBezTo>
                    <a:pt x="12021952" y="1901872"/>
                    <a:pt x="11980769" y="1943055"/>
                    <a:pt x="11929966" y="1943055"/>
                  </a:cubicBezTo>
                  <a:cubicBezTo>
                    <a:pt x="11879163" y="1943055"/>
                    <a:pt x="11837979" y="1901872"/>
                    <a:pt x="11837979" y="1851069"/>
                  </a:cubicBezTo>
                  <a:cubicBezTo>
                    <a:pt x="11837979" y="1800266"/>
                    <a:pt x="11879163" y="1759082"/>
                    <a:pt x="11929966" y="1759082"/>
                  </a:cubicBezTo>
                  <a:close/>
                  <a:moveTo>
                    <a:pt x="11417900" y="1759082"/>
                  </a:moveTo>
                  <a:cubicBezTo>
                    <a:pt x="11468703" y="1759082"/>
                    <a:pt x="11509887" y="1800266"/>
                    <a:pt x="11509887" y="1851069"/>
                  </a:cubicBezTo>
                  <a:cubicBezTo>
                    <a:pt x="11509887" y="1901872"/>
                    <a:pt x="11468703" y="1943055"/>
                    <a:pt x="11417900" y="1943055"/>
                  </a:cubicBezTo>
                  <a:cubicBezTo>
                    <a:pt x="11367097" y="1943055"/>
                    <a:pt x="11325913" y="1901872"/>
                    <a:pt x="11325913" y="1851069"/>
                  </a:cubicBezTo>
                  <a:cubicBezTo>
                    <a:pt x="11325913" y="1800266"/>
                    <a:pt x="11367097" y="1759082"/>
                    <a:pt x="11417900" y="1759082"/>
                  </a:cubicBezTo>
                  <a:close/>
                  <a:moveTo>
                    <a:pt x="10906023" y="1759082"/>
                  </a:moveTo>
                  <a:cubicBezTo>
                    <a:pt x="10956826" y="1759082"/>
                    <a:pt x="10998010" y="1800266"/>
                    <a:pt x="10998010" y="1851069"/>
                  </a:cubicBezTo>
                  <a:cubicBezTo>
                    <a:pt x="10998010" y="1901872"/>
                    <a:pt x="10956826" y="1943055"/>
                    <a:pt x="10906023" y="1943055"/>
                  </a:cubicBezTo>
                  <a:cubicBezTo>
                    <a:pt x="10855220" y="1943055"/>
                    <a:pt x="10814037" y="1901872"/>
                    <a:pt x="10814037" y="1851069"/>
                  </a:cubicBezTo>
                  <a:cubicBezTo>
                    <a:pt x="10814037" y="1800266"/>
                    <a:pt x="10855220" y="1759082"/>
                    <a:pt x="10906023" y="1759082"/>
                  </a:cubicBezTo>
                  <a:close/>
                  <a:moveTo>
                    <a:pt x="10393957" y="1759082"/>
                  </a:moveTo>
                  <a:cubicBezTo>
                    <a:pt x="10444760" y="1759082"/>
                    <a:pt x="10485943" y="1800266"/>
                    <a:pt x="10485943" y="1851069"/>
                  </a:cubicBezTo>
                  <a:cubicBezTo>
                    <a:pt x="10485943" y="1901872"/>
                    <a:pt x="10444760" y="1943055"/>
                    <a:pt x="10393957" y="1943055"/>
                  </a:cubicBezTo>
                  <a:cubicBezTo>
                    <a:pt x="10343153" y="1943055"/>
                    <a:pt x="10301970" y="1901872"/>
                    <a:pt x="10301970" y="1851069"/>
                  </a:cubicBezTo>
                  <a:cubicBezTo>
                    <a:pt x="10301970" y="1800266"/>
                    <a:pt x="10343153" y="1759082"/>
                    <a:pt x="10393957" y="1759082"/>
                  </a:cubicBezTo>
                  <a:close/>
                  <a:moveTo>
                    <a:pt x="9882080" y="1759082"/>
                  </a:moveTo>
                  <a:cubicBezTo>
                    <a:pt x="9932883" y="1759082"/>
                    <a:pt x="9974067" y="1800266"/>
                    <a:pt x="9974067" y="1851069"/>
                  </a:cubicBezTo>
                  <a:cubicBezTo>
                    <a:pt x="9974067" y="1901872"/>
                    <a:pt x="9932883" y="1943055"/>
                    <a:pt x="9882080" y="1943055"/>
                  </a:cubicBezTo>
                  <a:cubicBezTo>
                    <a:pt x="9831277" y="1943055"/>
                    <a:pt x="9790093" y="1901872"/>
                    <a:pt x="9790093" y="1851069"/>
                  </a:cubicBezTo>
                  <a:cubicBezTo>
                    <a:pt x="9790093" y="1800266"/>
                    <a:pt x="9831277" y="1759082"/>
                    <a:pt x="9882080" y="1759082"/>
                  </a:cubicBezTo>
                  <a:close/>
                  <a:moveTo>
                    <a:pt x="9370014" y="1759082"/>
                  </a:moveTo>
                  <a:cubicBezTo>
                    <a:pt x="9420824" y="1759082"/>
                    <a:pt x="9462000" y="1800259"/>
                    <a:pt x="9462000" y="1851069"/>
                  </a:cubicBezTo>
                  <a:cubicBezTo>
                    <a:pt x="9462000" y="1901879"/>
                    <a:pt x="9420824" y="1943055"/>
                    <a:pt x="9370014" y="1943055"/>
                  </a:cubicBezTo>
                  <a:cubicBezTo>
                    <a:pt x="9319204" y="1943055"/>
                    <a:pt x="9278027" y="1901879"/>
                    <a:pt x="9278027" y="1851069"/>
                  </a:cubicBezTo>
                  <a:cubicBezTo>
                    <a:pt x="9278027" y="1800259"/>
                    <a:pt x="9319204" y="1759082"/>
                    <a:pt x="9370014" y="1759082"/>
                  </a:cubicBezTo>
                  <a:close/>
                  <a:moveTo>
                    <a:pt x="8858137" y="1759082"/>
                  </a:moveTo>
                  <a:cubicBezTo>
                    <a:pt x="8908940" y="1759082"/>
                    <a:pt x="8950123" y="1800266"/>
                    <a:pt x="8950123" y="1851069"/>
                  </a:cubicBezTo>
                  <a:cubicBezTo>
                    <a:pt x="8950123" y="1901872"/>
                    <a:pt x="8908940" y="1943055"/>
                    <a:pt x="8858137" y="1943055"/>
                  </a:cubicBezTo>
                  <a:cubicBezTo>
                    <a:pt x="8807334" y="1943055"/>
                    <a:pt x="8766150" y="1901872"/>
                    <a:pt x="8766150" y="1851069"/>
                  </a:cubicBezTo>
                  <a:cubicBezTo>
                    <a:pt x="8766150" y="1800266"/>
                    <a:pt x="8807334" y="1759082"/>
                    <a:pt x="8858137" y="1759082"/>
                  </a:cubicBezTo>
                  <a:close/>
                  <a:moveTo>
                    <a:pt x="8346071" y="1759082"/>
                  </a:moveTo>
                  <a:cubicBezTo>
                    <a:pt x="8396874" y="1759082"/>
                    <a:pt x="8438058" y="1800266"/>
                    <a:pt x="8438058" y="1851069"/>
                  </a:cubicBezTo>
                  <a:cubicBezTo>
                    <a:pt x="8438058" y="1901872"/>
                    <a:pt x="8396874" y="1943055"/>
                    <a:pt x="8346071" y="1943055"/>
                  </a:cubicBezTo>
                  <a:cubicBezTo>
                    <a:pt x="8295268" y="1943055"/>
                    <a:pt x="8254084" y="1901872"/>
                    <a:pt x="8254084" y="1851069"/>
                  </a:cubicBezTo>
                  <a:cubicBezTo>
                    <a:pt x="8254084" y="1800266"/>
                    <a:pt x="8295268" y="1759082"/>
                    <a:pt x="8346071" y="1759082"/>
                  </a:cubicBezTo>
                  <a:close/>
                  <a:moveTo>
                    <a:pt x="7834005" y="1759082"/>
                  </a:moveTo>
                  <a:cubicBezTo>
                    <a:pt x="7884815" y="1759082"/>
                    <a:pt x="7925992" y="1800259"/>
                    <a:pt x="7925992" y="1851069"/>
                  </a:cubicBezTo>
                  <a:cubicBezTo>
                    <a:pt x="7925992" y="1901879"/>
                    <a:pt x="7884815" y="1943055"/>
                    <a:pt x="7834005" y="1943055"/>
                  </a:cubicBezTo>
                  <a:cubicBezTo>
                    <a:pt x="7783195" y="1943055"/>
                    <a:pt x="7742018" y="1901879"/>
                    <a:pt x="7742018" y="1851069"/>
                  </a:cubicBezTo>
                  <a:cubicBezTo>
                    <a:pt x="7742018" y="1800259"/>
                    <a:pt x="7783195" y="1759082"/>
                    <a:pt x="7834005" y="1759082"/>
                  </a:cubicBezTo>
                  <a:close/>
                  <a:moveTo>
                    <a:pt x="7322128" y="1759082"/>
                  </a:moveTo>
                  <a:cubicBezTo>
                    <a:pt x="7372931" y="1759082"/>
                    <a:pt x="7414115" y="1800266"/>
                    <a:pt x="7414115" y="1851069"/>
                  </a:cubicBezTo>
                  <a:cubicBezTo>
                    <a:pt x="7414115" y="1901872"/>
                    <a:pt x="7372931" y="1943055"/>
                    <a:pt x="7322128" y="1943055"/>
                  </a:cubicBezTo>
                  <a:cubicBezTo>
                    <a:pt x="7271325" y="1943055"/>
                    <a:pt x="7230141" y="1901872"/>
                    <a:pt x="7230141" y="1851069"/>
                  </a:cubicBezTo>
                  <a:cubicBezTo>
                    <a:pt x="7230141" y="1800266"/>
                    <a:pt x="7271325" y="1759082"/>
                    <a:pt x="7322128" y="1759082"/>
                  </a:cubicBezTo>
                  <a:close/>
                  <a:moveTo>
                    <a:pt x="6810062" y="1759082"/>
                  </a:moveTo>
                  <a:cubicBezTo>
                    <a:pt x="6860865" y="1759082"/>
                    <a:pt x="6902048" y="1800266"/>
                    <a:pt x="6902048" y="1851069"/>
                  </a:cubicBezTo>
                  <a:cubicBezTo>
                    <a:pt x="6902048" y="1901872"/>
                    <a:pt x="6860865" y="1943055"/>
                    <a:pt x="6810062" y="1943055"/>
                  </a:cubicBezTo>
                  <a:cubicBezTo>
                    <a:pt x="6759259" y="1943055"/>
                    <a:pt x="6718075" y="1901872"/>
                    <a:pt x="6718075" y="1851069"/>
                  </a:cubicBezTo>
                  <a:cubicBezTo>
                    <a:pt x="6718075" y="1800266"/>
                    <a:pt x="6759259" y="1759082"/>
                    <a:pt x="6810062" y="1759082"/>
                  </a:cubicBezTo>
                  <a:close/>
                  <a:moveTo>
                    <a:pt x="6298186" y="1759082"/>
                  </a:moveTo>
                  <a:cubicBezTo>
                    <a:pt x="6348988" y="1759082"/>
                    <a:pt x="6390172" y="1800266"/>
                    <a:pt x="6390172" y="1851069"/>
                  </a:cubicBezTo>
                  <a:cubicBezTo>
                    <a:pt x="6390172" y="1901872"/>
                    <a:pt x="6348988" y="1943055"/>
                    <a:pt x="6298186" y="1943055"/>
                  </a:cubicBezTo>
                  <a:cubicBezTo>
                    <a:pt x="6247383" y="1943055"/>
                    <a:pt x="6206198" y="1901872"/>
                    <a:pt x="6206198" y="1851069"/>
                  </a:cubicBezTo>
                  <a:cubicBezTo>
                    <a:pt x="6206198" y="1800266"/>
                    <a:pt x="6247383" y="1759082"/>
                    <a:pt x="6298186" y="1759082"/>
                  </a:cubicBezTo>
                  <a:close/>
                  <a:moveTo>
                    <a:pt x="5786126" y="1759082"/>
                  </a:moveTo>
                  <a:cubicBezTo>
                    <a:pt x="5836927" y="1759082"/>
                    <a:pt x="5878110" y="1800266"/>
                    <a:pt x="5878110" y="1851069"/>
                  </a:cubicBezTo>
                  <a:cubicBezTo>
                    <a:pt x="5878110" y="1901872"/>
                    <a:pt x="5836927" y="1943055"/>
                    <a:pt x="5786126" y="1943055"/>
                  </a:cubicBezTo>
                  <a:cubicBezTo>
                    <a:pt x="5735326" y="1943055"/>
                    <a:pt x="5694144" y="1901872"/>
                    <a:pt x="5694144" y="1851069"/>
                  </a:cubicBezTo>
                  <a:cubicBezTo>
                    <a:pt x="5694144" y="1800266"/>
                    <a:pt x="5735326" y="1759082"/>
                    <a:pt x="5786126" y="1759082"/>
                  </a:cubicBezTo>
                  <a:close/>
                  <a:moveTo>
                    <a:pt x="5274270" y="1759082"/>
                  </a:moveTo>
                  <a:cubicBezTo>
                    <a:pt x="5325073" y="1759082"/>
                    <a:pt x="5366255" y="1800266"/>
                    <a:pt x="5366255" y="1851069"/>
                  </a:cubicBezTo>
                  <a:cubicBezTo>
                    <a:pt x="5366255" y="1901872"/>
                    <a:pt x="5325073" y="1943055"/>
                    <a:pt x="5274270" y="1943055"/>
                  </a:cubicBezTo>
                  <a:cubicBezTo>
                    <a:pt x="5223463" y="1943055"/>
                    <a:pt x="5182283" y="1901872"/>
                    <a:pt x="5182283" y="1851069"/>
                  </a:cubicBezTo>
                  <a:cubicBezTo>
                    <a:pt x="5182283" y="1800266"/>
                    <a:pt x="5223463" y="1759082"/>
                    <a:pt x="5274270" y="1759082"/>
                  </a:cubicBezTo>
                  <a:close/>
                  <a:moveTo>
                    <a:pt x="4762180" y="1759082"/>
                  </a:moveTo>
                  <a:cubicBezTo>
                    <a:pt x="4813000" y="1759082"/>
                    <a:pt x="4854198" y="1800266"/>
                    <a:pt x="4854198" y="1851069"/>
                  </a:cubicBezTo>
                  <a:cubicBezTo>
                    <a:pt x="4854198" y="1901872"/>
                    <a:pt x="4813000" y="1943055"/>
                    <a:pt x="4762180" y="1943055"/>
                  </a:cubicBezTo>
                  <a:cubicBezTo>
                    <a:pt x="4711390" y="1943055"/>
                    <a:pt x="4670207" y="1901872"/>
                    <a:pt x="4670207" y="1851069"/>
                  </a:cubicBezTo>
                  <a:cubicBezTo>
                    <a:pt x="4670207" y="1800266"/>
                    <a:pt x="4711390" y="1759082"/>
                    <a:pt x="4762180" y="1759082"/>
                  </a:cubicBezTo>
                  <a:close/>
                  <a:moveTo>
                    <a:pt x="4250316" y="1759082"/>
                  </a:moveTo>
                  <a:cubicBezTo>
                    <a:pt x="4301123" y="1759082"/>
                    <a:pt x="4342309" y="1800266"/>
                    <a:pt x="4342309" y="1851069"/>
                  </a:cubicBezTo>
                  <a:cubicBezTo>
                    <a:pt x="4342309" y="1901872"/>
                    <a:pt x="4301123" y="1943055"/>
                    <a:pt x="4250316" y="1943055"/>
                  </a:cubicBezTo>
                  <a:cubicBezTo>
                    <a:pt x="4199512" y="1943055"/>
                    <a:pt x="4158324" y="1901872"/>
                    <a:pt x="4158324" y="1851069"/>
                  </a:cubicBezTo>
                  <a:cubicBezTo>
                    <a:pt x="4158324" y="1800266"/>
                    <a:pt x="4199512" y="1759082"/>
                    <a:pt x="4250316" y="1759082"/>
                  </a:cubicBezTo>
                  <a:close/>
                  <a:moveTo>
                    <a:pt x="3738289" y="1759082"/>
                  </a:moveTo>
                  <a:cubicBezTo>
                    <a:pt x="3789088" y="1759082"/>
                    <a:pt x="3830274" y="1800266"/>
                    <a:pt x="3830274" y="1851069"/>
                  </a:cubicBezTo>
                  <a:cubicBezTo>
                    <a:pt x="3830274" y="1901872"/>
                    <a:pt x="3789088" y="1943055"/>
                    <a:pt x="3738289" y="1943055"/>
                  </a:cubicBezTo>
                  <a:cubicBezTo>
                    <a:pt x="3687479" y="1943055"/>
                    <a:pt x="3646291" y="1901872"/>
                    <a:pt x="3646291" y="1851069"/>
                  </a:cubicBezTo>
                  <a:cubicBezTo>
                    <a:pt x="3646291" y="1800266"/>
                    <a:pt x="3687479" y="1759082"/>
                    <a:pt x="3738289" y="1759082"/>
                  </a:cubicBezTo>
                  <a:close/>
                  <a:moveTo>
                    <a:pt x="3226242" y="1759082"/>
                  </a:moveTo>
                  <a:cubicBezTo>
                    <a:pt x="3277050" y="1759082"/>
                    <a:pt x="3318235" y="1800266"/>
                    <a:pt x="3318235" y="1851069"/>
                  </a:cubicBezTo>
                  <a:cubicBezTo>
                    <a:pt x="3318235" y="1901872"/>
                    <a:pt x="3277050" y="1943055"/>
                    <a:pt x="3226242" y="1943055"/>
                  </a:cubicBezTo>
                  <a:cubicBezTo>
                    <a:pt x="3175434" y="1943055"/>
                    <a:pt x="3134252" y="1901872"/>
                    <a:pt x="3134252" y="1851069"/>
                  </a:cubicBezTo>
                  <a:cubicBezTo>
                    <a:pt x="3134252" y="1800266"/>
                    <a:pt x="3175434" y="1759082"/>
                    <a:pt x="3226242" y="1759082"/>
                  </a:cubicBezTo>
                  <a:close/>
                  <a:moveTo>
                    <a:pt x="2714363" y="1759082"/>
                  </a:moveTo>
                  <a:cubicBezTo>
                    <a:pt x="2765166" y="1759082"/>
                    <a:pt x="2806350" y="1800266"/>
                    <a:pt x="2806350" y="1851069"/>
                  </a:cubicBezTo>
                  <a:cubicBezTo>
                    <a:pt x="2806350" y="1901872"/>
                    <a:pt x="2765166" y="1943055"/>
                    <a:pt x="2714363" y="1943055"/>
                  </a:cubicBezTo>
                  <a:cubicBezTo>
                    <a:pt x="2663558" y="1943055"/>
                    <a:pt x="2622376" y="1901872"/>
                    <a:pt x="2622376" y="1851069"/>
                  </a:cubicBezTo>
                  <a:cubicBezTo>
                    <a:pt x="2622376" y="1800266"/>
                    <a:pt x="2663558" y="1759082"/>
                    <a:pt x="2714363" y="1759082"/>
                  </a:cubicBezTo>
                  <a:close/>
                  <a:moveTo>
                    <a:pt x="2202305" y="1759082"/>
                  </a:moveTo>
                  <a:cubicBezTo>
                    <a:pt x="2253108" y="1759082"/>
                    <a:pt x="2294291" y="1800266"/>
                    <a:pt x="2294291" y="1851069"/>
                  </a:cubicBezTo>
                  <a:cubicBezTo>
                    <a:pt x="2294291" y="1901872"/>
                    <a:pt x="2253108" y="1943055"/>
                    <a:pt x="2202305" y="1943055"/>
                  </a:cubicBezTo>
                  <a:cubicBezTo>
                    <a:pt x="2151502" y="1943055"/>
                    <a:pt x="2110320" y="1901872"/>
                    <a:pt x="2110320" y="1851069"/>
                  </a:cubicBezTo>
                  <a:cubicBezTo>
                    <a:pt x="2110320" y="1800266"/>
                    <a:pt x="2151502" y="1759082"/>
                    <a:pt x="2202305" y="1759082"/>
                  </a:cubicBezTo>
                  <a:close/>
                  <a:moveTo>
                    <a:pt x="1690412" y="1759082"/>
                  </a:moveTo>
                  <a:cubicBezTo>
                    <a:pt x="1741215" y="1759082"/>
                    <a:pt x="1782398" y="1800266"/>
                    <a:pt x="1782398" y="1851069"/>
                  </a:cubicBezTo>
                  <a:cubicBezTo>
                    <a:pt x="1782398" y="1901872"/>
                    <a:pt x="1741215" y="1943055"/>
                    <a:pt x="1690412" y="1943055"/>
                  </a:cubicBezTo>
                  <a:cubicBezTo>
                    <a:pt x="1639610" y="1943055"/>
                    <a:pt x="1598426" y="1901872"/>
                    <a:pt x="1598426" y="1851069"/>
                  </a:cubicBezTo>
                  <a:cubicBezTo>
                    <a:pt x="1598426" y="1800266"/>
                    <a:pt x="1639610" y="1759082"/>
                    <a:pt x="1690412" y="1759082"/>
                  </a:cubicBezTo>
                  <a:close/>
                  <a:moveTo>
                    <a:pt x="1178353" y="1759082"/>
                  </a:moveTo>
                  <a:cubicBezTo>
                    <a:pt x="1229156" y="1759082"/>
                    <a:pt x="1270339" y="1800266"/>
                    <a:pt x="1270339" y="1851069"/>
                  </a:cubicBezTo>
                  <a:cubicBezTo>
                    <a:pt x="1270339" y="1901872"/>
                    <a:pt x="1229156" y="1943055"/>
                    <a:pt x="1178353" y="1943055"/>
                  </a:cubicBezTo>
                  <a:cubicBezTo>
                    <a:pt x="1127551" y="1943055"/>
                    <a:pt x="1086367" y="1901872"/>
                    <a:pt x="1086367" y="1851069"/>
                  </a:cubicBezTo>
                  <a:cubicBezTo>
                    <a:pt x="1086367" y="1800266"/>
                    <a:pt x="1127551" y="1759082"/>
                    <a:pt x="1178353" y="1759082"/>
                  </a:cubicBezTo>
                  <a:close/>
                  <a:moveTo>
                    <a:pt x="666483" y="1759082"/>
                  </a:moveTo>
                  <a:cubicBezTo>
                    <a:pt x="717286" y="1759082"/>
                    <a:pt x="758469" y="1800266"/>
                    <a:pt x="758469" y="1851069"/>
                  </a:cubicBezTo>
                  <a:cubicBezTo>
                    <a:pt x="758469" y="1901872"/>
                    <a:pt x="717286" y="1943055"/>
                    <a:pt x="666483" y="1943055"/>
                  </a:cubicBezTo>
                  <a:cubicBezTo>
                    <a:pt x="615681" y="1943055"/>
                    <a:pt x="574497" y="1901872"/>
                    <a:pt x="574497" y="1851069"/>
                  </a:cubicBezTo>
                  <a:cubicBezTo>
                    <a:pt x="574497" y="1800266"/>
                    <a:pt x="615681" y="1759082"/>
                    <a:pt x="666483" y="1759082"/>
                  </a:cubicBezTo>
                  <a:close/>
                  <a:moveTo>
                    <a:pt x="154424" y="1759082"/>
                  </a:moveTo>
                  <a:cubicBezTo>
                    <a:pt x="205227" y="1759082"/>
                    <a:pt x="246411" y="1800266"/>
                    <a:pt x="246411" y="1851069"/>
                  </a:cubicBezTo>
                  <a:cubicBezTo>
                    <a:pt x="246411" y="1901872"/>
                    <a:pt x="205227" y="1943055"/>
                    <a:pt x="154424" y="1943055"/>
                  </a:cubicBezTo>
                  <a:cubicBezTo>
                    <a:pt x="103622" y="1943055"/>
                    <a:pt x="62438" y="1901872"/>
                    <a:pt x="62438" y="1851069"/>
                  </a:cubicBezTo>
                  <a:cubicBezTo>
                    <a:pt x="62438" y="1800266"/>
                    <a:pt x="103622" y="1759082"/>
                    <a:pt x="154424" y="1759082"/>
                  </a:cubicBezTo>
                  <a:close/>
                  <a:moveTo>
                    <a:pt x="11929965" y="1319549"/>
                  </a:moveTo>
                  <a:cubicBezTo>
                    <a:pt x="11972840" y="1319549"/>
                    <a:pt x="12007597" y="1354306"/>
                    <a:pt x="12007597" y="1397181"/>
                  </a:cubicBezTo>
                  <a:cubicBezTo>
                    <a:pt x="12007597" y="1440054"/>
                    <a:pt x="11972840" y="1474811"/>
                    <a:pt x="11929965" y="1474811"/>
                  </a:cubicBezTo>
                  <a:cubicBezTo>
                    <a:pt x="11887091" y="1474811"/>
                    <a:pt x="11852334" y="1440054"/>
                    <a:pt x="11852334" y="1397181"/>
                  </a:cubicBezTo>
                  <a:cubicBezTo>
                    <a:pt x="11852334" y="1354306"/>
                    <a:pt x="11887091" y="1319549"/>
                    <a:pt x="11929965" y="1319549"/>
                  </a:cubicBezTo>
                  <a:close/>
                  <a:moveTo>
                    <a:pt x="11417900" y="1319549"/>
                  </a:moveTo>
                  <a:cubicBezTo>
                    <a:pt x="11460775" y="1319549"/>
                    <a:pt x="11495531" y="1354306"/>
                    <a:pt x="11495531" y="1397181"/>
                  </a:cubicBezTo>
                  <a:cubicBezTo>
                    <a:pt x="11495531" y="1440054"/>
                    <a:pt x="11460775" y="1474811"/>
                    <a:pt x="11417900" y="1474811"/>
                  </a:cubicBezTo>
                  <a:cubicBezTo>
                    <a:pt x="11375025" y="1474811"/>
                    <a:pt x="11340268" y="1440054"/>
                    <a:pt x="11340268" y="1397181"/>
                  </a:cubicBezTo>
                  <a:cubicBezTo>
                    <a:pt x="11340268" y="1354306"/>
                    <a:pt x="11375025" y="1319549"/>
                    <a:pt x="11417900" y="1319549"/>
                  </a:cubicBezTo>
                  <a:close/>
                  <a:moveTo>
                    <a:pt x="10906023" y="1319549"/>
                  </a:moveTo>
                  <a:cubicBezTo>
                    <a:pt x="10948898" y="1319549"/>
                    <a:pt x="10983654" y="1354306"/>
                    <a:pt x="10983654" y="1397181"/>
                  </a:cubicBezTo>
                  <a:cubicBezTo>
                    <a:pt x="10983654" y="1440054"/>
                    <a:pt x="10948898" y="1474811"/>
                    <a:pt x="10906023" y="1474811"/>
                  </a:cubicBezTo>
                  <a:cubicBezTo>
                    <a:pt x="10863148" y="1474811"/>
                    <a:pt x="10828392" y="1440054"/>
                    <a:pt x="10828392" y="1397181"/>
                  </a:cubicBezTo>
                  <a:cubicBezTo>
                    <a:pt x="10828392" y="1354306"/>
                    <a:pt x="10863148" y="1319549"/>
                    <a:pt x="10906023" y="1319549"/>
                  </a:cubicBezTo>
                  <a:close/>
                  <a:moveTo>
                    <a:pt x="10393956" y="1319549"/>
                  </a:moveTo>
                  <a:cubicBezTo>
                    <a:pt x="10436831" y="1319549"/>
                    <a:pt x="10471588" y="1354306"/>
                    <a:pt x="10471588" y="1397181"/>
                  </a:cubicBezTo>
                  <a:cubicBezTo>
                    <a:pt x="10471588" y="1440054"/>
                    <a:pt x="10436831" y="1474811"/>
                    <a:pt x="10393956" y="1474811"/>
                  </a:cubicBezTo>
                  <a:cubicBezTo>
                    <a:pt x="10351081" y="1474811"/>
                    <a:pt x="10316325" y="1440054"/>
                    <a:pt x="10316325" y="1397181"/>
                  </a:cubicBezTo>
                  <a:cubicBezTo>
                    <a:pt x="10316325" y="1354306"/>
                    <a:pt x="10351081" y="1319549"/>
                    <a:pt x="10393956" y="1319549"/>
                  </a:cubicBezTo>
                  <a:close/>
                  <a:moveTo>
                    <a:pt x="9882080" y="1319549"/>
                  </a:moveTo>
                  <a:cubicBezTo>
                    <a:pt x="9924955" y="1319549"/>
                    <a:pt x="9959711" y="1354306"/>
                    <a:pt x="9959711" y="1397181"/>
                  </a:cubicBezTo>
                  <a:cubicBezTo>
                    <a:pt x="9959711" y="1440054"/>
                    <a:pt x="9924955" y="1474811"/>
                    <a:pt x="9882080" y="1474811"/>
                  </a:cubicBezTo>
                  <a:cubicBezTo>
                    <a:pt x="9839205" y="1474811"/>
                    <a:pt x="9804449" y="1440054"/>
                    <a:pt x="9804449" y="1397181"/>
                  </a:cubicBezTo>
                  <a:cubicBezTo>
                    <a:pt x="9804449" y="1354306"/>
                    <a:pt x="9839205" y="1319549"/>
                    <a:pt x="9882080" y="1319549"/>
                  </a:cubicBezTo>
                  <a:close/>
                  <a:moveTo>
                    <a:pt x="9370013" y="1319549"/>
                  </a:moveTo>
                  <a:cubicBezTo>
                    <a:pt x="9412890" y="1319549"/>
                    <a:pt x="9447645" y="1354303"/>
                    <a:pt x="9447645" y="1397181"/>
                  </a:cubicBezTo>
                  <a:cubicBezTo>
                    <a:pt x="9447645" y="1440056"/>
                    <a:pt x="9412890" y="1474811"/>
                    <a:pt x="9370013" y="1474811"/>
                  </a:cubicBezTo>
                  <a:cubicBezTo>
                    <a:pt x="9327137" y="1474811"/>
                    <a:pt x="9292382" y="1440056"/>
                    <a:pt x="9292382" y="1397181"/>
                  </a:cubicBezTo>
                  <a:cubicBezTo>
                    <a:pt x="9292382" y="1354303"/>
                    <a:pt x="9327137" y="1319549"/>
                    <a:pt x="9370013" y="1319549"/>
                  </a:cubicBezTo>
                  <a:close/>
                  <a:moveTo>
                    <a:pt x="8858136" y="1319549"/>
                  </a:moveTo>
                  <a:cubicBezTo>
                    <a:pt x="8901013" y="1319549"/>
                    <a:pt x="8935768" y="1354303"/>
                    <a:pt x="8935768" y="1397181"/>
                  </a:cubicBezTo>
                  <a:cubicBezTo>
                    <a:pt x="8935768" y="1440056"/>
                    <a:pt x="8901013" y="1474811"/>
                    <a:pt x="8858136" y="1474811"/>
                  </a:cubicBezTo>
                  <a:cubicBezTo>
                    <a:pt x="8815260" y="1474811"/>
                    <a:pt x="8780505" y="1440056"/>
                    <a:pt x="8780505" y="1397181"/>
                  </a:cubicBezTo>
                  <a:cubicBezTo>
                    <a:pt x="8780505" y="1354303"/>
                    <a:pt x="8815260" y="1319549"/>
                    <a:pt x="8858136" y="1319549"/>
                  </a:cubicBezTo>
                  <a:close/>
                  <a:moveTo>
                    <a:pt x="8346071" y="1319549"/>
                  </a:moveTo>
                  <a:cubicBezTo>
                    <a:pt x="8388947" y="1319549"/>
                    <a:pt x="8423702" y="1354303"/>
                    <a:pt x="8423702" y="1397181"/>
                  </a:cubicBezTo>
                  <a:cubicBezTo>
                    <a:pt x="8423702" y="1440056"/>
                    <a:pt x="8388947" y="1474811"/>
                    <a:pt x="8346071" y="1474811"/>
                  </a:cubicBezTo>
                  <a:cubicBezTo>
                    <a:pt x="8303194" y="1474811"/>
                    <a:pt x="8268439" y="1440056"/>
                    <a:pt x="8268439" y="1397181"/>
                  </a:cubicBezTo>
                  <a:cubicBezTo>
                    <a:pt x="8268439" y="1354303"/>
                    <a:pt x="8303194" y="1319549"/>
                    <a:pt x="8346071" y="1319549"/>
                  </a:cubicBezTo>
                  <a:close/>
                  <a:moveTo>
                    <a:pt x="7834193" y="1319549"/>
                  </a:moveTo>
                  <a:cubicBezTo>
                    <a:pt x="7877070" y="1319549"/>
                    <a:pt x="7911825" y="1354303"/>
                    <a:pt x="7911825" y="1397181"/>
                  </a:cubicBezTo>
                  <a:cubicBezTo>
                    <a:pt x="7911825" y="1440056"/>
                    <a:pt x="7877070" y="1474811"/>
                    <a:pt x="7834193" y="1474811"/>
                  </a:cubicBezTo>
                  <a:cubicBezTo>
                    <a:pt x="7791317" y="1474811"/>
                    <a:pt x="7756562" y="1440056"/>
                    <a:pt x="7756562" y="1397181"/>
                  </a:cubicBezTo>
                  <a:cubicBezTo>
                    <a:pt x="7756562" y="1354303"/>
                    <a:pt x="7791317" y="1319549"/>
                    <a:pt x="7834193" y="1319549"/>
                  </a:cubicBezTo>
                  <a:close/>
                  <a:moveTo>
                    <a:pt x="7322128" y="1319549"/>
                  </a:moveTo>
                  <a:cubicBezTo>
                    <a:pt x="7365004" y="1319549"/>
                    <a:pt x="7399759" y="1354303"/>
                    <a:pt x="7399759" y="1397181"/>
                  </a:cubicBezTo>
                  <a:cubicBezTo>
                    <a:pt x="7399759" y="1440056"/>
                    <a:pt x="7365004" y="1474811"/>
                    <a:pt x="7322128" y="1474811"/>
                  </a:cubicBezTo>
                  <a:cubicBezTo>
                    <a:pt x="7279251" y="1474811"/>
                    <a:pt x="7244496" y="1440056"/>
                    <a:pt x="7244496" y="1397181"/>
                  </a:cubicBezTo>
                  <a:cubicBezTo>
                    <a:pt x="7244496" y="1354303"/>
                    <a:pt x="7279251" y="1319549"/>
                    <a:pt x="7322128" y="1319549"/>
                  </a:cubicBezTo>
                  <a:close/>
                  <a:moveTo>
                    <a:pt x="6810251" y="1319549"/>
                  </a:moveTo>
                  <a:cubicBezTo>
                    <a:pt x="6853127" y="1319549"/>
                    <a:pt x="6887882" y="1354303"/>
                    <a:pt x="6887882" y="1397181"/>
                  </a:cubicBezTo>
                  <a:cubicBezTo>
                    <a:pt x="6887882" y="1440056"/>
                    <a:pt x="6853127" y="1474811"/>
                    <a:pt x="6810251" y="1474811"/>
                  </a:cubicBezTo>
                  <a:cubicBezTo>
                    <a:pt x="6767374" y="1474811"/>
                    <a:pt x="6732619" y="1440056"/>
                    <a:pt x="6732619" y="1397181"/>
                  </a:cubicBezTo>
                  <a:cubicBezTo>
                    <a:pt x="6732619" y="1354303"/>
                    <a:pt x="6767374" y="1319549"/>
                    <a:pt x="6810251" y="1319549"/>
                  </a:cubicBezTo>
                  <a:close/>
                  <a:moveTo>
                    <a:pt x="6298184" y="1319549"/>
                  </a:moveTo>
                  <a:cubicBezTo>
                    <a:pt x="6341061" y="1319549"/>
                    <a:pt x="6375816" y="1354303"/>
                    <a:pt x="6375816" y="1397181"/>
                  </a:cubicBezTo>
                  <a:cubicBezTo>
                    <a:pt x="6375816" y="1440056"/>
                    <a:pt x="6341061" y="1474811"/>
                    <a:pt x="6298184" y="1474811"/>
                  </a:cubicBezTo>
                  <a:cubicBezTo>
                    <a:pt x="6255309" y="1474811"/>
                    <a:pt x="6220554" y="1440056"/>
                    <a:pt x="6220554" y="1397181"/>
                  </a:cubicBezTo>
                  <a:cubicBezTo>
                    <a:pt x="6220554" y="1354303"/>
                    <a:pt x="6255309" y="1319549"/>
                    <a:pt x="6298184" y="1319549"/>
                  </a:cubicBezTo>
                  <a:close/>
                  <a:moveTo>
                    <a:pt x="5786126" y="1319549"/>
                  </a:moveTo>
                  <a:cubicBezTo>
                    <a:pt x="5829001" y="1319549"/>
                    <a:pt x="5863754" y="1354303"/>
                    <a:pt x="5863754" y="1397181"/>
                  </a:cubicBezTo>
                  <a:cubicBezTo>
                    <a:pt x="5863754" y="1440056"/>
                    <a:pt x="5829001" y="1474811"/>
                    <a:pt x="5786126" y="1474811"/>
                  </a:cubicBezTo>
                  <a:cubicBezTo>
                    <a:pt x="5743252" y="1474811"/>
                    <a:pt x="5708497" y="1440056"/>
                    <a:pt x="5708497" y="1397181"/>
                  </a:cubicBezTo>
                  <a:cubicBezTo>
                    <a:pt x="5708497" y="1354303"/>
                    <a:pt x="5743252" y="1319549"/>
                    <a:pt x="5786126" y="1319549"/>
                  </a:cubicBezTo>
                  <a:close/>
                  <a:moveTo>
                    <a:pt x="5274270" y="1319549"/>
                  </a:moveTo>
                  <a:cubicBezTo>
                    <a:pt x="5317143" y="1319549"/>
                    <a:pt x="5351901" y="1354306"/>
                    <a:pt x="5351901" y="1397181"/>
                  </a:cubicBezTo>
                  <a:cubicBezTo>
                    <a:pt x="5351901" y="1440054"/>
                    <a:pt x="5317143" y="1474811"/>
                    <a:pt x="5274270" y="1474811"/>
                  </a:cubicBezTo>
                  <a:cubicBezTo>
                    <a:pt x="5231396" y="1474811"/>
                    <a:pt x="5196640" y="1440054"/>
                    <a:pt x="5196640" y="1397181"/>
                  </a:cubicBezTo>
                  <a:cubicBezTo>
                    <a:pt x="5196640" y="1354306"/>
                    <a:pt x="5231396" y="1319549"/>
                    <a:pt x="5274270" y="1319549"/>
                  </a:cubicBezTo>
                  <a:close/>
                  <a:moveTo>
                    <a:pt x="4762180" y="1319549"/>
                  </a:moveTo>
                  <a:cubicBezTo>
                    <a:pt x="4805070" y="1319549"/>
                    <a:pt x="4839836" y="1354306"/>
                    <a:pt x="4839836" y="1397181"/>
                  </a:cubicBezTo>
                  <a:cubicBezTo>
                    <a:pt x="4839836" y="1440054"/>
                    <a:pt x="4805070" y="1474811"/>
                    <a:pt x="4762180" y="1474811"/>
                  </a:cubicBezTo>
                  <a:cubicBezTo>
                    <a:pt x="4719317" y="1474811"/>
                    <a:pt x="4684568" y="1440054"/>
                    <a:pt x="4684568" y="1397181"/>
                  </a:cubicBezTo>
                  <a:cubicBezTo>
                    <a:pt x="4684568" y="1354306"/>
                    <a:pt x="4719317" y="1319549"/>
                    <a:pt x="4762180" y="1319549"/>
                  </a:cubicBezTo>
                  <a:close/>
                  <a:moveTo>
                    <a:pt x="4250316" y="1319549"/>
                  </a:moveTo>
                  <a:cubicBezTo>
                    <a:pt x="4293194" y="1319549"/>
                    <a:pt x="4327952" y="1354306"/>
                    <a:pt x="4327952" y="1397181"/>
                  </a:cubicBezTo>
                  <a:cubicBezTo>
                    <a:pt x="4327952" y="1440054"/>
                    <a:pt x="4293194" y="1474811"/>
                    <a:pt x="4250316" y="1474811"/>
                  </a:cubicBezTo>
                  <a:cubicBezTo>
                    <a:pt x="4207439" y="1474811"/>
                    <a:pt x="4172680" y="1440054"/>
                    <a:pt x="4172680" y="1397181"/>
                  </a:cubicBezTo>
                  <a:cubicBezTo>
                    <a:pt x="4172680" y="1354306"/>
                    <a:pt x="4207439" y="1319549"/>
                    <a:pt x="4250316" y="1319549"/>
                  </a:cubicBezTo>
                  <a:close/>
                  <a:moveTo>
                    <a:pt x="3738287" y="1319549"/>
                  </a:moveTo>
                  <a:cubicBezTo>
                    <a:pt x="3781162" y="1319549"/>
                    <a:pt x="3815917" y="1354306"/>
                    <a:pt x="3815917" y="1397181"/>
                  </a:cubicBezTo>
                  <a:cubicBezTo>
                    <a:pt x="3815917" y="1440054"/>
                    <a:pt x="3781162" y="1474811"/>
                    <a:pt x="3738287" y="1474811"/>
                  </a:cubicBezTo>
                  <a:cubicBezTo>
                    <a:pt x="3695408" y="1474811"/>
                    <a:pt x="3660647" y="1440054"/>
                    <a:pt x="3660647" y="1397181"/>
                  </a:cubicBezTo>
                  <a:cubicBezTo>
                    <a:pt x="3660647" y="1354306"/>
                    <a:pt x="3695408" y="1319549"/>
                    <a:pt x="3738287" y="1319549"/>
                  </a:cubicBezTo>
                  <a:close/>
                  <a:moveTo>
                    <a:pt x="3226239" y="1319549"/>
                  </a:moveTo>
                  <a:cubicBezTo>
                    <a:pt x="3269119" y="1319549"/>
                    <a:pt x="3303877" y="1354306"/>
                    <a:pt x="3303877" y="1397181"/>
                  </a:cubicBezTo>
                  <a:cubicBezTo>
                    <a:pt x="3303877" y="1440054"/>
                    <a:pt x="3269119" y="1474811"/>
                    <a:pt x="3226239" y="1474811"/>
                  </a:cubicBezTo>
                  <a:cubicBezTo>
                    <a:pt x="3183364" y="1474811"/>
                    <a:pt x="3148605" y="1440054"/>
                    <a:pt x="3148605" y="1397181"/>
                  </a:cubicBezTo>
                  <a:cubicBezTo>
                    <a:pt x="3148605" y="1354306"/>
                    <a:pt x="3183364" y="1319549"/>
                    <a:pt x="3226239" y="1319549"/>
                  </a:cubicBezTo>
                  <a:close/>
                  <a:moveTo>
                    <a:pt x="2714362" y="1319549"/>
                  </a:moveTo>
                  <a:cubicBezTo>
                    <a:pt x="2757237" y="1319549"/>
                    <a:pt x="2791993" y="1354306"/>
                    <a:pt x="2791993" y="1397181"/>
                  </a:cubicBezTo>
                  <a:cubicBezTo>
                    <a:pt x="2791993" y="1440054"/>
                    <a:pt x="2757237" y="1474811"/>
                    <a:pt x="2714362" y="1474811"/>
                  </a:cubicBezTo>
                  <a:cubicBezTo>
                    <a:pt x="2671488" y="1474811"/>
                    <a:pt x="2636733" y="1440054"/>
                    <a:pt x="2636733" y="1397181"/>
                  </a:cubicBezTo>
                  <a:cubicBezTo>
                    <a:pt x="2636733" y="1354306"/>
                    <a:pt x="2671488" y="1319549"/>
                    <a:pt x="2714362" y="1319549"/>
                  </a:cubicBezTo>
                  <a:close/>
                  <a:moveTo>
                    <a:pt x="2202305" y="1319549"/>
                  </a:moveTo>
                  <a:cubicBezTo>
                    <a:pt x="2245179" y="1319549"/>
                    <a:pt x="2279935" y="1354306"/>
                    <a:pt x="2279935" y="1397181"/>
                  </a:cubicBezTo>
                  <a:cubicBezTo>
                    <a:pt x="2279935" y="1440054"/>
                    <a:pt x="2245179" y="1474811"/>
                    <a:pt x="2202305" y="1474811"/>
                  </a:cubicBezTo>
                  <a:cubicBezTo>
                    <a:pt x="2159431" y="1474811"/>
                    <a:pt x="2124675" y="1440054"/>
                    <a:pt x="2124675" y="1397181"/>
                  </a:cubicBezTo>
                  <a:cubicBezTo>
                    <a:pt x="2124675" y="1354306"/>
                    <a:pt x="2159431" y="1319549"/>
                    <a:pt x="2202305" y="1319549"/>
                  </a:cubicBezTo>
                  <a:close/>
                  <a:moveTo>
                    <a:pt x="1690412" y="1319549"/>
                  </a:moveTo>
                  <a:cubicBezTo>
                    <a:pt x="1733286" y="1319549"/>
                    <a:pt x="1768043" y="1354306"/>
                    <a:pt x="1768043" y="1397181"/>
                  </a:cubicBezTo>
                  <a:cubicBezTo>
                    <a:pt x="1768043" y="1440054"/>
                    <a:pt x="1733286" y="1474811"/>
                    <a:pt x="1690412" y="1474811"/>
                  </a:cubicBezTo>
                  <a:cubicBezTo>
                    <a:pt x="1647538" y="1474811"/>
                    <a:pt x="1612781" y="1440054"/>
                    <a:pt x="1612781" y="1397181"/>
                  </a:cubicBezTo>
                  <a:cubicBezTo>
                    <a:pt x="1612781" y="1354306"/>
                    <a:pt x="1647538" y="1319549"/>
                    <a:pt x="1690412" y="1319549"/>
                  </a:cubicBezTo>
                  <a:close/>
                  <a:moveTo>
                    <a:pt x="1178353" y="1319549"/>
                  </a:moveTo>
                  <a:cubicBezTo>
                    <a:pt x="1221227" y="1319549"/>
                    <a:pt x="1255984" y="1354306"/>
                    <a:pt x="1255984" y="1397181"/>
                  </a:cubicBezTo>
                  <a:cubicBezTo>
                    <a:pt x="1255984" y="1440054"/>
                    <a:pt x="1221227" y="1474811"/>
                    <a:pt x="1178353" y="1474811"/>
                  </a:cubicBezTo>
                  <a:cubicBezTo>
                    <a:pt x="1135478" y="1474811"/>
                    <a:pt x="1100722" y="1440054"/>
                    <a:pt x="1100722" y="1397181"/>
                  </a:cubicBezTo>
                  <a:cubicBezTo>
                    <a:pt x="1100722" y="1354306"/>
                    <a:pt x="1135478" y="1319549"/>
                    <a:pt x="1178353" y="1319549"/>
                  </a:cubicBezTo>
                  <a:close/>
                  <a:moveTo>
                    <a:pt x="666483" y="1319549"/>
                  </a:moveTo>
                  <a:cubicBezTo>
                    <a:pt x="709357" y="1319549"/>
                    <a:pt x="744113" y="1354306"/>
                    <a:pt x="744113" y="1397181"/>
                  </a:cubicBezTo>
                  <a:cubicBezTo>
                    <a:pt x="744113" y="1440054"/>
                    <a:pt x="709357" y="1474811"/>
                    <a:pt x="666483" y="1474811"/>
                  </a:cubicBezTo>
                  <a:cubicBezTo>
                    <a:pt x="623608" y="1474811"/>
                    <a:pt x="588852" y="1440054"/>
                    <a:pt x="588852" y="1397181"/>
                  </a:cubicBezTo>
                  <a:cubicBezTo>
                    <a:pt x="588852" y="1354306"/>
                    <a:pt x="623608" y="1319549"/>
                    <a:pt x="666483" y="1319549"/>
                  </a:cubicBezTo>
                  <a:close/>
                  <a:moveTo>
                    <a:pt x="154424" y="1319549"/>
                  </a:moveTo>
                  <a:cubicBezTo>
                    <a:pt x="197298" y="1319549"/>
                    <a:pt x="232055" y="1354306"/>
                    <a:pt x="232055" y="1397181"/>
                  </a:cubicBezTo>
                  <a:cubicBezTo>
                    <a:pt x="232055" y="1440054"/>
                    <a:pt x="197298" y="1474811"/>
                    <a:pt x="154424" y="1474811"/>
                  </a:cubicBezTo>
                  <a:cubicBezTo>
                    <a:pt x="111550" y="1474811"/>
                    <a:pt x="76793" y="1440054"/>
                    <a:pt x="76793" y="1397181"/>
                  </a:cubicBezTo>
                  <a:cubicBezTo>
                    <a:pt x="76793" y="1354306"/>
                    <a:pt x="111550" y="1319549"/>
                    <a:pt x="154424" y="1319549"/>
                  </a:cubicBezTo>
                  <a:close/>
                  <a:moveTo>
                    <a:pt x="11929965" y="879636"/>
                  </a:moveTo>
                  <a:cubicBezTo>
                    <a:pt x="11965016" y="879636"/>
                    <a:pt x="11993430" y="908050"/>
                    <a:pt x="11993430" y="943101"/>
                  </a:cubicBezTo>
                  <a:cubicBezTo>
                    <a:pt x="11993430" y="978153"/>
                    <a:pt x="11965016" y="1006567"/>
                    <a:pt x="11929965" y="1006567"/>
                  </a:cubicBezTo>
                  <a:cubicBezTo>
                    <a:pt x="11894915" y="1006567"/>
                    <a:pt x="11866500" y="978153"/>
                    <a:pt x="11866500" y="943101"/>
                  </a:cubicBezTo>
                  <a:cubicBezTo>
                    <a:pt x="11866500" y="908050"/>
                    <a:pt x="11894915" y="879636"/>
                    <a:pt x="11929965" y="879636"/>
                  </a:cubicBezTo>
                  <a:close/>
                  <a:moveTo>
                    <a:pt x="11417899" y="879636"/>
                  </a:moveTo>
                  <a:cubicBezTo>
                    <a:pt x="11452950" y="879636"/>
                    <a:pt x="11481364" y="908050"/>
                    <a:pt x="11481364" y="943101"/>
                  </a:cubicBezTo>
                  <a:cubicBezTo>
                    <a:pt x="11481364" y="978153"/>
                    <a:pt x="11452950" y="1006567"/>
                    <a:pt x="11417899" y="1006567"/>
                  </a:cubicBezTo>
                  <a:cubicBezTo>
                    <a:pt x="11382849" y="1006567"/>
                    <a:pt x="11354434" y="978153"/>
                    <a:pt x="11354434" y="943101"/>
                  </a:cubicBezTo>
                  <a:cubicBezTo>
                    <a:pt x="11354434" y="908050"/>
                    <a:pt x="11382849" y="879636"/>
                    <a:pt x="11417899" y="879636"/>
                  </a:cubicBezTo>
                  <a:close/>
                  <a:moveTo>
                    <a:pt x="10906023" y="879636"/>
                  </a:moveTo>
                  <a:cubicBezTo>
                    <a:pt x="10941073" y="879636"/>
                    <a:pt x="10969488" y="908050"/>
                    <a:pt x="10969488" y="943101"/>
                  </a:cubicBezTo>
                  <a:cubicBezTo>
                    <a:pt x="10969488" y="978153"/>
                    <a:pt x="10941073" y="1006567"/>
                    <a:pt x="10906023" y="1006567"/>
                  </a:cubicBezTo>
                  <a:cubicBezTo>
                    <a:pt x="10870972" y="1006567"/>
                    <a:pt x="10842558" y="978153"/>
                    <a:pt x="10842558" y="943101"/>
                  </a:cubicBezTo>
                  <a:cubicBezTo>
                    <a:pt x="10842558" y="908050"/>
                    <a:pt x="10870972" y="879636"/>
                    <a:pt x="10906023" y="879636"/>
                  </a:cubicBezTo>
                  <a:close/>
                  <a:moveTo>
                    <a:pt x="10393956" y="879636"/>
                  </a:moveTo>
                  <a:cubicBezTo>
                    <a:pt x="10429006" y="879636"/>
                    <a:pt x="10457421" y="908050"/>
                    <a:pt x="10457421" y="943101"/>
                  </a:cubicBezTo>
                  <a:cubicBezTo>
                    <a:pt x="10457421" y="978153"/>
                    <a:pt x="10429006" y="1006567"/>
                    <a:pt x="10393956" y="1006567"/>
                  </a:cubicBezTo>
                  <a:cubicBezTo>
                    <a:pt x="10358906" y="1006567"/>
                    <a:pt x="10330491" y="978153"/>
                    <a:pt x="10330491" y="943101"/>
                  </a:cubicBezTo>
                  <a:cubicBezTo>
                    <a:pt x="10330491" y="908050"/>
                    <a:pt x="10358906" y="879636"/>
                    <a:pt x="10393956" y="879636"/>
                  </a:cubicBezTo>
                  <a:close/>
                  <a:moveTo>
                    <a:pt x="9882079" y="879636"/>
                  </a:moveTo>
                  <a:cubicBezTo>
                    <a:pt x="9917130" y="879636"/>
                    <a:pt x="9945544" y="908050"/>
                    <a:pt x="9945544" y="943101"/>
                  </a:cubicBezTo>
                  <a:cubicBezTo>
                    <a:pt x="9945544" y="978153"/>
                    <a:pt x="9917130" y="1006567"/>
                    <a:pt x="9882079" y="1006567"/>
                  </a:cubicBezTo>
                  <a:cubicBezTo>
                    <a:pt x="9847029" y="1006567"/>
                    <a:pt x="9818615" y="978153"/>
                    <a:pt x="9818615" y="943101"/>
                  </a:cubicBezTo>
                  <a:cubicBezTo>
                    <a:pt x="9818615" y="908050"/>
                    <a:pt x="9847029" y="879636"/>
                    <a:pt x="9882079" y="879636"/>
                  </a:cubicBezTo>
                  <a:close/>
                  <a:moveTo>
                    <a:pt x="5274270" y="879636"/>
                  </a:moveTo>
                  <a:cubicBezTo>
                    <a:pt x="5309318" y="879636"/>
                    <a:pt x="5337733" y="908050"/>
                    <a:pt x="5337733" y="943101"/>
                  </a:cubicBezTo>
                  <a:cubicBezTo>
                    <a:pt x="5337733" y="978153"/>
                    <a:pt x="5309318" y="1006567"/>
                    <a:pt x="5274270" y="1006567"/>
                  </a:cubicBezTo>
                  <a:cubicBezTo>
                    <a:pt x="5239220" y="1006567"/>
                    <a:pt x="5210807" y="978153"/>
                    <a:pt x="5210807" y="943101"/>
                  </a:cubicBezTo>
                  <a:cubicBezTo>
                    <a:pt x="5210807" y="908050"/>
                    <a:pt x="5239220" y="879636"/>
                    <a:pt x="5274270" y="879636"/>
                  </a:cubicBezTo>
                  <a:close/>
                  <a:moveTo>
                    <a:pt x="4762180" y="879636"/>
                  </a:moveTo>
                  <a:cubicBezTo>
                    <a:pt x="4797244" y="879636"/>
                    <a:pt x="4825668" y="908050"/>
                    <a:pt x="4825668" y="943101"/>
                  </a:cubicBezTo>
                  <a:cubicBezTo>
                    <a:pt x="4825668" y="978153"/>
                    <a:pt x="4797244" y="1006567"/>
                    <a:pt x="4762180" y="1006567"/>
                  </a:cubicBezTo>
                  <a:cubicBezTo>
                    <a:pt x="4727138" y="1006567"/>
                    <a:pt x="4698732" y="978153"/>
                    <a:pt x="4698732" y="943101"/>
                  </a:cubicBezTo>
                  <a:cubicBezTo>
                    <a:pt x="4698732" y="908050"/>
                    <a:pt x="4727138" y="879636"/>
                    <a:pt x="4762180" y="879636"/>
                  </a:cubicBezTo>
                  <a:close/>
                  <a:moveTo>
                    <a:pt x="4250316" y="879636"/>
                  </a:moveTo>
                  <a:cubicBezTo>
                    <a:pt x="4285370" y="879636"/>
                    <a:pt x="4313785" y="908050"/>
                    <a:pt x="4313785" y="943101"/>
                  </a:cubicBezTo>
                  <a:cubicBezTo>
                    <a:pt x="4313785" y="978153"/>
                    <a:pt x="4285370" y="1006567"/>
                    <a:pt x="4250316" y="1006567"/>
                  </a:cubicBezTo>
                  <a:cubicBezTo>
                    <a:pt x="4215264" y="1006567"/>
                    <a:pt x="4186848" y="978153"/>
                    <a:pt x="4186848" y="943101"/>
                  </a:cubicBezTo>
                  <a:cubicBezTo>
                    <a:pt x="4186848" y="908050"/>
                    <a:pt x="4215264" y="879636"/>
                    <a:pt x="4250316" y="879636"/>
                  </a:cubicBezTo>
                  <a:close/>
                  <a:moveTo>
                    <a:pt x="3738289" y="879636"/>
                  </a:moveTo>
                  <a:cubicBezTo>
                    <a:pt x="3773338" y="879636"/>
                    <a:pt x="3801749" y="908050"/>
                    <a:pt x="3801749" y="943101"/>
                  </a:cubicBezTo>
                  <a:cubicBezTo>
                    <a:pt x="3801749" y="978153"/>
                    <a:pt x="3773338" y="1006567"/>
                    <a:pt x="3738289" y="1006567"/>
                  </a:cubicBezTo>
                  <a:cubicBezTo>
                    <a:pt x="3703233" y="1006567"/>
                    <a:pt x="3674814" y="978153"/>
                    <a:pt x="3674814" y="943101"/>
                  </a:cubicBezTo>
                  <a:cubicBezTo>
                    <a:pt x="3674814" y="908050"/>
                    <a:pt x="3703233" y="879636"/>
                    <a:pt x="3738289" y="879636"/>
                  </a:cubicBezTo>
                  <a:close/>
                  <a:moveTo>
                    <a:pt x="3226242" y="879636"/>
                  </a:moveTo>
                  <a:cubicBezTo>
                    <a:pt x="3261296" y="879636"/>
                    <a:pt x="3289709" y="908050"/>
                    <a:pt x="3289709" y="943101"/>
                  </a:cubicBezTo>
                  <a:cubicBezTo>
                    <a:pt x="3289709" y="978153"/>
                    <a:pt x="3261296" y="1006567"/>
                    <a:pt x="3226242" y="1006567"/>
                  </a:cubicBezTo>
                  <a:cubicBezTo>
                    <a:pt x="3191188" y="1006567"/>
                    <a:pt x="3162775" y="978153"/>
                    <a:pt x="3162775" y="943101"/>
                  </a:cubicBezTo>
                  <a:cubicBezTo>
                    <a:pt x="3162775" y="908050"/>
                    <a:pt x="3191188" y="879636"/>
                    <a:pt x="3226242" y="879636"/>
                  </a:cubicBezTo>
                  <a:close/>
                  <a:moveTo>
                    <a:pt x="2714362" y="879636"/>
                  </a:moveTo>
                  <a:cubicBezTo>
                    <a:pt x="2749413" y="879636"/>
                    <a:pt x="2777827" y="908050"/>
                    <a:pt x="2777827" y="943101"/>
                  </a:cubicBezTo>
                  <a:cubicBezTo>
                    <a:pt x="2777827" y="978153"/>
                    <a:pt x="2749413" y="1006567"/>
                    <a:pt x="2714362" y="1006567"/>
                  </a:cubicBezTo>
                  <a:cubicBezTo>
                    <a:pt x="2679313" y="1006567"/>
                    <a:pt x="2650897" y="978153"/>
                    <a:pt x="2650897" y="943101"/>
                  </a:cubicBezTo>
                  <a:cubicBezTo>
                    <a:pt x="2650897" y="908050"/>
                    <a:pt x="2679313" y="879636"/>
                    <a:pt x="2714362" y="879636"/>
                  </a:cubicBezTo>
                  <a:close/>
                  <a:moveTo>
                    <a:pt x="2202305" y="879636"/>
                  </a:moveTo>
                  <a:cubicBezTo>
                    <a:pt x="2237356" y="879636"/>
                    <a:pt x="2265769" y="908050"/>
                    <a:pt x="2265769" y="943101"/>
                  </a:cubicBezTo>
                  <a:cubicBezTo>
                    <a:pt x="2265769" y="978153"/>
                    <a:pt x="2237356" y="1006567"/>
                    <a:pt x="2202305" y="1006567"/>
                  </a:cubicBezTo>
                  <a:cubicBezTo>
                    <a:pt x="2167254" y="1006567"/>
                    <a:pt x="2138841" y="978153"/>
                    <a:pt x="2138841" y="943101"/>
                  </a:cubicBezTo>
                  <a:cubicBezTo>
                    <a:pt x="2138841" y="908050"/>
                    <a:pt x="2167254" y="879636"/>
                    <a:pt x="2202305" y="879636"/>
                  </a:cubicBezTo>
                  <a:close/>
                  <a:moveTo>
                    <a:pt x="1690412" y="879636"/>
                  </a:moveTo>
                  <a:cubicBezTo>
                    <a:pt x="1725463" y="879636"/>
                    <a:pt x="1753877" y="908050"/>
                    <a:pt x="1753877" y="943101"/>
                  </a:cubicBezTo>
                  <a:cubicBezTo>
                    <a:pt x="1753877" y="978153"/>
                    <a:pt x="1725463" y="1006567"/>
                    <a:pt x="1690412" y="1006567"/>
                  </a:cubicBezTo>
                  <a:cubicBezTo>
                    <a:pt x="1655361" y="1006567"/>
                    <a:pt x="1626948" y="978153"/>
                    <a:pt x="1626948" y="943101"/>
                  </a:cubicBezTo>
                  <a:cubicBezTo>
                    <a:pt x="1626948" y="908050"/>
                    <a:pt x="1655361" y="879636"/>
                    <a:pt x="1690412" y="879636"/>
                  </a:cubicBezTo>
                  <a:close/>
                  <a:moveTo>
                    <a:pt x="1178353" y="879636"/>
                  </a:moveTo>
                  <a:cubicBezTo>
                    <a:pt x="1213404" y="879636"/>
                    <a:pt x="1241817" y="908050"/>
                    <a:pt x="1241817" y="943101"/>
                  </a:cubicBezTo>
                  <a:cubicBezTo>
                    <a:pt x="1241817" y="978153"/>
                    <a:pt x="1213404" y="1006567"/>
                    <a:pt x="1178353" y="1006567"/>
                  </a:cubicBezTo>
                  <a:cubicBezTo>
                    <a:pt x="1143302" y="1006567"/>
                    <a:pt x="1114888" y="978153"/>
                    <a:pt x="1114888" y="943101"/>
                  </a:cubicBezTo>
                  <a:cubicBezTo>
                    <a:pt x="1114888" y="908050"/>
                    <a:pt x="1143302" y="879636"/>
                    <a:pt x="1178353" y="879636"/>
                  </a:cubicBezTo>
                  <a:close/>
                  <a:moveTo>
                    <a:pt x="666483" y="879636"/>
                  </a:moveTo>
                  <a:cubicBezTo>
                    <a:pt x="701534" y="879636"/>
                    <a:pt x="729947" y="908050"/>
                    <a:pt x="729947" y="943101"/>
                  </a:cubicBezTo>
                  <a:cubicBezTo>
                    <a:pt x="729947" y="978153"/>
                    <a:pt x="701534" y="1006567"/>
                    <a:pt x="666483" y="1006567"/>
                  </a:cubicBezTo>
                  <a:cubicBezTo>
                    <a:pt x="631432" y="1006567"/>
                    <a:pt x="603018" y="978153"/>
                    <a:pt x="603018" y="943101"/>
                  </a:cubicBezTo>
                  <a:cubicBezTo>
                    <a:pt x="603018" y="908050"/>
                    <a:pt x="631432" y="879636"/>
                    <a:pt x="666483" y="879636"/>
                  </a:cubicBezTo>
                  <a:close/>
                  <a:moveTo>
                    <a:pt x="154424" y="879636"/>
                  </a:moveTo>
                  <a:cubicBezTo>
                    <a:pt x="189475" y="879636"/>
                    <a:pt x="217889" y="908050"/>
                    <a:pt x="217889" y="943101"/>
                  </a:cubicBezTo>
                  <a:cubicBezTo>
                    <a:pt x="217889" y="978153"/>
                    <a:pt x="189475" y="1006567"/>
                    <a:pt x="154424" y="1006567"/>
                  </a:cubicBezTo>
                  <a:cubicBezTo>
                    <a:pt x="119373" y="1006567"/>
                    <a:pt x="90960" y="978153"/>
                    <a:pt x="90960" y="943101"/>
                  </a:cubicBezTo>
                  <a:cubicBezTo>
                    <a:pt x="90960" y="908050"/>
                    <a:pt x="119373" y="879636"/>
                    <a:pt x="154424" y="879636"/>
                  </a:cubicBezTo>
                  <a:close/>
                  <a:moveTo>
                    <a:pt x="9370014" y="879635"/>
                  </a:moveTo>
                  <a:cubicBezTo>
                    <a:pt x="9405147" y="879635"/>
                    <a:pt x="9433479" y="907968"/>
                    <a:pt x="9433479" y="943100"/>
                  </a:cubicBezTo>
                  <a:cubicBezTo>
                    <a:pt x="9433479" y="978044"/>
                    <a:pt x="9405147" y="1006566"/>
                    <a:pt x="9370014" y="1006566"/>
                  </a:cubicBezTo>
                  <a:cubicBezTo>
                    <a:pt x="9334882" y="1006566"/>
                    <a:pt x="9306549" y="978234"/>
                    <a:pt x="9306549" y="943100"/>
                  </a:cubicBezTo>
                  <a:cubicBezTo>
                    <a:pt x="9306549" y="907968"/>
                    <a:pt x="9334882" y="879635"/>
                    <a:pt x="9370014" y="879635"/>
                  </a:cubicBezTo>
                  <a:close/>
                  <a:moveTo>
                    <a:pt x="8857948" y="879635"/>
                  </a:moveTo>
                  <a:cubicBezTo>
                    <a:pt x="8893080" y="879635"/>
                    <a:pt x="8921412" y="907968"/>
                    <a:pt x="8921412" y="943100"/>
                  </a:cubicBezTo>
                  <a:cubicBezTo>
                    <a:pt x="8921412" y="978044"/>
                    <a:pt x="8893080" y="1006566"/>
                    <a:pt x="8857948" y="1006566"/>
                  </a:cubicBezTo>
                  <a:cubicBezTo>
                    <a:pt x="8822815" y="1006566"/>
                    <a:pt x="8794482" y="978234"/>
                    <a:pt x="8794482" y="943100"/>
                  </a:cubicBezTo>
                  <a:cubicBezTo>
                    <a:pt x="8794482" y="907968"/>
                    <a:pt x="8822815" y="879635"/>
                    <a:pt x="8857948" y="879635"/>
                  </a:cubicBezTo>
                  <a:close/>
                  <a:moveTo>
                    <a:pt x="8346071" y="879635"/>
                  </a:moveTo>
                  <a:cubicBezTo>
                    <a:pt x="8381203" y="879635"/>
                    <a:pt x="8409535" y="907968"/>
                    <a:pt x="8409535" y="943100"/>
                  </a:cubicBezTo>
                  <a:cubicBezTo>
                    <a:pt x="8409535" y="978044"/>
                    <a:pt x="8381203" y="1006566"/>
                    <a:pt x="8346071" y="1006566"/>
                  </a:cubicBezTo>
                  <a:cubicBezTo>
                    <a:pt x="8310938" y="1006566"/>
                    <a:pt x="8282605" y="978234"/>
                    <a:pt x="8282605" y="943100"/>
                  </a:cubicBezTo>
                  <a:cubicBezTo>
                    <a:pt x="8282605" y="907968"/>
                    <a:pt x="8310938" y="879635"/>
                    <a:pt x="8346071" y="879635"/>
                  </a:cubicBezTo>
                  <a:close/>
                  <a:moveTo>
                    <a:pt x="7834005" y="879635"/>
                  </a:moveTo>
                  <a:cubicBezTo>
                    <a:pt x="7869138" y="879635"/>
                    <a:pt x="7897470" y="907968"/>
                    <a:pt x="7897470" y="943100"/>
                  </a:cubicBezTo>
                  <a:cubicBezTo>
                    <a:pt x="7897470" y="978044"/>
                    <a:pt x="7869138" y="1006566"/>
                    <a:pt x="7834005" y="1006566"/>
                  </a:cubicBezTo>
                  <a:cubicBezTo>
                    <a:pt x="7798873" y="1006566"/>
                    <a:pt x="7770540" y="978234"/>
                    <a:pt x="7770540" y="943100"/>
                  </a:cubicBezTo>
                  <a:cubicBezTo>
                    <a:pt x="7770540" y="907968"/>
                    <a:pt x="7798873" y="879635"/>
                    <a:pt x="7834005" y="879635"/>
                  </a:cubicBezTo>
                  <a:close/>
                  <a:moveTo>
                    <a:pt x="7322128" y="879635"/>
                  </a:moveTo>
                  <a:cubicBezTo>
                    <a:pt x="7357260" y="879635"/>
                    <a:pt x="7385592" y="907968"/>
                    <a:pt x="7385592" y="943100"/>
                  </a:cubicBezTo>
                  <a:cubicBezTo>
                    <a:pt x="7385592" y="978044"/>
                    <a:pt x="7357260" y="1006566"/>
                    <a:pt x="7322128" y="1006566"/>
                  </a:cubicBezTo>
                  <a:cubicBezTo>
                    <a:pt x="7286995" y="1006566"/>
                    <a:pt x="7258662" y="978234"/>
                    <a:pt x="7258662" y="943100"/>
                  </a:cubicBezTo>
                  <a:cubicBezTo>
                    <a:pt x="7258662" y="907968"/>
                    <a:pt x="7286995" y="879635"/>
                    <a:pt x="7322128" y="879635"/>
                  </a:cubicBezTo>
                  <a:close/>
                  <a:moveTo>
                    <a:pt x="6810062" y="879635"/>
                  </a:moveTo>
                  <a:cubicBezTo>
                    <a:pt x="6845195" y="879635"/>
                    <a:pt x="6873527" y="907968"/>
                    <a:pt x="6873527" y="943100"/>
                  </a:cubicBezTo>
                  <a:cubicBezTo>
                    <a:pt x="6873527" y="978044"/>
                    <a:pt x="6845195" y="1006566"/>
                    <a:pt x="6810062" y="1006566"/>
                  </a:cubicBezTo>
                  <a:cubicBezTo>
                    <a:pt x="6774930" y="1006566"/>
                    <a:pt x="6746597" y="978234"/>
                    <a:pt x="6746597" y="943100"/>
                  </a:cubicBezTo>
                  <a:cubicBezTo>
                    <a:pt x="6746597" y="907968"/>
                    <a:pt x="6774930" y="879635"/>
                    <a:pt x="6810062" y="879635"/>
                  </a:cubicBezTo>
                  <a:close/>
                  <a:moveTo>
                    <a:pt x="6298186" y="879635"/>
                  </a:moveTo>
                  <a:cubicBezTo>
                    <a:pt x="6333318" y="879635"/>
                    <a:pt x="6361650" y="907968"/>
                    <a:pt x="6361650" y="943100"/>
                  </a:cubicBezTo>
                  <a:cubicBezTo>
                    <a:pt x="6361650" y="978044"/>
                    <a:pt x="6333318" y="1006566"/>
                    <a:pt x="6298186" y="1006566"/>
                  </a:cubicBezTo>
                  <a:cubicBezTo>
                    <a:pt x="6263054" y="1006566"/>
                    <a:pt x="6234720" y="978234"/>
                    <a:pt x="6234720" y="943100"/>
                  </a:cubicBezTo>
                  <a:cubicBezTo>
                    <a:pt x="6234720" y="907968"/>
                    <a:pt x="6263054" y="879635"/>
                    <a:pt x="6298186" y="879635"/>
                  </a:cubicBezTo>
                  <a:close/>
                  <a:moveTo>
                    <a:pt x="5786126" y="879635"/>
                  </a:moveTo>
                  <a:cubicBezTo>
                    <a:pt x="5821257" y="879635"/>
                    <a:pt x="5849588" y="907968"/>
                    <a:pt x="5849588" y="943100"/>
                  </a:cubicBezTo>
                  <a:cubicBezTo>
                    <a:pt x="5849588" y="978044"/>
                    <a:pt x="5821257" y="1006566"/>
                    <a:pt x="5786126" y="1006566"/>
                  </a:cubicBezTo>
                  <a:cubicBezTo>
                    <a:pt x="5750994" y="1006566"/>
                    <a:pt x="5722663" y="978234"/>
                    <a:pt x="5722663" y="943100"/>
                  </a:cubicBezTo>
                  <a:cubicBezTo>
                    <a:pt x="5722663" y="907968"/>
                    <a:pt x="5750994" y="879635"/>
                    <a:pt x="5786126" y="879635"/>
                  </a:cubicBezTo>
                  <a:close/>
                  <a:moveTo>
                    <a:pt x="11417900" y="439913"/>
                  </a:moveTo>
                  <a:cubicBezTo>
                    <a:pt x="11445022" y="439913"/>
                    <a:pt x="11467010" y="461900"/>
                    <a:pt x="11467010" y="489022"/>
                  </a:cubicBezTo>
                  <a:cubicBezTo>
                    <a:pt x="11467010" y="516146"/>
                    <a:pt x="11445022" y="538132"/>
                    <a:pt x="11417900" y="538132"/>
                  </a:cubicBezTo>
                  <a:cubicBezTo>
                    <a:pt x="11390778" y="538132"/>
                    <a:pt x="11368791" y="516146"/>
                    <a:pt x="11368791" y="489022"/>
                  </a:cubicBezTo>
                  <a:cubicBezTo>
                    <a:pt x="11368791" y="461900"/>
                    <a:pt x="11390778" y="439913"/>
                    <a:pt x="11417900" y="439913"/>
                  </a:cubicBezTo>
                  <a:close/>
                  <a:moveTo>
                    <a:pt x="10906024" y="439913"/>
                  </a:moveTo>
                  <a:cubicBezTo>
                    <a:pt x="10933146" y="439913"/>
                    <a:pt x="10955133" y="461900"/>
                    <a:pt x="10955133" y="489022"/>
                  </a:cubicBezTo>
                  <a:cubicBezTo>
                    <a:pt x="10955133" y="516146"/>
                    <a:pt x="10933146" y="538132"/>
                    <a:pt x="10906024" y="538132"/>
                  </a:cubicBezTo>
                  <a:cubicBezTo>
                    <a:pt x="10878901" y="538132"/>
                    <a:pt x="10856914" y="516146"/>
                    <a:pt x="10856914" y="489022"/>
                  </a:cubicBezTo>
                  <a:cubicBezTo>
                    <a:pt x="10856914" y="461900"/>
                    <a:pt x="10878901" y="439913"/>
                    <a:pt x="10906024" y="439913"/>
                  </a:cubicBezTo>
                  <a:close/>
                  <a:moveTo>
                    <a:pt x="10393958" y="439913"/>
                  </a:moveTo>
                  <a:cubicBezTo>
                    <a:pt x="10421080" y="439913"/>
                    <a:pt x="10443067" y="461900"/>
                    <a:pt x="10443067" y="489022"/>
                  </a:cubicBezTo>
                  <a:cubicBezTo>
                    <a:pt x="10443067" y="516146"/>
                    <a:pt x="10421080" y="538132"/>
                    <a:pt x="10393958" y="538132"/>
                  </a:cubicBezTo>
                  <a:cubicBezTo>
                    <a:pt x="10366836" y="538132"/>
                    <a:pt x="10344848" y="516146"/>
                    <a:pt x="10344848" y="489022"/>
                  </a:cubicBezTo>
                  <a:cubicBezTo>
                    <a:pt x="10344848" y="461900"/>
                    <a:pt x="10366836" y="439913"/>
                    <a:pt x="10393958" y="439913"/>
                  </a:cubicBezTo>
                  <a:close/>
                  <a:moveTo>
                    <a:pt x="9882080" y="439913"/>
                  </a:moveTo>
                  <a:cubicBezTo>
                    <a:pt x="9909202" y="439913"/>
                    <a:pt x="9931190" y="461900"/>
                    <a:pt x="9931190" y="489022"/>
                  </a:cubicBezTo>
                  <a:cubicBezTo>
                    <a:pt x="9931190" y="516146"/>
                    <a:pt x="9909202" y="538132"/>
                    <a:pt x="9882080" y="538132"/>
                  </a:cubicBezTo>
                  <a:cubicBezTo>
                    <a:pt x="9854958" y="538132"/>
                    <a:pt x="9832971" y="516146"/>
                    <a:pt x="9832971" y="489022"/>
                  </a:cubicBezTo>
                  <a:cubicBezTo>
                    <a:pt x="9832971" y="461900"/>
                    <a:pt x="9854958" y="439913"/>
                    <a:pt x="9882080" y="439913"/>
                  </a:cubicBezTo>
                  <a:close/>
                  <a:moveTo>
                    <a:pt x="9370013" y="439913"/>
                  </a:moveTo>
                  <a:cubicBezTo>
                    <a:pt x="9397023" y="439913"/>
                    <a:pt x="9419123" y="462011"/>
                    <a:pt x="9419123" y="489022"/>
                  </a:cubicBezTo>
                  <a:cubicBezTo>
                    <a:pt x="9419123" y="516221"/>
                    <a:pt x="9397023" y="538132"/>
                    <a:pt x="9370013" y="538132"/>
                  </a:cubicBezTo>
                  <a:cubicBezTo>
                    <a:pt x="9343003" y="538132"/>
                    <a:pt x="9320903" y="516032"/>
                    <a:pt x="9320903" y="489022"/>
                  </a:cubicBezTo>
                  <a:cubicBezTo>
                    <a:pt x="9320903" y="462011"/>
                    <a:pt x="9343003" y="439913"/>
                    <a:pt x="9370013" y="439913"/>
                  </a:cubicBezTo>
                  <a:close/>
                  <a:moveTo>
                    <a:pt x="8858137" y="439913"/>
                  </a:moveTo>
                  <a:cubicBezTo>
                    <a:pt x="8885147" y="439913"/>
                    <a:pt x="8907247" y="462011"/>
                    <a:pt x="8907247" y="489022"/>
                  </a:cubicBezTo>
                  <a:cubicBezTo>
                    <a:pt x="8907247" y="516221"/>
                    <a:pt x="8885147" y="538132"/>
                    <a:pt x="8858137" y="538132"/>
                  </a:cubicBezTo>
                  <a:cubicBezTo>
                    <a:pt x="8831126" y="538132"/>
                    <a:pt x="8809027" y="516032"/>
                    <a:pt x="8809027" y="489022"/>
                  </a:cubicBezTo>
                  <a:cubicBezTo>
                    <a:pt x="8809027" y="462011"/>
                    <a:pt x="8831126" y="439913"/>
                    <a:pt x="8858137" y="439913"/>
                  </a:cubicBezTo>
                  <a:close/>
                  <a:moveTo>
                    <a:pt x="8346071" y="439913"/>
                  </a:moveTo>
                  <a:cubicBezTo>
                    <a:pt x="8373081" y="439913"/>
                    <a:pt x="8395181" y="462011"/>
                    <a:pt x="8395181" y="489022"/>
                  </a:cubicBezTo>
                  <a:cubicBezTo>
                    <a:pt x="8395181" y="516221"/>
                    <a:pt x="8373081" y="538132"/>
                    <a:pt x="8346071" y="538132"/>
                  </a:cubicBezTo>
                  <a:cubicBezTo>
                    <a:pt x="8319061" y="538132"/>
                    <a:pt x="8296961" y="516032"/>
                    <a:pt x="8296961" y="489022"/>
                  </a:cubicBezTo>
                  <a:cubicBezTo>
                    <a:pt x="8296961" y="462011"/>
                    <a:pt x="8319061" y="439913"/>
                    <a:pt x="8346071" y="439913"/>
                  </a:cubicBezTo>
                  <a:close/>
                  <a:moveTo>
                    <a:pt x="7834193" y="439913"/>
                  </a:moveTo>
                  <a:cubicBezTo>
                    <a:pt x="7861203" y="439913"/>
                    <a:pt x="7883303" y="462011"/>
                    <a:pt x="7883303" y="489022"/>
                  </a:cubicBezTo>
                  <a:cubicBezTo>
                    <a:pt x="7883303" y="516221"/>
                    <a:pt x="7861203" y="538132"/>
                    <a:pt x="7834193" y="538132"/>
                  </a:cubicBezTo>
                  <a:cubicBezTo>
                    <a:pt x="7807183" y="538132"/>
                    <a:pt x="7785083" y="516032"/>
                    <a:pt x="7785083" y="489022"/>
                  </a:cubicBezTo>
                  <a:cubicBezTo>
                    <a:pt x="7785083" y="462011"/>
                    <a:pt x="7807183" y="439913"/>
                    <a:pt x="7834193" y="439913"/>
                  </a:cubicBezTo>
                  <a:close/>
                  <a:moveTo>
                    <a:pt x="7322128" y="439913"/>
                  </a:moveTo>
                  <a:cubicBezTo>
                    <a:pt x="7349138" y="439913"/>
                    <a:pt x="7371238" y="462011"/>
                    <a:pt x="7371238" y="489022"/>
                  </a:cubicBezTo>
                  <a:cubicBezTo>
                    <a:pt x="7371238" y="516221"/>
                    <a:pt x="7349138" y="538132"/>
                    <a:pt x="7322128" y="538132"/>
                  </a:cubicBezTo>
                  <a:cubicBezTo>
                    <a:pt x="7295117" y="538132"/>
                    <a:pt x="7273018" y="516032"/>
                    <a:pt x="7273018" y="489022"/>
                  </a:cubicBezTo>
                  <a:cubicBezTo>
                    <a:pt x="7273018" y="462011"/>
                    <a:pt x="7295117" y="439913"/>
                    <a:pt x="7322128" y="439913"/>
                  </a:cubicBezTo>
                  <a:close/>
                  <a:moveTo>
                    <a:pt x="6810251" y="439913"/>
                  </a:moveTo>
                  <a:cubicBezTo>
                    <a:pt x="6837261" y="439913"/>
                    <a:pt x="6859361" y="462011"/>
                    <a:pt x="6859361" y="489022"/>
                  </a:cubicBezTo>
                  <a:cubicBezTo>
                    <a:pt x="6859361" y="516221"/>
                    <a:pt x="6837261" y="538132"/>
                    <a:pt x="6810251" y="538132"/>
                  </a:cubicBezTo>
                  <a:cubicBezTo>
                    <a:pt x="6783241" y="538132"/>
                    <a:pt x="6761141" y="516032"/>
                    <a:pt x="6761141" y="489022"/>
                  </a:cubicBezTo>
                  <a:cubicBezTo>
                    <a:pt x="6761141" y="462011"/>
                    <a:pt x="6783241" y="439913"/>
                    <a:pt x="6810251" y="439913"/>
                  </a:cubicBezTo>
                  <a:close/>
                  <a:moveTo>
                    <a:pt x="6298184" y="439913"/>
                  </a:moveTo>
                  <a:cubicBezTo>
                    <a:pt x="6325195" y="439913"/>
                    <a:pt x="6347295" y="462011"/>
                    <a:pt x="6347295" y="489022"/>
                  </a:cubicBezTo>
                  <a:cubicBezTo>
                    <a:pt x="6347295" y="516221"/>
                    <a:pt x="6325195" y="538132"/>
                    <a:pt x="6298184" y="538132"/>
                  </a:cubicBezTo>
                  <a:cubicBezTo>
                    <a:pt x="6271175" y="538132"/>
                    <a:pt x="6249074" y="516032"/>
                    <a:pt x="6249074" y="489022"/>
                  </a:cubicBezTo>
                  <a:cubicBezTo>
                    <a:pt x="6249074" y="462011"/>
                    <a:pt x="6271175" y="439913"/>
                    <a:pt x="6298184" y="439913"/>
                  </a:cubicBezTo>
                  <a:close/>
                  <a:moveTo>
                    <a:pt x="5786315" y="439913"/>
                  </a:moveTo>
                  <a:cubicBezTo>
                    <a:pt x="5813325" y="439913"/>
                    <a:pt x="5835423" y="462011"/>
                    <a:pt x="5835423" y="489022"/>
                  </a:cubicBezTo>
                  <a:cubicBezTo>
                    <a:pt x="5835423" y="516221"/>
                    <a:pt x="5813325" y="538132"/>
                    <a:pt x="5786315" y="538132"/>
                  </a:cubicBezTo>
                  <a:cubicBezTo>
                    <a:pt x="5759305" y="538132"/>
                    <a:pt x="5737207" y="516032"/>
                    <a:pt x="5737207" y="489022"/>
                  </a:cubicBezTo>
                  <a:cubicBezTo>
                    <a:pt x="5737207" y="462011"/>
                    <a:pt x="5759305" y="439913"/>
                    <a:pt x="5786315" y="439913"/>
                  </a:cubicBezTo>
                  <a:close/>
                  <a:moveTo>
                    <a:pt x="5274270" y="439913"/>
                  </a:moveTo>
                  <a:cubicBezTo>
                    <a:pt x="5301393" y="439913"/>
                    <a:pt x="5323380" y="461900"/>
                    <a:pt x="5323380" y="489022"/>
                  </a:cubicBezTo>
                  <a:cubicBezTo>
                    <a:pt x="5323380" y="516146"/>
                    <a:pt x="5301393" y="538132"/>
                    <a:pt x="5274270" y="538132"/>
                  </a:cubicBezTo>
                  <a:cubicBezTo>
                    <a:pt x="5247148" y="538132"/>
                    <a:pt x="5225158" y="516146"/>
                    <a:pt x="5225158" y="489022"/>
                  </a:cubicBezTo>
                  <a:cubicBezTo>
                    <a:pt x="5225158" y="461900"/>
                    <a:pt x="5247148" y="439913"/>
                    <a:pt x="5274270" y="439913"/>
                  </a:cubicBezTo>
                  <a:close/>
                  <a:moveTo>
                    <a:pt x="4762180" y="439913"/>
                  </a:moveTo>
                  <a:cubicBezTo>
                    <a:pt x="4789311" y="439913"/>
                    <a:pt x="4811308" y="461900"/>
                    <a:pt x="4811308" y="489022"/>
                  </a:cubicBezTo>
                  <a:cubicBezTo>
                    <a:pt x="4811308" y="516146"/>
                    <a:pt x="4789311" y="538132"/>
                    <a:pt x="4762180" y="538132"/>
                  </a:cubicBezTo>
                  <a:cubicBezTo>
                    <a:pt x="4735061" y="538132"/>
                    <a:pt x="4713081" y="516146"/>
                    <a:pt x="4713081" y="489022"/>
                  </a:cubicBezTo>
                  <a:cubicBezTo>
                    <a:pt x="4713081" y="461900"/>
                    <a:pt x="4735061" y="439913"/>
                    <a:pt x="4762180" y="439913"/>
                  </a:cubicBezTo>
                  <a:close/>
                  <a:moveTo>
                    <a:pt x="4250316" y="439913"/>
                  </a:moveTo>
                  <a:cubicBezTo>
                    <a:pt x="4277442" y="439913"/>
                    <a:pt x="4299428" y="461900"/>
                    <a:pt x="4299428" y="489022"/>
                  </a:cubicBezTo>
                  <a:cubicBezTo>
                    <a:pt x="4299428" y="516146"/>
                    <a:pt x="4277442" y="538132"/>
                    <a:pt x="4250316" y="538132"/>
                  </a:cubicBezTo>
                  <a:cubicBezTo>
                    <a:pt x="4223194" y="538132"/>
                    <a:pt x="4201204" y="516146"/>
                    <a:pt x="4201204" y="489022"/>
                  </a:cubicBezTo>
                  <a:cubicBezTo>
                    <a:pt x="4201204" y="461900"/>
                    <a:pt x="4223194" y="439913"/>
                    <a:pt x="4250316" y="439913"/>
                  </a:cubicBezTo>
                  <a:close/>
                  <a:moveTo>
                    <a:pt x="3738287" y="439913"/>
                  </a:moveTo>
                  <a:cubicBezTo>
                    <a:pt x="3765415" y="439913"/>
                    <a:pt x="3787395" y="461900"/>
                    <a:pt x="3787395" y="489022"/>
                  </a:cubicBezTo>
                  <a:cubicBezTo>
                    <a:pt x="3787395" y="516146"/>
                    <a:pt x="3765415" y="538132"/>
                    <a:pt x="3738287" y="538132"/>
                  </a:cubicBezTo>
                  <a:cubicBezTo>
                    <a:pt x="3711162" y="538132"/>
                    <a:pt x="3689172" y="516146"/>
                    <a:pt x="3689172" y="489022"/>
                  </a:cubicBezTo>
                  <a:cubicBezTo>
                    <a:pt x="3689172" y="461900"/>
                    <a:pt x="3711162" y="439913"/>
                    <a:pt x="3738287" y="439913"/>
                  </a:cubicBezTo>
                  <a:close/>
                  <a:moveTo>
                    <a:pt x="3226241" y="439913"/>
                  </a:moveTo>
                  <a:cubicBezTo>
                    <a:pt x="3253367" y="439913"/>
                    <a:pt x="3275356" y="461900"/>
                    <a:pt x="3275356" y="489022"/>
                  </a:cubicBezTo>
                  <a:cubicBezTo>
                    <a:pt x="3275356" y="516146"/>
                    <a:pt x="3253367" y="538132"/>
                    <a:pt x="3226241" y="538132"/>
                  </a:cubicBezTo>
                  <a:cubicBezTo>
                    <a:pt x="3199115" y="538132"/>
                    <a:pt x="3177127" y="516146"/>
                    <a:pt x="3177127" y="489022"/>
                  </a:cubicBezTo>
                  <a:cubicBezTo>
                    <a:pt x="3177127" y="461900"/>
                    <a:pt x="3199115" y="439913"/>
                    <a:pt x="3226241" y="439913"/>
                  </a:cubicBezTo>
                  <a:close/>
                  <a:moveTo>
                    <a:pt x="2714361" y="439913"/>
                  </a:moveTo>
                  <a:cubicBezTo>
                    <a:pt x="2741485" y="439913"/>
                    <a:pt x="2763472" y="461900"/>
                    <a:pt x="2763472" y="489022"/>
                  </a:cubicBezTo>
                  <a:cubicBezTo>
                    <a:pt x="2763472" y="516146"/>
                    <a:pt x="2741485" y="538132"/>
                    <a:pt x="2714361" y="538132"/>
                  </a:cubicBezTo>
                  <a:cubicBezTo>
                    <a:pt x="2687239" y="538132"/>
                    <a:pt x="2665250" y="516146"/>
                    <a:pt x="2665250" y="489022"/>
                  </a:cubicBezTo>
                  <a:cubicBezTo>
                    <a:pt x="2665250" y="461900"/>
                    <a:pt x="2687239" y="439913"/>
                    <a:pt x="2714361" y="439913"/>
                  </a:cubicBezTo>
                  <a:close/>
                  <a:moveTo>
                    <a:pt x="2202305" y="439913"/>
                  </a:moveTo>
                  <a:cubicBezTo>
                    <a:pt x="2229428" y="439913"/>
                    <a:pt x="2251415" y="461900"/>
                    <a:pt x="2251415" y="489022"/>
                  </a:cubicBezTo>
                  <a:cubicBezTo>
                    <a:pt x="2251415" y="516146"/>
                    <a:pt x="2229428" y="538132"/>
                    <a:pt x="2202305" y="538132"/>
                  </a:cubicBezTo>
                  <a:cubicBezTo>
                    <a:pt x="2175182" y="538132"/>
                    <a:pt x="2153195" y="516146"/>
                    <a:pt x="2153195" y="489022"/>
                  </a:cubicBezTo>
                  <a:cubicBezTo>
                    <a:pt x="2153195" y="461900"/>
                    <a:pt x="2175182" y="439913"/>
                    <a:pt x="2202305" y="439913"/>
                  </a:cubicBezTo>
                  <a:close/>
                  <a:moveTo>
                    <a:pt x="1690412" y="439913"/>
                  </a:moveTo>
                  <a:cubicBezTo>
                    <a:pt x="1717535" y="439913"/>
                    <a:pt x="1739522" y="461900"/>
                    <a:pt x="1739522" y="489022"/>
                  </a:cubicBezTo>
                  <a:cubicBezTo>
                    <a:pt x="1739522" y="516146"/>
                    <a:pt x="1717535" y="538132"/>
                    <a:pt x="1690412" y="538132"/>
                  </a:cubicBezTo>
                  <a:cubicBezTo>
                    <a:pt x="1663289" y="538132"/>
                    <a:pt x="1641302" y="516146"/>
                    <a:pt x="1641302" y="489022"/>
                  </a:cubicBezTo>
                  <a:cubicBezTo>
                    <a:pt x="1641302" y="461900"/>
                    <a:pt x="1663289" y="439913"/>
                    <a:pt x="1690412" y="439913"/>
                  </a:cubicBezTo>
                  <a:close/>
                  <a:moveTo>
                    <a:pt x="1178353" y="439913"/>
                  </a:moveTo>
                  <a:cubicBezTo>
                    <a:pt x="1205476" y="439913"/>
                    <a:pt x="1227462" y="461900"/>
                    <a:pt x="1227462" y="489022"/>
                  </a:cubicBezTo>
                  <a:cubicBezTo>
                    <a:pt x="1227462" y="516146"/>
                    <a:pt x="1205476" y="538132"/>
                    <a:pt x="1178353" y="538132"/>
                  </a:cubicBezTo>
                  <a:cubicBezTo>
                    <a:pt x="1151230" y="538132"/>
                    <a:pt x="1129243" y="516146"/>
                    <a:pt x="1129243" y="489022"/>
                  </a:cubicBezTo>
                  <a:cubicBezTo>
                    <a:pt x="1129243" y="461900"/>
                    <a:pt x="1151230" y="439913"/>
                    <a:pt x="1178353" y="439913"/>
                  </a:cubicBezTo>
                  <a:close/>
                  <a:moveTo>
                    <a:pt x="666483" y="439913"/>
                  </a:moveTo>
                  <a:cubicBezTo>
                    <a:pt x="693606" y="439913"/>
                    <a:pt x="715592" y="461900"/>
                    <a:pt x="715592" y="489022"/>
                  </a:cubicBezTo>
                  <a:cubicBezTo>
                    <a:pt x="715592" y="516146"/>
                    <a:pt x="693606" y="538132"/>
                    <a:pt x="666483" y="538132"/>
                  </a:cubicBezTo>
                  <a:cubicBezTo>
                    <a:pt x="639360" y="538132"/>
                    <a:pt x="617373" y="516146"/>
                    <a:pt x="617373" y="489022"/>
                  </a:cubicBezTo>
                  <a:cubicBezTo>
                    <a:pt x="617373" y="461900"/>
                    <a:pt x="639360" y="439913"/>
                    <a:pt x="666483" y="439913"/>
                  </a:cubicBezTo>
                  <a:close/>
                  <a:moveTo>
                    <a:pt x="154424" y="439913"/>
                  </a:moveTo>
                  <a:cubicBezTo>
                    <a:pt x="181547" y="439913"/>
                    <a:pt x="203534" y="461900"/>
                    <a:pt x="203534" y="489022"/>
                  </a:cubicBezTo>
                  <a:cubicBezTo>
                    <a:pt x="203534" y="516146"/>
                    <a:pt x="181547" y="538132"/>
                    <a:pt x="154424" y="538132"/>
                  </a:cubicBezTo>
                  <a:cubicBezTo>
                    <a:pt x="127301" y="538132"/>
                    <a:pt x="105315" y="516146"/>
                    <a:pt x="105315" y="489022"/>
                  </a:cubicBezTo>
                  <a:cubicBezTo>
                    <a:pt x="105315" y="461900"/>
                    <a:pt x="127301" y="439913"/>
                    <a:pt x="154424" y="439913"/>
                  </a:cubicBezTo>
                  <a:close/>
                  <a:moveTo>
                    <a:pt x="11929966" y="439912"/>
                  </a:moveTo>
                  <a:cubicBezTo>
                    <a:pt x="11957088" y="439912"/>
                    <a:pt x="11979075" y="461899"/>
                    <a:pt x="11979075" y="489022"/>
                  </a:cubicBezTo>
                  <a:cubicBezTo>
                    <a:pt x="11979075" y="516145"/>
                    <a:pt x="11957088" y="538132"/>
                    <a:pt x="11929966" y="538132"/>
                  </a:cubicBezTo>
                  <a:cubicBezTo>
                    <a:pt x="11902844" y="538132"/>
                    <a:pt x="11880856" y="516145"/>
                    <a:pt x="11880856" y="489022"/>
                  </a:cubicBezTo>
                  <a:cubicBezTo>
                    <a:pt x="11880856" y="461899"/>
                    <a:pt x="11902844" y="439912"/>
                    <a:pt x="11929966" y="439912"/>
                  </a:cubicBezTo>
                  <a:close/>
                  <a:moveTo>
                    <a:pt x="11929965" y="0"/>
                  </a:moveTo>
                  <a:cubicBezTo>
                    <a:pt x="11949232" y="0"/>
                    <a:pt x="11964908" y="15677"/>
                    <a:pt x="11964908" y="34944"/>
                  </a:cubicBezTo>
                  <a:cubicBezTo>
                    <a:pt x="11964908" y="54210"/>
                    <a:pt x="11949232" y="69887"/>
                    <a:pt x="11929965" y="69887"/>
                  </a:cubicBezTo>
                  <a:cubicBezTo>
                    <a:pt x="11910699" y="69887"/>
                    <a:pt x="11895022" y="54210"/>
                    <a:pt x="11895022" y="34944"/>
                  </a:cubicBezTo>
                  <a:cubicBezTo>
                    <a:pt x="11895022" y="15677"/>
                    <a:pt x="11910699" y="0"/>
                    <a:pt x="11929965" y="0"/>
                  </a:cubicBezTo>
                  <a:close/>
                  <a:moveTo>
                    <a:pt x="11417900" y="0"/>
                  </a:moveTo>
                  <a:cubicBezTo>
                    <a:pt x="11437199" y="0"/>
                    <a:pt x="11452843" y="15646"/>
                    <a:pt x="11452843" y="34944"/>
                  </a:cubicBezTo>
                  <a:cubicBezTo>
                    <a:pt x="11452843" y="54243"/>
                    <a:pt x="11437199" y="69887"/>
                    <a:pt x="11417900" y="69887"/>
                  </a:cubicBezTo>
                  <a:cubicBezTo>
                    <a:pt x="11398601" y="69887"/>
                    <a:pt x="11382957" y="54243"/>
                    <a:pt x="11382957" y="34944"/>
                  </a:cubicBezTo>
                  <a:cubicBezTo>
                    <a:pt x="11382957" y="15646"/>
                    <a:pt x="11398601" y="0"/>
                    <a:pt x="11417900" y="0"/>
                  </a:cubicBezTo>
                  <a:close/>
                  <a:moveTo>
                    <a:pt x="10906023" y="0"/>
                  </a:moveTo>
                  <a:cubicBezTo>
                    <a:pt x="10925322" y="0"/>
                    <a:pt x="10940966" y="15646"/>
                    <a:pt x="10940966" y="34944"/>
                  </a:cubicBezTo>
                  <a:cubicBezTo>
                    <a:pt x="10940966" y="54243"/>
                    <a:pt x="10925322" y="69887"/>
                    <a:pt x="10906023" y="69887"/>
                  </a:cubicBezTo>
                  <a:cubicBezTo>
                    <a:pt x="10886724" y="69887"/>
                    <a:pt x="10871080" y="54243"/>
                    <a:pt x="10871080" y="34944"/>
                  </a:cubicBezTo>
                  <a:cubicBezTo>
                    <a:pt x="10871080" y="15646"/>
                    <a:pt x="10886724" y="0"/>
                    <a:pt x="10906023" y="0"/>
                  </a:cubicBezTo>
                  <a:close/>
                  <a:moveTo>
                    <a:pt x="10393958" y="0"/>
                  </a:moveTo>
                  <a:cubicBezTo>
                    <a:pt x="10413256" y="0"/>
                    <a:pt x="10428901" y="15646"/>
                    <a:pt x="10428901" y="34944"/>
                  </a:cubicBezTo>
                  <a:cubicBezTo>
                    <a:pt x="10428901" y="54243"/>
                    <a:pt x="10413256" y="69887"/>
                    <a:pt x="10393958" y="69887"/>
                  </a:cubicBezTo>
                  <a:cubicBezTo>
                    <a:pt x="10374659" y="69887"/>
                    <a:pt x="10359014" y="54243"/>
                    <a:pt x="10359014" y="34944"/>
                  </a:cubicBezTo>
                  <a:cubicBezTo>
                    <a:pt x="10359014" y="15646"/>
                    <a:pt x="10374659" y="0"/>
                    <a:pt x="10393958" y="0"/>
                  </a:cubicBezTo>
                  <a:close/>
                  <a:moveTo>
                    <a:pt x="9882080" y="0"/>
                  </a:moveTo>
                  <a:cubicBezTo>
                    <a:pt x="9901379" y="0"/>
                    <a:pt x="9917023" y="15646"/>
                    <a:pt x="9917023" y="34944"/>
                  </a:cubicBezTo>
                  <a:cubicBezTo>
                    <a:pt x="9917023" y="54243"/>
                    <a:pt x="9901379" y="69887"/>
                    <a:pt x="9882080" y="69887"/>
                  </a:cubicBezTo>
                  <a:cubicBezTo>
                    <a:pt x="9862781" y="69887"/>
                    <a:pt x="9847137" y="54243"/>
                    <a:pt x="9847137" y="34944"/>
                  </a:cubicBezTo>
                  <a:cubicBezTo>
                    <a:pt x="9847137" y="15646"/>
                    <a:pt x="9862781" y="0"/>
                    <a:pt x="9882080" y="0"/>
                  </a:cubicBezTo>
                  <a:close/>
                  <a:moveTo>
                    <a:pt x="9370014" y="0"/>
                  </a:moveTo>
                  <a:cubicBezTo>
                    <a:pt x="9389280" y="0"/>
                    <a:pt x="9404958" y="15677"/>
                    <a:pt x="9404958" y="34944"/>
                  </a:cubicBezTo>
                  <a:cubicBezTo>
                    <a:pt x="9404958" y="54210"/>
                    <a:pt x="9389280" y="69887"/>
                    <a:pt x="9370014" y="69887"/>
                  </a:cubicBezTo>
                  <a:cubicBezTo>
                    <a:pt x="9350748" y="69887"/>
                    <a:pt x="9335070" y="54210"/>
                    <a:pt x="9335070" y="34944"/>
                  </a:cubicBezTo>
                  <a:cubicBezTo>
                    <a:pt x="9335070" y="15677"/>
                    <a:pt x="9350748" y="0"/>
                    <a:pt x="9370014" y="0"/>
                  </a:cubicBezTo>
                  <a:close/>
                  <a:moveTo>
                    <a:pt x="8857948" y="0"/>
                  </a:moveTo>
                  <a:cubicBezTo>
                    <a:pt x="8877214" y="0"/>
                    <a:pt x="8892891" y="15677"/>
                    <a:pt x="8892891" y="34944"/>
                  </a:cubicBezTo>
                  <a:cubicBezTo>
                    <a:pt x="8892891" y="54210"/>
                    <a:pt x="8877214" y="69887"/>
                    <a:pt x="8857948" y="69887"/>
                  </a:cubicBezTo>
                  <a:cubicBezTo>
                    <a:pt x="8838681" y="69887"/>
                    <a:pt x="8823004" y="54210"/>
                    <a:pt x="8823004" y="34944"/>
                  </a:cubicBezTo>
                  <a:cubicBezTo>
                    <a:pt x="8823004" y="15677"/>
                    <a:pt x="8838681" y="0"/>
                    <a:pt x="8857948" y="0"/>
                  </a:cubicBezTo>
                  <a:close/>
                  <a:moveTo>
                    <a:pt x="8346071" y="0"/>
                  </a:moveTo>
                  <a:cubicBezTo>
                    <a:pt x="8365337" y="0"/>
                    <a:pt x="8381015" y="15677"/>
                    <a:pt x="8381015" y="34944"/>
                  </a:cubicBezTo>
                  <a:cubicBezTo>
                    <a:pt x="8381015" y="54210"/>
                    <a:pt x="8365337" y="69887"/>
                    <a:pt x="8346071" y="69887"/>
                  </a:cubicBezTo>
                  <a:cubicBezTo>
                    <a:pt x="8326804" y="69887"/>
                    <a:pt x="8311127" y="54210"/>
                    <a:pt x="8311127" y="34944"/>
                  </a:cubicBezTo>
                  <a:cubicBezTo>
                    <a:pt x="8311127" y="15677"/>
                    <a:pt x="8326804" y="0"/>
                    <a:pt x="8346071" y="0"/>
                  </a:cubicBezTo>
                  <a:close/>
                  <a:moveTo>
                    <a:pt x="7834004" y="0"/>
                  </a:moveTo>
                  <a:cubicBezTo>
                    <a:pt x="7853271" y="0"/>
                    <a:pt x="7868948" y="15677"/>
                    <a:pt x="7868948" y="34944"/>
                  </a:cubicBezTo>
                  <a:cubicBezTo>
                    <a:pt x="7868948" y="54210"/>
                    <a:pt x="7853271" y="69887"/>
                    <a:pt x="7834004" y="69887"/>
                  </a:cubicBezTo>
                  <a:cubicBezTo>
                    <a:pt x="7814738" y="69887"/>
                    <a:pt x="7799061" y="54210"/>
                    <a:pt x="7799061" y="34944"/>
                  </a:cubicBezTo>
                  <a:cubicBezTo>
                    <a:pt x="7799061" y="15677"/>
                    <a:pt x="7814738" y="0"/>
                    <a:pt x="7834004" y="0"/>
                  </a:cubicBezTo>
                  <a:close/>
                  <a:moveTo>
                    <a:pt x="7322128" y="0"/>
                  </a:moveTo>
                  <a:cubicBezTo>
                    <a:pt x="7341394" y="0"/>
                    <a:pt x="7357071" y="15677"/>
                    <a:pt x="7357071" y="34944"/>
                  </a:cubicBezTo>
                  <a:cubicBezTo>
                    <a:pt x="7357071" y="54210"/>
                    <a:pt x="7341394" y="69887"/>
                    <a:pt x="7322128" y="69887"/>
                  </a:cubicBezTo>
                  <a:cubicBezTo>
                    <a:pt x="7302861" y="69887"/>
                    <a:pt x="7287184" y="54210"/>
                    <a:pt x="7287184" y="34944"/>
                  </a:cubicBezTo>
                  <a:cubicBezTo>
                    <a:pt x="7287184" y="15677"/>
                    <a:pt x="7302861" y="0"/>
                    <a:pt x="7322128" y="0"/>
                  </a:cubicBezTo>
                  <a:close/>
                  <a:moveTo>
                    <a:pt x="6810062" y="0"/>
                  </a:moveTo>
                  <a:cubicBezTo>
                    <a:pt x="6829328" y="0"/>
                    <a:pt x="6845006" y="15677"/>
                    <a:pt x="6845006" y="34944"/>
                  </a:cubicBezTo>
                  <a:cubicBezTo>
                    <a:pt x="6845006" y="54210"/>
                    <a:pt x="6829328" y="69887"/>
                    <a:pt x="6810062" y="69887"/>
                  </a:cubicBezTo>
                  <a:cubicBezTo>
                    <a:pt x="6790796" y="69887"/>
                    <a:pt x="6775118" y="54210"/>
                    <a:pt x="6775118" y="34944"/>
                  </a:cubicBezTo>
                  <a:cubicBezTo>
                    <a:pt x="6775118" y="15677"/>
                    <a:pt x="6790796" y="0"/>
                    <a:pt x="6810062" y="0"/>
                  </a:cubicBezTo>
                  <a:close/>
                  <a:moveTo>
                    <a:pt x="6298186" y="0"/>
                  </a:moveTo>
                  <a:cubicBezTo>
                    <a:pt x="6317451" y="0"/>
                    <a:pt x="6333129" y="15677"/>
                    <a:pt x="6333129" y="34944"/>
                  </a:cubicBezTo>
                  <a:cubicBezTo>
                    <a:pt x="6333129" y="54210"/>
                    <a:pt x="6317451" y="69887"/>
                    <a:pt x="6298186" y="69887"/>
                  </a:cubicBezTo>
                  <a:cubicBezTo>
                    <a:pt x="6278919" y="69887"/>
                    <a:pt x="6263242" y="54210"/>
                    <a:pt x="6263242" y="34944"/>
                  </a:cubicBezTo>
                  <a:cubicBezTo>
                    <a:pt x="6263242" y="15677"/>
                    <a:pt x="6278919" y="0"/>
                    <a:pt x="6298186" y="0"/>
                  </a:cubicBezTo>
                  <a:close/>
                  <a:moveTo>
                    <a:pt x="5786126" y="0"/>
                  </a:moveTo>
                  <a:cubicBezTo>
                    <a:pt x="5805392" y="0"/>
                    <a:pt x="5821068" y="15677"/>
                    <a:pt x="5821068" y="34944"/>
                  </a:cubicBezTo>
                  <a:cubicBezTo>
                    <a:pt x="5821068" y="54210"/>
                    <a:pt x="5805392" y="69887"/>
                    <a:pt x="5786126" y="69887"/>
                  </a:cubicBezTo>
                  <a:cubicBezTo>
                    <a:pt x="5766859" y="69887"/>
                    <a:pt x="5751183" y="54210"/>
                    <a:pt x="5751183" y="34944"/>
                  </a:cubicBezTo>
                  <a:cubicBezTo>
                    <a:pt x="5751183" y="15677"/>
                    <a:pt x="5766859" y="0"/>
                    <a:pt x="5786126" y="0"/>
                  </a:cubicBezTo>
                  <a:close/>
                  <a:moveTo>
                    <a:pt x="5274270" y="0"/>
                  </a:moveTo>
                  <a:cubicBezTo>
                    <a:pt x="5293570" y="0"/>
                    <a:pt x="5309213" y="15646"/>
                    <a:pt x="5309213" y="34944"/>
                  </a:cubicBezTo>
                  <a:cubicBezTo>
                    <a:pt x="5309213" y="54243"/>
                    <a:pt x="5293570" y="69887"/>
                    <a:pt x="5274270" y="69887"/>
                  </a:cubicBezTo>
                  <a:cubicBezTo>
                    <a:pt x="5254974" y="69887"/>
                    <a:pt x="5239326" y="54243"/>
                    <a:pt x="5239326" y="34944"/>
                  </a:cubicBezTo>
                  <a:cubicBezTo>
                    <a:pt x="5239326" y="15646"/>
                    <a:pt x="5254974" y="0"/>
                    <a:pt x="5274270" y="0"/>
                  </a:cubicBezTo>
                  <a:close/>
                  <a:moveTo>
                    <a:pt x="4762180" y="0"/>
                  </a:moveTo>
                  <a:cubicBezTo>
                    <a:pt x="4781484" y="0"/>
                    <a:pt x="4797138" y="15646"/>
                    <a:pt x="4797138" y="34944"/>
                  </a:cubicBezTo>
                  <a:cubicBezTo>
                    <a:pt x="4797138" y="54243"/>
                    <a:pt x="4781484" y="69887"/>
                    <a:pt x="4762180" y="69887"/>
                  </a:cubicBezTo>
                  <a:cubicBezTo>
                    <a:pt x="4742882" y="69887"/>
                    <a:pt x="4727244" y="54243"/>
                    <a:pt x="4727244" y="34944"/>
                  </a:cubicBezTo>
                  <a:cubicBezTo>
                    <a:pt x="4727244" y="15646"/>
                    <a:pt x="4742882" y="0"/>
                    <a:pt x="4762180" y="0"/>
                  </a:cubicBezTo>
                  <a:close/>
                  <a:moveTo>
                    <a:pt x="4250316" y="0"/>
                  </a:moveTo>
                  <a:cubicBezTo>
                    <a:pt x="4269615" y="0"/>
                    <a:pt x="4285260" y="15646"/>
                    <a:pt x="4285260" y="34944"/>
                  </a:cubicBezTo>
                  <a:cubicBezTo>
                    <a:pt x="4285260" y="54243"/>
                    <a:pt x="4269615" y="69887"/>
                    <a:pt x="4250316" y="69887"/>
                  </a:cubicBezTo>
                  <a:cubicBezTo>
                    <a:pt x="4231016" y="69887"/>
                    <a:pt x="4215371" y="54243"/>
                    <a:pt x="4215371" y="34944"/>
                  </a:cubicBezTo>
                  <a:cubicBezTo>
                    <a:pt x="4215371" y="15646"/>
                    <a:pt x="4231016" y="0"/>
                    <a:pt x="4250316" y="0"/>
                  </a:cubicBezTo>
                  <a:close/>
                  <a:moveTo>
                    <a:pt x="3738287" y="0"/>
                  </a:moveTo>
                  <a:cubicBezTo>
                    <a:pt x="3757581" y="0"/>
                    <a:pt x="3773228" y="15646"/>
                    <a:pt x="3773228" y="34944"/>
                  </a:cubicBezTo>
                  <a:cubicBezTo>
                    <a:pt x="3773228" y="54243"/>
                    <a:pt x="3757581" y="69887"/>
                    <a:pt x="3738287" y="69887"/>
                  </a:cubicBezTo>
                  <a:cubicBezTo>
                    <a:pt x="3718987" y="69887"/>
                    <a:pt x="3703339" y="54243"/>
                    <a:pt x="3703339" y="34944"/>
                  </a:cubicBezTo>
                  <a:cubicBezTo>
                    <a:pt x="3703339" y="15646"/>
                    <a:pt x="3718987" y="0"/>
                    <a:pt x="3738287" y="0"/>
                  </a:cubicBezTo>
                  <a:close/>
                  <a:moveTo>
                    <a:pt x="3226239" y="0"/>
                  </a:moveTo>
                  <a:cubicBezTo>
                    <a:pt x="3245540" y="0"/>
                    <a:pt x="3261187" y="15646"/>
                    <a:pt x="3261187" y="34944"/>
                  </a:cubicBezTo>
                  <a:cubicBezTo>
                    <a:pt x="3261187" y="54243"/>
                    <a:pt x="3245540" y="69887"/>
                    <a:pt x="3226239" y="69887"/>
                  </a:cubicBezTo>
                  <a:cubicBezTo>
                    <a:pt x="3206939" y="69887"/>
                    <a:pt x="3191293" y="54243"/>
                    <a:pt x="3191293" y="34944"/>
                  </a:cubicBezTo>
                  <a:cubicBezTo>
                    <a:pt x="3191293" y="15646"/>
                    <a:pt x="3206939" y="0"/>
                    <a:pt x="3226239" y="0"/>
                  </a:cubicBezTo>
                  <a:close/>
                  <a:moveTo>
                    <a:pt x="2714361" y="0"/>
                  </a:moveTo>
                  <a:cubicBezTo>
                    <a:pt x="2733657" y="0"/>
                    <a:pt x="2749305" y="15646"/>
                    <a:pt x="2749305" y="34944"/>
                  </a:cubicBezTo>
                  <a:cubicBezTo>
                    <a:pt x="2749305" y="54243"/>
                    <a:pt x="2733657" y="69887"/>
                    <a:pt x="2714361" y="69887"/>
                  </a:cubicBezTo>
                  <a:cubicBezTo>
                    <a:pt x="2695063" y="69887"/>
                    <a:pt x="2679418" y="54243"/>
                    <a:pt x="2679418" y="34944"/>
                  </a:cubicBezTo>
                  <a:cubicBezTo>
                    <a:pt x="2679418" y="15646"/>
                    <a:pt x="2695063" y="0"/>
                    <a:pt x="2714361" y="0"/>
                  </a:cubicBezTo>
                  <a:close/>
                  <a:moveTo>
                    <a:pt x="2202305" y="0"/>
                  </a:moveTo>
                  <a:cubicBezTo>
                    <a:pt x="2221604" y="0"/>
                    <a:pt x="2237248" y="15646"/>
                    <a:pt x="2237248" y="34944"/>
                  </a:cubicBezTo>
                  <a:cubicBezTo>
                    <a:pt x="2237248" y="54243"/>
                    <a:pt x="2221604" y="69887"/>
                    <a:pt x="2202305" y="69887"/>
                  </a:cubicBezTo>
                  <a:cubicBezTo>
                    <a:pt x="2183006" y="69887"/>
                    <a:pt x="2167360" y="54243"/>
                    <a:pt x="2167360" y="34944"/>
                  </a:cubicBezTo>
                  <a:cubicBezTo>
                    <a:pt x="2167360" y="15646"/>
                    <a:pt x="2183006" y="0"/>
                    <a:pt x="2202305" y="0"/>
                  </a:cubicBezTo>
                  <a:close/>
                  <a:moveTo>
                    <a:pt x="1690412" y="0"/>
                  </a:moveTo>
                  <a:cubicBezTo>
                    <a:pt x="1709711" y="0"/>
                    <a:pt x="1725355" y="15646"/>
                    <a:pt x="1725355" y="34944"/>
                  </a:cubicBezTo>
                  <a:cubicBezTo>
                    <a:pt x="1725355" y="54243"/>
                    <a:pt x="1709711" y="69887"/>
                    <a:pt x="1690412" y="69887"/>
                  </a:cubicBezTo>
                  <a:cubicBezTo>
                    <a:pt x="1671113" y="69887"/>
                    <a:pt x="1655468" y="54243"/>
                    <a:pt x="1655468" y="34944"/>
                  </a:cubicBezTo>
                  <a:cubicBezTo>
                    <a:pt x="1655468" y="15646"/>
                    <a:pt x="1671113" y="0"/>
                    <a:pt x="1690412" y="0"/>
                  </a:cubicBezTo>
                  <a:close/>
                  <a:moveTo>
                    <a:pt x="1178353" y="0"/>
                  </a:moveTo>
                  <a:cubicBezTo>
                    <a:pt x="1197652" y="0"/>
                    <a:pt x="1213295" y="15646"/>
                    <a:pt x="1213295" y="34944"/>
                  </a:cubicBezTo>
                  <a:cubicBezTo>
                    <a:pt x="1213295" y="54243"/>
                    <a:pt x="1197652" y="69887"/>
                    <a:pt x="1178353" y="69887"/>
                  </a:cubicBezTo>
                  <a:cubicBezTo>
                    <a:pt x="1159054" y="69887"/>
                    <a:pt x="1143409" y="54243"/>
                    <a:pt x="1143409" y="34944"/>
                  </a:cubicBezTo>
                  <a:cubicBezTo>
                    <a:pt x="1143409" y="15646"/>
                    <a:pt x="1159054" y="0"/>
                    <a:pt x="1178353" y="0"/>
                  </a:cubicBezTo>
                  <a:close/>
                  <a:moveTo>
                    <a:pt x="666483" y="0"/>
                  </a:moveTo>
                  <a:cubicBezTo>
                    <a:pt x="685781" y="0"/>
                    <a:pt x="701425" y="15646"/>
                    <a:pt x="701425" y="34944"/>
                  </a:cubicBezTo>
                  <a:cubicBezTo>
                    <a:pt x="701425" y="54243"/>
                    <a:pt x="685780" y="69887"/>
                    <a:pt x="666483" y="69887"/>
                  </a:cubicBezTo>
                  <a:cubicBezTo>
                    <a:pt x="647184" y="69887"/>
                    <a:pt x="631539" y="54243"/>
                    <a:pt x="631539" y="34944"/>
                  </a:cubicBezTo>
                  <a:cubicBezTo>
                    <a:pt x="631539" y="15646"/>
                    <a:pt x="647184" y="0"/>
                    <a:pt x="666483" y="0"/>
                  </a:cubicBezTo>
                  <a:close/>
                  <a:moveTo>
                    <a:pt x="154424" y="0"/>
                  </a:moveTo>
                  <a:cubicBezTo>
                    <a:pt x="173722" y="0"/>
                    <a:pt x="189367" y="15646"/>
                    <a:pt x="189367" y="34944"/>
                  </a:cubicBezTo>
                  <a:cubicBezTo>
                    <a:pt x="189367" y="54243"/>
                    <a:pt x="173722" y="69887"/>
                    <a:pt x="154424" y="69887"/>
                  </a:cubicBezTo>
                  <a:cubicBezTo>
                    <a:pt x="135125" y="69887"/>
                    <a:pt x="119480" y="54243"/>
                    <a:pt x="119480" y="34944"/>
                  </a:cubicBezTo>
                  <a:cubicBezTo>
                    <a:pt x="119480" y="15646"/>
                    <a:pt x="135125" y="0"/>
                    <a:pt x="154424" y="0"/>
                  </a:cubicBezTo>
                  <a:close/>
                </a:path>
              </a:pathLst>
            </a:custGeom>
            <a:gradFill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49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</a:gradFill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6BCCCEEC-0A8C-451D-A810-F74AFB3EEF57}"/>
                </a:ext>
              </a:extLst>
            </p:cNvPr>
            <p:cNvSpPr/>
            <p:nvPr/>
          </p:nvSpPr>
          <p:spPr>
            <a:xfrm>
              <a:off x="11962998" y="2355141"/>
              <a:ext cx="41175" cy="41175"/>
            </a:xfrm>
            <a:custGeom>
              <a:avLst/>
              <a:gdLst>
                <a:gd name="connsiteX0" fmla="*/ 41177 w 41176"/>
                <a:gd name="connsiteY0" fmla="*/ 20588 h 41176"/>
                <a:gd name="connsiteX1" fmla="*/ 20588 w 41176"/>
                <a:gd name="connsiteY1" fmla="*/ 41177 h 41176"/>
                <a:gd name="connsiteX2" fmla="*/ 0 w 41176"/>
                <a:gd name="connsiteY2" fmla="*/ 20588 h 41176"/>
                <a:gd name="connsiteX3" fmla="*/ 20588 w 41176"/>
                <a:gd name="connsiteY3" fmla="*/ 0 h 41176"/>
                <a:gd name="connsiteX4" fmla="*/ 41177 w 41176"/>
                <a:gd name="connsiteY4" fmla="*/ 20588 h 411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1176" h="41176">
                  <a:moveTo>
                    <a:pt x="41177" y="20588"/>
                  </a:moveTo>
                  <a:cubicBezTo>
                    <a:pt x="41177" y="31921"/>
                    <a:pt x="31920" y="41177"/>
                    <a:pt x="20588" y="41177"/>
                  </a:cubicBezTo>
                  <a:cubicBezTo>
                    <a:pt x="9255" y="41177"/>
                    <a:pt x="0" y="31921"/>
                    <a:pt x="0" y="20588"/>
                  </a:cubicBezTo>
                  <a:cubicBezTo>
                    <a:pt x="0" y="9255"/>
                    <a:pt x="9255" y="0"/>
                    <a:pt x="20588" y="0"/>
                  </a:cubicBezTo>
                  <a:cubicBezTo>
                    <a:pt x="31920" y="0"/>
                    <a:pt x="41177" y="9255"/>
                    <a:pt x="41177" y="20588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57AEA2FD-7BCE-4A9D-B51D-37AA703A4CD6}"/>
                </a:ext>
              </a:extLst>
            </p:cNvPr>
            <p:cNvSpPr/>
            <p:nvPr/>
          </p:nvSpPr>
          <p:spPr>
            <a:xfrm>
              <a:off x="11977393" y="1915463"/>
              <a:ext cx="12844" cy="12844"/>
            </a:xfrm>
            <a:custGeom>
              <a:avLst/>
              <a:gdLst>
                <a:gd name="connsiteX0" fmla="*/ 12844 w 12844"/>
                <a:gd name="connsiteY0" fmla="*/ 6422 h 12844"/>
                <a:gd name="connsiteX1" fmla="*/ 6421 w 12844"/>
                <a:gd name="connsiteY1" fmla="*/ 12844 h 12844"/>
                <a:gd name="connsiteX2" fmla="*/ 0 w 12844"/>
                <a:gd name="connsiteY2" fmla="*/ 6422 h 12844"/>
                <a:gd name="connsiteX3" fmla="*/ 6421 w 12844"/>
                <a:gd name="connsiteY3" fmla="*/ 0 h 12844"/>
                <a:gd name="connsiteX4" fmla="*/ 12844 w 12844"/>
                <a:gd name="connsiteY4" fmla="*/ 6422 h 12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844" h="12844">
                  <a:moveTo>
                    <a:pt x="12844" y="6422"/>
                  </a:moveTo>
                  <a:cubicBezTo>
                    <a:pt x="12844" y="10011"/>
                    <a:pt x="10010" y="12844"/>
                    <a:pt x="6421" y="12844"/>
                  </a:cubicBezTo>
                  <a:cubicBezTo>
                    <a:pt x="2833" y="12844"/>
                    <a:pt x="0" y="10011"/>
                    <a:pt x="0" y="6422"/>
                  </a:cubicBezTo>
                  <a:cubicBezTo>
                    <a:pt x="0" y="2833"/>
                    <a:pt x="2833" y="0"/>
                    <a:pt x="6421" y="0"/>
                  </a:cubicBezTo>
                  <a:cubicBezTo>
                    <a:pt x="10010" y="0"/>
                    <a:pt x="12844" y="2833"/>
                    <a:pt x="12844" y="6422"/>
                  </a:cubicBezTo>
                  <a:close/>
                </a:path>
              </a:pathLst>
            </a:custGeom>
            <a:grpFill/>
            <a:ln w="1887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59224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1258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7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ru-RU" dirty="0"/>
              <a:t>Click to edit Master subtitle style</a:t>
            </a: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buClr>
                <a:schemeClr val="tx2"/>
              </a:buClr>
              <a:defRPr lang="ru-RU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4" name="2. Slide Title">
            <a:extLst>
              <a:ext uri="{FF2B5EF4-FFF2-40B4-BE49-F238E27FC236}">
                <a16:creationId xmlns:a16="http://schemas.microsoft.com/office/drawing/2014/main" id="{1CEF2F41-AD03-4A8C-8F9B-FD098F760181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to edit Master title styl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C91330DE-BE83-4002-8463-44AE5F182900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3752867-A264-4144-AF95-E85B17F861E3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2A7103A-B6F8-4F3B-8B3A-D0026053B127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A3D9E350-DDFF-42D8-AA4F-AFC5365F0267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60FC2FEF-088D-4E39-AE2B-43B58DD8D2E5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709B9D07-D4F1-40A9-AA90-B7D898A6EE64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B18DD0DC-7ABD-4A7F-9DAC-9F1A34F0A473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626C4BF-FD21-4B04-A3BC-0A39011216F0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F41E613-DD5C-4079-B597-A455120681E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51954480-BCE5-42BA-97CC-A6825A69759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771274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01849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61074AB-5F9C-4D24-BEE2-B7DA8DB1BF17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5E14F52-889E-4C7D-9EE8-66D55D2C5468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516ECE90-645F-40D9-A313-1044F5667C80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AD7E8B82-B8BC-4A4F-ABB6-FDE5B2DD97CF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58C049F-B44C-4536-B8EB-27B711F09910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0C5C7FD-61AF-4FDD-AA83-050C41D440BF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8496EED1-D40F-4FC2-88B2-420BB79D725C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7888DB4-4755-409F-8E1A-CDB95816719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F3FE4C25-425B-485B-B82D-493A0CF3DEC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57FBEF46-9332-46C4-8D4C-FDEE03F25AD1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19332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689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5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F0F83827-F75E-4B78-8D22-6E82649F0B7C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F8D5442-F7F8-44BE-951C-0453A313AD4E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B3794C33-05E2-4576-9DBA-254C21C83164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4C50926-90BC-445D-B1F3-7DF93E9553AF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AEC9EE84-B745-4FEE-8DFB-09640F615548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10811731-50D7-43CE-8A00-A81790F521A9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BC66D11-11E0-4C95-9915-4B1995A78D8D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D44288D-7CA5-487E-9E3E-DB8F3A7A415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EF13E55B-7308-45F4-A670-EBBF1C5F7C2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0DA777D7-6BF8-419E-BEE1-0C4DE72C7E3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48969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5255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754C430D-A365-44FC-892A-52EBC84FE806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FDD6FBF4-1B14-4960-84FE-1CDDFA970B2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860A5C26-02AA-4BEE-8F97-6220FCAEBF5B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FE6B084-EEF6-4D8A-A629-924F1D4B1C8E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14517A1D-E106-4A98-A3CE-0E8BA56992F4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8F06AAB7-BE95-4D6D-8914-9EA4EC1782AB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069A893-163C-49EA-9C6D-DC652AA2EA87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AEE9305D-BF8E-4C97-910C-7C070D9764A5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41C6C1F6-48B6-4D90-9BCD-5B9482314EE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E712B665-2791-4925-8BD8-DB10A7717D2A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8123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70069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3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DF223E3C-37BA-44DB-93B4-49711649E1A6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6166BF43-9005-4734-A1D6-957D3E673AA6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E0752F3E-5320-4D3B-87A9-5493564EEEA9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9DC092B4-5374-4C90-BDD3-D3417851A2D7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471548C7-04CC-4EA3-9628-4C5FC67A9198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66902BC-A78B-436A-9202-D4FF0AE92AD9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D5E67F3-D36E-441B-B262-D7659CD082DB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BC033CDD-7DD6-4B11-9B2A-674823217A15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34BFFBDD-6929-45F7-AAC8-2C9EDDE0BAB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6E400C44-495F-4B8C-B4B4-A560720B879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793671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0371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BC8F410-D7B8-4BC3-85A9-FA39A54C09EC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 flipH="1" flipV="1"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7F880217-FD86-4A63-8DDC-10BB0D2E6A57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CA496F6-29E1-4D04-A806-457A4D94F3AC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EFEF0E5-0FA6-423E-8AE8-26739D7AA681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E1691D6A-DBA3-478F-B071-4DB214D26613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EF9277F-E1A0-4773-AFAA-24015998D7FB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0F5D388F-6E35-48D1-934E-6724B1EE1B9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61038648-026B-48C3-9DC5-364017E7E589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CA0761BC-FB79-4306-BD77-E0516A24E841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B6B30EDE-D148-477C-8C4F-F15D440462E2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1B84266F-A009-4D19-B611-BEA24097B6C2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7FED875-932E-4263-8B86-00DBE6601127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17DBB7B1-7FE6-4884-91EC-F310A8CC8EF1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A5EC0FFD-8F07-47CF-998C-21433229A1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0" name="Slide Number">
            <a:extLst>
              <a:ext uri="{FF2B5EF4-FFF2-40B4-BE49-F238E27FC236}">
                <a16:creationId xmlns:a16="http://schemas.microsoft.com/office/drawing/2014/main" id="{84B58D66-AFAE-4FED-A344-BAB09C0B7D0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34761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375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5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228202246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50267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B4F96742-35DC-416F-9A9C-5D9D53B079EF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3A22AC7-3649-42EB-9FA9-60F4DAC8E67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6FA1A46-CC63-4D80-904D-B75922926F0D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635D98B-97DC-4A80-82A3-A8B3C701B736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5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3254F74-AAC2-418B-A97E-62015472016D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AD640EC-6340-4811-A625-E2F87B05F70D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A61E0EF3-5078-474C-B328-845773DE9A95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31E1A94A-64D9-47B5-84A7-C04A0B403E61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156BCE63-69EC-44FB-B1AD-6FAE4D76B4AA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E9167D72-4334-49DB-B176-017DF991B7FE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97AA860-C3C8-4227-9CAD-9313F1FBCF38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5798883C-15C8-4ED2-B659-0CFBB0EA2D07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92DF8608-9C2A-4563-863B-E57E51672604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78BE8867-7C5B-4093-BA2E-1B1B8963884F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128B2CF9-F174-428F-A59A-94DC669E7FDD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CEEDFFC-6166-4D56-92D1-59AE87ECEB8A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68538E44-69DD-40C0-BCCF-2B132694238A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2" name="Slide Number">
            <a:extLst>
              <a:ext uri="{FF2B5EF4-FFF2-40B4-BE49-F238E27FC236}">
                <a16:creationId xmlns:a16="http://schemas.microsoft.com/office/drawing/2014/main" id="{90BACC6B-4A90-41C6-8183-DC491198E69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068802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475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5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593ABADB-9B94-4A63-86C5-0632187830B1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4B6D22D-431A-469A-8CCE-FBA05E5C3E11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4B8129F-035A-4C47-970A-4184935E0E0D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166D22C4-D684-4FDC-BFE6-920812EA2765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1BE6742-D009-45D0-8D18-616EED744045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60AEC78-848E-4411-8743-6BC16BB706A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80C57B0-4163-4B12-ADDC-31889F7DAAA9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D23991C3-4848-476E-954E-D4A88C8ED18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F484E020-584B-4994-841C-61752E8DEBE7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22F3DA4B-E951-4D2C-A12C-862AAFD75EC4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E9DE7A75-83BA-44BF-940A-51CBF3172E21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9D543AF4-BF63-42EA-8846-72E462B39F40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564B4D71-D988-4EDC-915A-FF0EB360AEAE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0854484A-1D8F-4441-A28A-F9F96C461EE8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3CD3E4D-8091-40C7-AD91-54CE0D644D2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3" name="Slide Number">
            <a:extLst>
              <a:ext uri="{FF2B5EF4-FFF2-40B4-BE49-F238E27FC236}">
                <a16:creationId xmlns:a16="http://schemas.microsoft.com/office/drawing/2014/main" id="{D89264F4-7BD5-4284-AA84-C6927282E63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7453993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32692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DE8BEE8F-B804-4318-B369-BF50EA2797B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8624BC-0F97-4771-B482-7412327D19DF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E1D61C74-F3E2-42EF-998D-BEC7B3EBD0BC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8CA3F7F-79C3-4776-BD80-2B6BECA0AF60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>
                <a:solidFill>
                  <a:schemeClr val="bg2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ED71EA7-2198-4C8F-BEF8-3321898B5AF0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26A29E9D-DDCD-4FBF-B886-EF7803D98D9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30B57A6C-F947-4D55-BF57-95CCD43BFB98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44A8927-23FD-475D-ABC6-A1F90A175019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75A3FF4-D72B-469E-898B-A80DD035A93D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6F665471-CFE0-4D35-ADD8-D8FD0099A220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C43EC23-0339-4590-BC83-2EF9BB804650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63791D6B-D23C-4983-9094-3553FD8CEE9E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09C465DA-3FCB-4CCB-8981-9ADDA8C1CC96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6634112D-B3FC-4E5F-A221-BF86E9899252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2D9D1214-3DEE-4E9C-81BE-D8769734ECD5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CDB21E08-7510-479D-9407-955E7CDB5723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36F2C78C-0EAC-4DB0-99EC-2931BEC57C68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C90D316B-15AC-4D1D-9A99-D563FB9E95A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500473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5466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3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5BB9BB17-0853-4F72-9593-D23931D51AA6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8781416" y="0"/>
            <a:ext cx="3410584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26CEABC-1E59-4D41-B98C-D5C501BB3FF5}"/>
              </a:ext>
            </a:extLst>
          </p:cNvPr>
          <p:cNvSpPr/>
          <p:nvPr userDrawn="1"/>
        </p:nvSpPr>
        <p:spPr>
          <a:xfrm rot="10800000" flipH="1" flipV="1">
            <a:off x="846947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7918704" cy="384721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7918704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ysClr val="windowText" lastClr="00000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953FE85-D2DB-4FD4-8580-D5CFA02B339E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5E1A5C0-3887-4A03-9782-3785333E3A59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F8401AE3-A13C-436D-85AD-6F9B6090229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92D41B32-0E7D-42CA-955A-4A23E2791872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C6BF6B2-089C-4AB8-A965-1347C13084CC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0CA96246-CF1A-47DF-B624-BB825CF48E8C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96820E48-D666-499E-94B9-A6846A39656A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09DD72BD-F99B-4E1C-A8FC-A5CAD71F24EC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5EDDBEDB-AA41-4920-A08C-B229B214788A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E43CA7B9-D503-4366-8633-06C480B67216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916D7F20-2B3C-41E4-BB33-42D1FB057E6A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DD30E61-7B28-4CAD-8F7D-8F9CE6218CC4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EEB3AACB-F57C-4F4A-9977-FAED110B4F6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4C782486-E82E-48A1-901B-DB0D162532A7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01675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707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7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Dark">
            <a:extLst>
              <a:ext uri="{FF2B5EF4-FFF2-40B4-BE49-F238E27FC236}">
                <a16:creationId xmlns:a16="http://schemas.microsoft.com/office/drawing/2014/main" id="{ED2D5E01-B664-4C91-95B4-8DA17E82B7B5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0" y="0"/>
            <a:ext cx="609904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F6D83EC-F243-46BA-8827-531E63D39DA3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  <a:prstGeom prst="rect">
            <a:avLst/>
          </a:prstGeom>
        </p:spPr>
        <p:txBody>
          <a:bodyPr vert="horz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>
                <a:solidFill>
                  <a:schemeClr val="tx1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F167B1-CAD2-4703-BA78-E925BB5FAAB2}"/>
              </a:ext>
            </a:extLst>
          </p:cNvPr>
          <p:cNvSpPr/>
          <p:nvPr userDrawn="1"/>
        </p:nvSpPr>
        <p:spPr>
          <a:xfrm rot="10800000" flipV="1">
            <a:off x="6099048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799BF65-473D-48F3-A1B4-CF1CB546824C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89826A0-F3E6-44A4-951D-578C163325FC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26B8BE0-341D-457C-93E5-A0C686672B9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89E9558-8BE2-489F-A2A8-6AF59E839E02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27E5046D-9596-4B4B-854B-76FE01B936B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3AA3B1B1-78BA-43FC-B822-657AC8077CA2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057E2ED-AC1C-4582-B35A-E7EC7EA9651D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6DC3E200-CB26-420C-B6D6-FDEC1761D72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B9C7586-DEA1-4884-BBE4-F87E76692B98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E469DFFE-3448-4DDA-81A7-AA503C5E7D28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F392B9D4-F301-4CE5-A3AA-722EECF3234D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B69A9BEF-2EEC-49A0-BA88-BCD24A1C0C8B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511D66B4-1124-4792-A67A-DB05265300C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78ED20FA-7525-46A4-A00E-095D67FC020D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4" name="Slide Number">
            <a:extLst>
              <a:ext uri="{FF2B5EF4-FFF2-40B4-BE49-F238E27FC236}">
                <a16:creationId xmlns:a16="http://schemas.microsoft.com/office/drawing/2014/main" id="{C46E4188-ECCE-40B6-A4B3-2A19B781BCAE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16143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081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1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Dark">
            <a:extLst>
              <a:ext uri="{FF2B5EF4-FFF2-40B4-BE49-F238E27FC236}">
                <a16:creationId xmlns:a16="http://schemas.microsoft.com/office/drawing/2014/main" id="{898DCBDA-EE21-427A-BAE3-E6AB1CBE6EC4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0" y="0"/>
            <a:ext cx="4361688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C7B8DBD3-5ABF-4E0A-9F2E-53C58888D156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>
                <a:solidFill>
                  <a:schemeClr val="tx1"/>
                </a:solidFill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465576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6A51ADDB-E00C-4E76-9B72-50098284068F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3A9FF66F-4B50-42B1-A492-5045FFD591A5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4" y="3659644"/>
            <a:ext cx="34655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294CEDE-942B-4CB2-B340-914174898011}"/>
              </a:ext>
            </a:extLst>
          </p:cNvPr>
          <p:cNvSpPr/>
          <p:nvPr userDrawn="1"/>
        </p:nvSpPr>
        <p:spPr>
          <a:xfrm rot="10800000" flipV="1">
            <a:off x="4361688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162C6522-0A87-4330-BB68-1BF352D18298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3F6B2711-0EA6-45C9-8CDE-1E21303B0659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980F20F-CE0B-455A-9190-7B27FA1ABE1E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1B6D1CB1-1292-4259-9650-9CE07F468557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CEE632B-85E0-4F25-8EC6-7A86B13D7B8D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DCE8666-8D5E-4A88-A260-6D649FECF44F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D7C904A5-E0E0-4548-B2FB-8E5BEAB0B99B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23AF744-F882-4D4C-BEA8-BCCB823EA4E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19DB9391-C138-4DD9-9B96-024AD3FF5F43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D41BA463-11AF-412F-9C2A-D09D6373B6C9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5CC4DEC5-70D4-4A68-B028-0536EFA6A2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6ED4F3D3-324A-43AA-845C-9A042C852C4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67D76C6E-F139-4803-B1AA-B1661D895AB6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FF61E415-3FC6-4814-876B-DA6397DF8C94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1" name="Slide Number">
            <a:extLst>
              <a:ext uri="{FF2B5EF4-FFF2-40B4-BE49-F238E27FC236}">
                <a16:creationId xmlns:a16="http://schemas.microsoft.com/office/drawing/2014/main" id="{C08A6EF9-3ED0-41B7-A2DC-77DB6095FC40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7372969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784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5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Dark">
            <a:extLst>
              <a:ext uri="{FF2B5EF4-FFF2-40B4-BE49-F238E27FC236}">
                <a16:creationId xmlns:a16="http://schemas.microsoft.com/office/drawing/2014/main" id="{A60D7BE0-581D-4A43-912F-DEEF2F9CD809}"/>
              </a:ext>
            </a:extLst>
          </p:cNvPr>
          <p:cNvSpPr>
            <a:spLocks/>
          </p:cNvSpPr>
          <p:nvPr userDrawn="1">
            <p:custDataLst>
              <p:tags r:id="rId3"/>
            </p:custDataLst>
          </p:nvPr>
        </p:nvSpPr>
        <p:spPr bwMode="ltGray">
          <a:xfrm flipH="1" flipV="1">
            <a:off x="0" y="0"/>
            <a:ext cx="3410584" cy="6858000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05418DB-2F6D-4E1E-889F-DE7C7630E9DF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2514600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id="{E70CB0D6-4980-49F4-A035-323A6D19F5D8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4369"/>
            <a:ext cx="2514600" cy="769441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C96A6FCC-A659-4027-9EE1-6230C47FAAC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ru-RU" dirty="0"/>
              <a:t>Click to edit Master subtitle styl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CD406CD-D7D8-46EC-BA52-8A19A53DE0D3}"/>
              </a:ext>
            </a:extLst>
          </p:cNvPr>
          <p:cNvSpPr/>
          <p:nvPr userDrawn="1"/>
        </p:nvSpPr>
        <p:spPr>
          <a:xfrm rot="10800000" flipV="1">
            <a:off x="3410584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D5ABB3E-0BEE-4246-9CB9-AF6812A61291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82C68459-0E9C-4D98-945B-2480344EEC01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5F9DC5A7-CD2D-47E3-B1E0-37140FC0E3F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DF949396-2E68-44BF-9826-A4ECE7C48481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32845D0-9B23-48C2-AA01-F9D46C68D481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7F39BC8-4D6F-4571-8909-BFE2C434C8B5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0ACF3F65-FD3D-4B20-96A1-039A4CC31558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C61D24D9-9B52-4702-BC66-FC0F80DB78B1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4275D2-0F0F-43D4-8FE2-4FD06C5994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F81098BC-5B9F-4BA8-98D6-95AD113C014C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0604FF1-5D61-4A8B-A038-9008FEB6B01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38CC40F0-2225-4FB3-B89A-C48D728B3E9B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70225087-8C79-4059-AFF5-94D78E4D6D5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117724A9-121D-4A8D-9369-031F64F74EAB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3" name="Slide Number">
            <a:extLst>
              <a:ext uri="{FF2B5EF4-FFF2-40B4-BE49-F238E27FC236}">
                <a16:creationId xmlns:a16="http://schemas.microsoft.com/office/drawing/2014/main" id="{78750BA0-0D2C-4E78-A048-94187541F5B6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60781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2463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9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ackground">
            <a:extLst>
              <a:ext uri="{FF2B5EF4-FFF2-40B4-BE49-F238E27FC236}">
                <a16:creationId xmlns:a16="http://schemas.microsoft.com/office/drawing/2014/main" id="{D3282601-6D7B-4146-B1B9-4B9B276588A3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E607B75-EB25-4D6B-A7C4-3ADFF029D7A4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146E4BDF-F5B8-4BF3-A5E4-7E0AC2357822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F2E2ED48-CF0C-47F6-82AC-39A06F8B2A79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387D30FC-03C4-4D44-A6B9-7A27DCB8AAAE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8" name="2. Slide Title">
            <a:extLst>
              <a:ext uri="{FF2B5EF4-FFF2-40B4-BE49-F238E27FC236}">
                <a16:creationId xmlns:a16="http://schemas.microsoft.com/office/drawing/2014/main" id="{1C4A0271-AED1-42B8-9F9E-B27ACF1A7DD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7" y="962214"/>
            <a:ext cx="10466386" cy="384721"/>
          </a:xfrm>
        </p:spPr>
        <p:txBody>
          <a:bodyPr vert="horz">
            <a:noAutofit/>
          </a:bodyPr>
          <a:lstStyle>
            <a:lvl1pPr>
              <a:defRPr/>
            </a:lvl1pPr>
          </a:lstStyle>
          <a:p>
            <a:r>
              <a:rPr lang="ru-RU" dirty="0"/>
              <a:t>Click to edit Master title sty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50615818-D49C-49D0-A848-900C84D85A6D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3AB0E80-C620-4448-BD66-2F73661EF9B2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616F9BD-5CCE-4D1C-8A25-17E9CB427F1F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428DB405-C49D-4E4A-A361-27E169634732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77F260D2-E9ED-415C-A6F5-4F2CE3392BB0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E592A1D-7BBF-4495-B1FB-9656AF9A4ED5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429D57EB-DA0C-4396-BED6-CA8EBAB2C47B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883751A-D4F8-4910-905D-F994794DB729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E12A6BED-1550-407C-A173-29DD4674248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8" name="Slide Number">
            <a:extLst>
              <a:ext uri="{FF2B5EF4-FFF2-40B4-BE49-F238E27FC236}">
                <a16:creationId xmlns:a16="http://schemas.microsoft.com/office/drawing/2014/main" id="{AC40BB4A-B234-4B59-ABC4-DADB2359AA99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78A22D7F-E38E-47B2-99F9-34D0712C513A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CF95EFEB-AA28-45E0-917E-79ED6D13B674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084FEBD-0957-4A04-9C8E-087EA7592C97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053A2F4C-7E2D-43A8-A295-691EC8546CC4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A5245362-2936-4DF0-94E9-714639ACE095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38E6314D-9051-4250-B160-8832361EC487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32B6CF85-F181-4C52-99EE-D2D980BF7517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FC358BC2-BB4D-4699-BDB3-CECDA3C08CA1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0FD9D6FF-A381-4578-A8D6-65CEC699C71D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AFD1D98E-033E-4A91-8BA9-AD02426215F9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95162B54-5304-440A-B1F0-E28A25299C12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98E7D519-98CD-46BE-ABBE-C2D1B142AC23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778046D-9B62-47D2-B6B7-69DD5D9DEA67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D46C7D10-CF9B-45FC-AAD3-2E37972B00E0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76866D3C-CF7F-469A-B0B5-0E2CC2D7AA0D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16175BAD-5EC6-4604-A10A-292360591286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BC0AEE38-5AAE-4E2A-ADCD-08B493F9B9BF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9604332-C64F-4DED-8A9C-FB9CCE997C16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129D37B6-E450-4C8C-8F7F-9842EFC10F27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7F553705-CC59-4BDA-8195-E8824715369B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1F092209-8743-45C0-8E1B-D495B4E6482D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8DF00C24-3C11-497F-BF72-03C1169557D6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2C80626D-ACEC-4409-BEE2-038F328917BE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18877927-C6D7-4317-A2A8-125C2D8ED353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D0D7696-4A3F-4579-9CF7-796BF3DA25AC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59EFAEE1-7873-46A5-9931-FA24C2B67429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1E87CB23-575E-4D45-A027-6D6653BED394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C83CE8B7-99A4-4486-92BF-16C8BA083EE8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66BBB8B1-3CE3-4757-A311-40736107A110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09E217BB-99E7-475F-857B-1E235523C8C7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6C11CC9C-EC07-40AF-AC28-3BF3A53E1F0E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A3FB2F44-117B-44C8-B33A-7F42366D359A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67B9F04C-D426-4CB2-AEF6-F4799B174D18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465B05ED-B3EC-4CEB-8D13-491DFF63B8A1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32D8199D-0BE6-483C-BD23-CB40385B8467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9C5AC9A0-A901-45F0-A3F2-779FD90A0A77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80FBFAEB-BB01-4D2D-9CA9-DEA18F857393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13037266-55D2-47C9-8BBB-B944DD73CCAC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65066CA4-8084-43A7-96F2-9431C3EF784E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965A7AFA-4FDD-43C4-88C6-34B7A40880FE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C86D6042-8EA2-4813-98BD-9C8F8385323C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50E6D3C9-1EF9-44E8-9E2E-F52B02621AB2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25EE20FD-C1C6-42AE-837A-BF3DAC02E11D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44D1A68E-076D-4AE6-A192-FEB1A4B9352F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DCCFE3DA-4B9C-4ECE-B6C2-CCF748568208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2A3EFE8E-5051-49A3-9EF5-EE53ADB63527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5F1E7A5A-E2E5-417B-85F2-79F4CB041CBA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78E26A7B-B14C-4370-8E5F-F5ADD33F7030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EB2816C1-1EB0-4859-9AF8-EB1DC069412C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2CF30853-99F0-4A4F-8713-14C1E5035F69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77967724-194F-498A-ACED-334EB908C13E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DB0DF687-1355-49E6-8342-5BEED664DA8A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2C3F7A79-585B-4E64-9B9E-A77CEA19CF0C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1D9AB2BE-F1DC-4E78-BE02-9164D7E965DB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C69601A-C929-403B-A985-8CEF1332F7D7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4E758EB6-5833-4E3E-ABAF-C477148FE4DD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BD0BFB89-1DDB-488A-8CC4-CEE7D14C9A88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8B5D9EE-6560-4174-A987-7711DC4F46A9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6AFE94FF-1E33-4F7D-BE65-09FF8F9DB014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734B2035-46D2-46AE-9898-50B5B0643941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E08BADF6-FF95-4492-8800-05D425045FA6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D29C3B52-6D20-420E-8FC4-138E49BF34E1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85885E6C-2C6E-4A74-B527-B5AA4CF0614F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BF485A73-8E55-4E3F-8E3D-4D612DC47992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2E96ABC1-A7A0-4DC7-BFDC-4E1E537103CF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1DA75BFE-D34D-4477-B4C8-C716EA77221F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54970A0D-4FDD-441A-9CF4-751A2EF4F176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C1F2017B-6238-4318-A726-4021ECFC1C32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4F93A3C4-CA14-4B39-A598-DF198DC803F8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8D7065AB-1AFB-474E-8DCF-0FC2CA9F5E01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08C4A5F7-24EE-4557-B431-8CDB59F54FC5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8DFC757-C090-4824-AC7A-4A760B1E49F3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4F85C93C-D825-4175-8B7F-A7BF5589EC13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F083CE3C-25BB-4325-9CE3-47AD319A9734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117912E5-FF6F-457A-AFA4-3588325AB944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2ABB6B0D-ED1F-4F1C-85ED-ED59C6764482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B3C3F45E-6640-47E8-96ED-A9C66DCE9959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6C12A7C6-2371-4146-93D5-7A5D3DDF7A7D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15226E8B-52C7-4AE7-9F80-3150C126B821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263327FC-F47D-4FE7-865B-F6B375B7087A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826A8715-0BF0-4F7B-B4DD-DD625A44B471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4C09CCD5-24B9-43EF-ADFC-1798BA8AE246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75AED7C7-A5DC-4F3D-BE40-D5CD9FE39AA8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0AAC82CA-33CD-47AA-9FC8-13EB5176AC34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8AA2970-4020-4050-997A-92C04EABE45B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3099DEB5-B996-435D-88FF-5780B46C4056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E6E141A1-5253-4662-AF54-3D73CDE18D16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D8B09A40-6FDE-427F-B5EE-058FC0A2CA63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C8C9573B-C844-4F70-BF11-6DEAD5CD3B77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2AE4A888-FE7F-48FA-B4DC-0F6F57D13E3C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C2C309B0-CDC4-4EC6-9C80-C99AF70F2A00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1D3289A5-2DFC-429F-9120-912A4E8CA128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7C811BC5-0117-480B-A2C3-B61151A9394D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297443B2-57A6-43D4-90C2-30B2E39E6589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3DE62F48-F141-4D0A-BF36-FAEDEBFF09EA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3E168B39-B063-4671-B080-6DB0BCFE4044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C33FBC99-E0F6-4657-9955-5213C1B41FAA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4E3279A7-0ABC-41BB-A96F-7F4679ECF018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EB2714AD-C0CE-414E-90C8-103E05597717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64CED0B5-EBF8-4F85-8FD7-C459DA43013A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4C2F16D5-AD83-4989-BF1B-1FB10806F128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763716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7440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3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ackground">
            <a:extLst>
              <a:ext uri="{FF2B5EF4-FFF2-40B4-BE49-F238E27FC236}">
                <a16:creationId xmlns:a16="http://schemas.microsoft.com/office/drawing/2014/main" id="{666AF14C-4DDC-4671-AEAB-9A41A36D1614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buClr>
                <a:schemeClr val="tx2"/>
              </a:buClr>
              <a:defRPr lang="en-US" sz="800" b="0" dirty="0">
                <a:solidFill>
                  <a:schemeClr val="tx2"/>
                </a:solidFill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D3D86D7F-EDA3-4A68-A117-A4B10F65640A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6010CC91-F92B-4262-88AE-1DBA076D01A5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4E16CB5E-16A7-497D-9B27-7CCB4E44E55E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8F77A49-3A6A-4CCE-A471-2E3FE14E5A08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05D9BA5A-66BD-41F6-A014-1D6CE81C2F65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01108B8-BEAC-47FC-B2F3-AF6EA5439CAB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8F5E2CAA-53A8-457F-853A-7BFF1BE8ED58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AD9D335D-2575-47FA-991F-257A48686E4F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D777C816-FF41-4024-9759-4C8A02DA302D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49D1F0B1-FF62-4187-A15F-07498FC03D20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038CAECD-3B11-41AA-A877-57073217EADC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50597DB2-0527-4F92-AF32-06CEB541C498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51ABD59E-8DFC-47FD-BA3F-10FB5D055121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504F3511-57A8-4E0B-915D-CF2E523B8A9B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AF1E647A-A999-4116-A2E4-6FAFECBEA73F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3612039F-6CDE-4F32-BDB4-A47C10912828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E332B87-83E0-4D10-9446-1837D932634F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E75C65BC-2412-4785-81A7-BB0DE44215D5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3305F76F-4084-417E-A083-ECBBEC2DED19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361BF689-30D1-4C10-ABE4-B24A1BE33BBD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D9CE3A22-EACF-4B59-8C0E-26F0665A420D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F9BEB788-55FD-4EF0-87BB-92FEA911A677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441CB225-8085-4E4F-A382-B55377352489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8944A22-D028-4EC7-9631-84E013DC708D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2330B484-DD38-4BAC-B443-7436431E5FB5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D37CAE84-785C-43AB-BC36-C249B786D86B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3FB51E21-54FC-4886-A166-83B516F811A9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3327122-A662-4941-9A71-4C28E1B4CE5A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E714B657-1D0B-4736-9223-833597AD6151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1300D139-0410-476B-BD19-231F604E08CC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8A041954-A7BF-4554-B70F-261BB72AAC1D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50C2B1A-DF97-4BCA-8B34-4AA63D9550D8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A8C5C794-F2FE-47E8-948C-17B6A4B09E83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564C77F6-AF1D-484C-955B-74C97084444F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8A11AEB6-A7D9-4B48-872E-D934F0778FBF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8FA6911E-ED9B-45A5-950C-068E561A4F81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17EB4889-8EF8-443A-AC7A-691B49F2A748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3ECD52A4-AE7B-406C-A7B5-9D8A748A8F07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FA712057-70FB-4FF1-A255-F3180083FC2E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A96E82B0-3AB0-47A7-A4FE-011AEB95C41B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A9E4A573-3053-4641-92F2-789CAC157CFE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E8AC596F-49CE-484C-A3C2-10E9049CA659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D330819A-86BB-41C9-9158-2176A5A51683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EF8738F-57CF-4337-B457-79179D59E8F7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CFE08942-0008-4C92-81A9-FBC2AEC9B18F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6893B0E6-719E-4653-93F9-C5ABCC5A9360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3F27CE08-A3A3-4906-8D7D-2EC025DE9885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51F80F0E-60D9-4FDC-8ECB-244429EDC9F7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B2FE0EFF-2861-4DD4-A36D-556BC66168FD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162CB3B4-ED0E-4C25-9244-A126A2728870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4B6FCBC2-3493-4E9E-B8A7-7D253D1CCE29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0E1A4D51-FDBE-4AA8-AC86-DEDBCC8BE4D2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D29E7A47-54C2-4A60-98C7-A7C3CC67330D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55978362-DFFE-4B16-8DC4-1B1837942875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9550D926-C876-426D-9AE9-550C7E732EAB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C97C1C39-9A8E-42C0-BC3C-4226883B7FE0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1763C80E-F40F-4A91-904C-6D9F7638960B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814CFB4D-9B5E-4450-9FDE-2081A8E125B7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02231AA6-4B25-4CA2-B91E-F7C7AB5B2EE2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1E03E896-5609-42F7-8F21-327D7A3481F7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1B2C942C-8F87-4BE1-9569-2C89F8239D7D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33FA269A-0957-4558-9E96-BF0D53B724FE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E1D6BEA4-D48F-4BC9-9255-0BDCF19B891A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C6EF194C-8CBC-483B-87CE-28E3B9DE891C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08FF871A-7FB2-44BE-98BA-473D31DEB7A0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238A6B58-B36A-4D1E-BE01-5AD7E4D54577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8E11F9F0-257E-4CD7-B667-D128BE8F05DB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EB106D5D-A3D9-48CF-993C-2A6C755B8D5B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25593059-F287-4393-BEF4-EF6DBAC9EACE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276A4F5-B73E-409E-81B3-2AF3A2849201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C4839F7B-062D-451D-862E-22A7199D9D45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07B693EA-0F6C-48D5-AB4E-1DC5DEF58317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C49946EA-9DA6-4E46-A7C3-98127FDF5D9D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CE1BB01F-4157-456D-B80C-B32C5305A21F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2184A01A-25CD-4E99-BBFE-416D2C78D6D5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A6BC0DF5-7D46-4A55-982B-A6E97DFCD340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072110E1-F458-4BEB-9938-6D441DEC61F8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3F11B3FE-B6E8-4288-B4B2-0F6B6711DE85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8" name="Freeform: Shape 47">
                <a:extLst>
                  <a:ext uri="{FF2B5EF4-FFF2-40B4-BE49-F238E27FC236}">
                    <a16:creationId xmlns:a16="http://schemas.microsoft.com/office/drawing/2014/main" id="{C927E98D-2DC3-4D9D-A732-6A3837A83F2A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49" name="Freeform: Shape 48">
                <a:extLst>
                  <a:ext uri="{FF2B5EF4-FFF2-40B4-BE49-F238E27FC236}">
                    <a16:creationId xmlns:a16="http://schemas.microsoft.com/office/drawing/2014/main" id="{0F2E268E-AD79-4754-8975-BB698D2CECE5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0" name="Freeform: Shape 49">
                <a:extLst>
                  <a:ext uri="{FF2B5EF4-FFF2-40B4-BE49-F238E27FC236}">
                    <a16:creationId xmlns:a16="http://schemas.microsoft.com/office/drawing/2014/main" id="{8D068424-71CA-41FF-9F55-7C8A3263D3B8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1" name="Freeform: Shape 50">
                <a:extLst>
                  <a:ext uri="{FF2B5EF4-FFF2-40B4-BE49-F238E27FC236}">
                    <a16:creationId xmlns:a16="http://schemas.microsoft.com/office/drawing/2014/main" id="{F7328F6C-06D5-4615-B4E7-287854E450E3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2" name="Freeform: Shape 51">
                <a:extLst>
                  <a:ext uri="{FF2B5EF4-FFF2-40B4-BE49-F238E27FC236}">
                    <a16:creationId xmlns:a16="http://schemas.microsoft.com/office/drawing/2014/main" id="{70A9C6E2-9817-488D-99A0-DDD05956F87A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3" name="Freeform: Shape 52">
                <a:extLst>
                  <a:ext uri="{FF2B5EF4-FFF2-40B4-BE49-F238E27FC236}">
                    <a16:creationId xmlns:a16="http://schemas.microsoft.com/office/drawing/2014/main" id="{06C3992F-7F15-46E5-986B-F09A87B16BC1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4" name="Freeform: Shape 53">
                <a:extLst>
                  <a:ext uri="{FF2B5EF4-FFF2-40B4-BE49-F238E27FC236}">
                    <a16:creationId xmlns:a16="http://schemas.microsoft.com/office/drawing/2014/main" id="{954D028E-5BBA-4D59-96D5-C790F60A2974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5" name="Freeform: Shape 54">
                <a:extLst>
                  <a:ext uri="{FF2B5EF4-FFF2-40B4-BE49-F238E27FC236}">
                    <a16:creationId xmlns:a16="http://schemas.microsoft.com/office/drawing/2014/main" id="{2E7CC842-D3F7-4809-A9C0-C2A2FA2A7845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6" name="Freeform: Shape 55">
                <a:extLst>
                  <a:ext uri="{FF2B5EF4-FFF2-40B4-BE49-F238E27FC236}">
                    <a16:creationId xmlns:a16="http://schemas.microsoft.com/office/drawing/2014/main" id="{D95780F0-54F4-45E4-8701-05F942EA9EC4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7" name="Freeform: Shape 56">
                <a:extLst>
                  <a:ext uri="{FF2B5EF4-FFF2-40B4-BE49-F238E27FC236}">
                    <a16:creationId xmlns:a16="http://schemas.microsoft.com/office/drawing/2014/main" id="{8B38AC29-2593-4B15-B8CC-C3403E57A0E5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8" name="Freeform: Shape 57">
                <a:extLst>
                  <a:ext uri="{FF2B5EF4-FFF2-40B4-BE49-F238E27FC236}">
                    <a16:creationId xmlns:a16="http://schemas.microsoft.com/office/drawing/2014/main" id="{91E34D9B-1FDC-4D5D-A869-855AFE65DA1C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59" name="Freeform: Shape 58">
                <a:extLst>
                  <a:ext uri="{FF2B5EF4-FFF2-40B4-BE49-F238E27FC236}">
                    <a16:creationId xmlns:a16="http://schemas.microsoft.com/office/drawing/2014/main" id="{748FBE9E-5B2B-4116-A210-E2FC633A49BB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" name="Freeform: Shape 59">
                <a:extLst>
                  <a:ext uri="{FF2B5EF4-FFF2-40B4-BE49-F238E27FC236}">
                    <a16:creationId xmlns:a16="http://schemas.microsoft.com/office/drawing/2014/main" id="{B059C504-1CD4-4B53-A852-3958656C2234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" name="Freeform: Shape 60">
                <a:extLst>
                  <a:ext uri="{FF2B5EF4-FFF2-40B4-BE49-F238E27FC236}">
                    <a16:creationId xmlns:a16="http://schemas.microsoft.com/office/drawing/2014/main" id="{50007468-7C3C-4756-B6AD-C79B12950E90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255F3FEA-3FC2-4CC9-BD8B-37E281BCA592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B67BEBE6-A55A-4B34-8D1C-71FE46C61862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524585F9-F204-42C3-9B26-D5F6598B3617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5" name="Freeform: Shape 64">
                <a:extLst>
                  <a:ext uri="{FF2B5EF4-FFF2-40B4-BE49-F238E27FC236}">
                    <a16:creationId xmlns:a16="http://schemas.microsoft.com/office/drawing/2014/main" id="{AACA304D-9E54-4F99-8EA9-96148AB851D3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6" name="Freeform: Shape 65">
                <a:extLst>
                  <a:ext uri="{FF2B5EF4-FFF2-40B4-BE49-F238E27FC236}">
                    <a16:creationId xmlns:a16="http://schemas.microsoft.com/office/drawing/2014/main" id="{7CE4B42E-EC0E-43D7-869A-84871414B896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" name="Freeform: Shape 66">
                <a:extLst>
                  <a:ext uri="{FF2B5EF4-FFF2-40B4-BE49-F238E27FC236}">
                    <a16:creationId xmlns:a16="http://schemas.microsoft.com/office/drawing/2014/main" id="{EFCFC9A3-95A0-40F0-84CB-13F996740B7B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05EFD7FA-8C78-4EC3-9B16-85E6AB3A77D4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951B2730-A2D4-4987-8475-BC1010D55B1B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2B5C3207-01F6-4FD9-B587-1CD08ED74B65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F3D7BE7-1370-421A-BD7A-7E47C97ECF3D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201341ED-E851-48AC-A8E1-93C8E079C057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7EA7A365-4F76-4633-A217-5528F9ACC562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2CA33CBC-98DA-4CE4-BE15-0F47E16B7427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9AEDA1C3-B397-4FD9-8495-7BD8B3407199}"/>
              </a:ext>
            </a:extLst>
          </p:cNvPr>
          <p:cNvSpPr/>
          <p:nvPr userDrawn="1"/>
        </p:nvSpPr>
        <p:spPr>
          <a:xfrm>
            <a:off x="10641752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0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7A07B3AD-0508-4A5C-B1C0-EDE1C4FBF071}"/>
              </a:ext>
            </a:extLst>
          </p:cNvPr>
          <p:cNvSpPr/>
          <p:nvPr userDrawn="1"/>
        </p:nvSpPr>
        <p:spPr>
          <a:xfrm>
            <a:off x="10804688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753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739 w 319373"/>
              <a:gd name="connsiteY6" fmla="*/ 47435 h 321944"/>
              <a:gd name="connsiteX7" fmla="*/ 199549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753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739" y="47435"/>
                </a:lnTo>
                <a:lnTo>
                  <a:pt x="199549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098C7678-4D0C-4EEF-87BC-A96FF4875F92}"/>
              </a:ext>
            </a:extLst>
          </p:cNvPr>
          <p:cNvSpPr/>
          <p:nvPr userDrawn="1"/>
        </p:nvSpPr>
        <p:spPr>
          <a:xfrm>
            <a:off x="10871860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4AD9E86-525B-45CA-9D9E-44AF5359DCA0}"/>
              </a:ext>
            </a:extLst>
          </p:cNvPr>
          <p:cNvSpPr/>
          <p:nvPr userDrawn="1"/>
        </p:nvSpPr>
        <p:spPr>
          <a:xfrm>
            <a:off x="10723885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8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3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8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3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ECE8766-2020-4499-9474-79BDA498C6CE}"/>
              </a:ext>
            </a:extLst>
          </p:cNvPr>
          <p:cNvSpPr/>
          <p:nvPr userDrawn="1"/>
        </p:nvSpPr>
        <p:spPr>
          <a:xfrm>
            <a:off x="11196923" y="6554099"/>
            <a:ext cx="59664" cy="60144"/>
          </a:xfrm>
          <a:custGeom>
            <a:avLst/>
            <a:gdLst>
              <a:gd name="connsiteX0" fmla="*/ 106013 w 319373"/>
              <a:gd name="connsiteY0" fmla="*/ 274511 h 321944"/>
              <a:gd name="connsiteX1" fmla="*/ 106204 w 319373"/>
              <a:gd name="connsiteY1" fmla="*/ 274415 h 321944"/>
              <a:gd name="connsiteX2" fmla="*/ 305848 w 319373"/>
              <a:gd name="connsiteY2" fmla="*/ 0 h 321944"/>
              <a:gd name="connsiteX3" fmla="*/ 6382 w 319373"/>
              <a:gd name="connsiteY3" fmla="*/ 0 h 321944"/>
              <a:gd name="connsiteX4" fmla="*/ 6382 w 319373"/>
              <a:gd name="connsiteY4" fmla="*/ 45911 h 321944"/>
              <a:gd name="connsiteX5" fmla="*/ 200882 w 319373"/>
              <a:gd name="connsiteY5" fmla="*/ 45911 h 321944"/>
              <a:gd name="connsiteX6" fmla="*/ 199835 w 319373"/>
              <a:gd name="connsiteY6" fmla="*/ 47435 h 321944"/>
              <a:gd name="connsiteX7" fmla="*/ 199644 w 319373"/>
              <a:gd name="connsiteY7" fmla="*/ 47530 h 321944"/>
              <a:gd name="connsiteX8" fmla="*/ 0 w 319373"/>
              <a:gd name="connsiteY8" fmla="*/ 321945 h 321944"/>
              <a:gd name="connsiteX9" fmla="*/ 319373 w 319373"/>
              <a:gd name="connsiteY9" fmla="*/ 321945 h 321944"/>
              <a:gd name="connsiteX10" fmla="*/ 319373 w 319373"/>
              <a:gd name="connsiteY10" fmla="*/ 276035 h 321944"/>
              <a:gd name="connsiteX11" fmla="*/ 104870 w 319373"/>
              <a:gd name="connsiteY11" fmla="*/ 276035 h 321944"/>
              <a:gd name="connsiteX12" fmla="*/ 106013 w 319373"/>
              <a:gd name="connsiteY12" fmla="*/ 274511 h 321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19373" h="321944">
                <a:moveTo>
                  <a:pt x="106013" y="274511"/>
                </a:moveTo>
                <a:lnTo>
                  <a:pt x="106204" y="274415"/>
                </a:lnTo>
                <a:lnTo>
                  <a:pt x="305848" y="0"/>
                </a:lnTo>
                <a:lnTo>
                  <a:pt x="6382" y="0"/>
                </a:lnTo>
                <a:lnTo>
                  <a:pt x="6382" y="45911"/>
                </a:lnTo>
                <a:lnTo>
                  <a:pt x="200882" y="45911"/>
                </a:lnTo>
                <a:lnTo>
                  <a:pt x="199835" y="47435"/>
                </a:lnTo>
                <a:lnTo>
                  <a:pt x="199644" y="47530"/>
                </a:lnTo>
                <a:lnTo>
                  <a:pt x="0" y="321945"/>
                </a:lnTo>
                <a:lnTo>
                  <a:pt x="319373" y="321945"/>
                </a:lnTo>
                <a:lnTo>
                  <a:pt x="319373" y="276035"/>
                </a:lnTo>
                <a:lnTo>
                  <a:pt x="104870" y="276035"/>
                </a:lnTo>
                <a:lnTo>
                  <a:pt x="106013" y="274511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9049E73-9604-47A6-B0D8-BB90965034FA}"/>
              </a:ext>
            </a:extLst>
          </p:cNvPr>
          <p:cNvSpPr/>
          <p:nvPr userDrawn="1"/>
        </p:nvSpPr>
        <p:spPr>
          <a:xfrm>
            <a:off x="10953078" y="6550331"/>
            <a:ext cx="71385" cy="76010"/>
          </a:xfrm>
          <a:custGeom>
            <a:avLst/>
            <a:gdLst>
              <a:gd name="connsiteX0" fmla="*/ 283818 w 382116"/>
              <a:gd name="connsiteY0" fmla="*/ 341543 h 406873"/>
              <a:gd name="connsiteX1" fmla="*/ 357828 w 382116"/>
              <a:gd name="connsiteY1" fmla="*/ 405265 h 406873"/>
              <a:gd name="connsiteX2" fmla="*/ 347731 w 382116"/>
              <a:gd name="connsiteY2" fmla="*/ 406694 h 406873"/>
              <a:gd name="connsiteX3" fmla="*/ 286104 w 382116"/>
              <a:gd name="connsiteY3" fmla="*/ 406408 h 406873"/>
              <a:gd name="connsiteX4" fmla="*/ 269912 w 382116"/>
              <a:gd name="connsiteY4" fmla="*/ 400122 h 406873"/>
              <a:gd name="connsiteX5" fmla="*/ 218001 w 382116"/>
              <a:gd name="connsiteY5" fmla="*/ 357259 h 406873"/>
              <a:gd name="connsiteX6" fmla="*/ 196379 w 382116"/>
              <a:gd name="connsiteY6" fmla="*/ 349925 h 406873"/>
              <a:gd name="connsiteX7" fmla="*/ 81793 w 382116"/>
              <a:gd name="connsiteY7" fmla="*/ 334113 h 406873"/>
              <a:gd name="connsiteX8" fmla="*/ 9498 w 382116"/>
              <a:gd name="connsiteY8" fmla="*/ 250770 h 406873"/>
              <a:gd name="connsiteX9" fmla="*/ 10737 w 382116"/>
              <a:gd name="connsiteY9" fmla="*/ 93988 h 406873"/>
              <a:gd name="connsiteX10" fmla="*/ 91699 w 382116"/>
              <a:gd name="connsiteY10" fmla="*/ 13026 h 406873"/>
              <a:gd name="connsiteX11" fmla="*/ 265816 w 382116"/>
              <a:gd name="connsiteY11" fmla="*/ 6739 h 406873"/>
              <a:gd name="connsiteX12" fmla="*/ 368210 w 382116"/>
              <a:gd name="connsiteY12" fmla="*/ 83606 h 406873"/>
              <a:gd name="connsiteX13" fmla="*/ 380211 w 382116"/>
              <a:gd name="connsiteY13" fmla="*/ 136755 h 406873"/>
              <a:gd name="connsiteX14" fmla="*/ 371925 w 382116"/>
              <a:gd name="connsiteY14" fmla="*/ 256675 h 406873"/>
              <a:gd name="connsiteX15" fmla="*/ 303916 w 382116"/>
              <a:gd name="connsiteY15" fmla="*/ 333066 h 406873"/>
              <a:gd name="connsiteX16" fmla="*/ 283818 w 382116"/>
              <a:gd name="connsiteY16" fmla="*/ 341448 h 406873"/>
              <a:gd name="connsiteX17" fmla="*/ 315060 w 382116"/>
              <a:gd name="connsiteY17" fmla="*/ 179904 h 406873"/>
              <a:gd name="connsiteX18" fmla="*/ 311536 w 382116"/>
              <a:gd name="connsiteY18" fmla="*/ 126945 h 406873"/>
              <a:gd name="connsiteX19" fmla="*/ 233526 w 382116"/>
              <a:gd name="connsiteY19" fmla="*/ 48363 h 406873"/>
              <a:gd name="connsiteX20" fmla="*/ 140372 w 382116"/>
              <a:gd name="connsiteY20" fmla="*/ 49221 h 406873"/>
              <a:gd name="connsiteX21" fmla="*/ 76650 w 382116"/>
              <a:gd name="connsiteY21" fmla="*/ 102084 h 406873"/>
              <a:gd name="connsiteX22" fmla="*/ 69125 w 382116"/>
              <a:gd name="connsiteY22" fmla="*/ 159330 h 406873"/>
              <a:gd name="connsiteX23" fmla="*/ 76554 w 382116"/>
              <a:gd name="connsiteY23" fmla="*/ 248579 h 406873"/>
              <a:gd name="connsiteX24" fmla="*/ 141229 w 382116"/>
              <a:gd name="connsiteY24" fmla="*/ 301538 h 406873"/>
              <a:gd name="connsiteX25" fmla="*/ 237813 w 382116"/>
              <a:gd name="connsiteY25" fmla="*/ 302014 h 406873"/>
              <a:gd name="connsiteX26" fmla="*/ 309726 w 382116"/>
              <a:gd name="connsiteY26" fmla="*/ 234577 h 406873"/>
              <a:gd name="connsiteX27" fmla="*/ 315060 w 382116"/>
              <a:gd name="connsiteY27" fmla="*/ 179713 h 406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382116" h="406873">
                <a:moveTo>
                  <a:pt x="283818" y="341543"/>
                </a:moveTo>
                <a:cubicBezTo>
                  <a:pt x="309155" y="363355"/>
                  <a:pt x="332586" y="383548"/>
                  <a:pt x="357828" y="405265"/>
                </a:cubicBezTo>
                <a:cubicBezTo>
                  <a:pt x="353065" y="406027"/>
                  <a:pt x="350398" y="406694"/>
                  <a:pt x="347731" y="406694"/>
                </a:cubicBezTo>
                <a:cubicBezTo>
                  <a:pt x="327157" y="406789"/>
                  <a:pt x="306583" y="407170"/>
                  <a:pt x="286104" y="406408"/>
                </a:cubicBezTo>
                <a:cubicBezTo>
                  <a:pt x="280580" y="406218"/>
                  <a:pt x="274293" y="403646"/>
                  <a:pt x="269912" y="400122"/>
                </a:cubicBezTo>
                <a:cubicBezTo>
                  <a:pt x="252386" y="386120"/>
                  <a:pt x="235812" y="370880"/>
                  <a:pt x="218001" y="357259"/>
                </a:cubicBezTo>
                <a:cubicBezTo>
                  <a:pt x="212191" y="352878"/>
                  <a:pt x="203618" y="349925"/>
                  <a:pt x="196379" y="349925"/>
                </a:cubicBezTo>
                <a:cubicBezTo>
                  <a:pt x="157422" y="349639"/>
                  <a:pt x="118845" y="348401"/>
                  <a:pt x="81793" y="334113"/>
                </a:cubicBezTo>
                <a:cubicBezTo>
                  <a:pt x="42931" y="319159"/>
                  <a:pt x="19500" y="290965"/>
                  <a:pt x="9498" y="250770"/>
                </a:cubicBezTo>
                <a:cubicBezTo>
                  <a:pt x="-3551" y="198382"/>
                  <a:pt x="-3170" y="145709"/>
                  <a:pt x="10737" y="93988"/>
                </a:cubicBezTo>
                <a:cubicBezTo>
                  <a:pt x="21881" y="52459"/>
                  <a:pt x="50170" y="24741"/>
                  <a:pt x="91699" y="13026"/>
                </a:cubicBezTo>
                <a:cubicBezTo>
                  <a:pt x="149040" y="-3262"/>
                  <a:pt x="207618" y="-2976"/>
                  <a:pt x="265816" y="6739"/>
                </a:cubicBezTo>
                <a:cubicBezTo>
                  <a:pt x="312584" y="14454"/>
                  <a:pt x="350970" y="36267"/>
                  <a:pt x="368210" y="83606"/>
                </a:cubicBezTo>
                <a:cubicBezTo>
                  <a:pt x="374401" y="100560"/>
                  <a:pt x="378878" y="118753"/>
                  <a:pt x="380211" y="136755"/>
                </a:cubicBezTo>
                <a:cubicBezTo>
                  <a:pt x="383355" y="176951"/>
                  <a:pt x="383831" y="217337"/>
                  <a:pt x="371925" y="256675"/>
                </a:cubicBezTo>
                <a:cubicBezTo>
                  <a:pt x="361066" y="292680"/>
                  <a:pt x="338968" y="318588"/>
                  <a:pt x="303916" y="333066"/>
                </a:cubicBezTo>
                <a:cubicBezTo>
                  <a:pt x="298106" y="335447"/>
                  <a:pt x="292296" y="337923"/>
                  <a:pt x="283818" y="341448"/>
                </a:cubicBezTo>
                <a:close/>
                <a:moveTo>
                  <a:pt x="315060" y="179904"/>
                </a:moveTo>
                <a:cubicBezTo>
                  <a:pt x="313727" y="159425"/>
                  <a:pt x="312965" y="143137"/>
                  <a:pt x="311536" y="126945"/>
                </a:cubicBezTo>
                <a:cubicBezTo>
                  <a:pt x="307345" y="77796"/>
                  <a:pt x="282580" y="51697"/>
                  <a:pt x="233526" y="48363"/>
                </a:cubicBezTo>
                <a:cubicBezTo>
                  <a:pt x="202570" y="46268"/>
                  <a:pt x="171042" y="45696"/>
                  <a:pt x="140372" y="49221"/>
                </a:cubicBezTo>
                <a:cubicBezTo>
                  <a:pt x="109320" y="52840"/>
                  <a:pt x="84936" y="66461"/>
                  <a:pt x="76650" y="102084"/>
                </a:cubicBezTo>
                <a:cubicBezTo>
                  <a:pt x="72363" y="120753"/>
                  <a:pt x="68839" y="140280"/>
                  <a:pt x="69125" y="159330"/>
                </a:cubicBezTo>
                <a:cubicBezTo>
                  <a:pt x="69506" y="189143"/>
                  <a:pt x="70554" y="219528"/>
                  <a:pt x="76554" y="248579"/>
                </a:cubicBezTo>
                <a:cubicBezTo>
                  <a:pt x="83508" y="282488"/>
                  <a:pt x="104844" y="297633"/>
                  <a:pt x="141229" y="301538"/>
                </a:cubicBezTo>
                <a:cubicBezTo>
                  <a:pt x="173043" y="305062"/>
                  <a:pt x="205713" y="304300"/>
                  <a:pt x="237813" y="302014"/>
                </a:cubicBezTo>
                <a:cubicBezTo>
                  <a:pt x="277722" y="299061"/>
                  <a:pt x="304392" y="278011"/>
                  <a:pt x="309726" y="234577"/>
                </a:cubicBezTo>
                <a:cubicBezTo>
                  <a:pt x="312108" y="215051"/>
                  <a:pt x="313632" y="195429"/>
                  <a:pt x="315060" y="179713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0AC4D508-7BBB-4F9B-BE50-7391A60A0FF1}"/>
              </a:ext>
            </a:extLst>
          </p:cNvPr>
          <p:cNvSpPr/>
          <p:nvPr userDrawn="1"/>
        </p:nvSpPr>
        <p:spPr>
          <a:xfrm>
            <a:off x="11116779" y="6554117"/>
            <a:ext cx="70838" cy="60180"/>
          </a:xfrm>
          <a:custGeom>
            <a:avLst/>
            <a:gdLst>
              <a:gd name="connsiteX0" fmla="*/ 51340 w 379190"/>
              <a:gd name="connsiteY0" fmla="*/ 322135 h 322135"/>
              <a:gd name="connsiteX1" fmla="*/ 86106 w 379190"/>
              <a:gd name="connsiteY1" fmla="*/ 233553 h 322135"/>
              <a:gd name="connsiteX2" fmla="*/ 277177 w 379190"/>
              <a:gd name="connsiteY2" fmla="*/ 233553 h 322135"/>
              <a:gd name="connsiteX3" fmla="*/ 314420 w 379190"/>
              <a:gd name="connsiteY3" fmla="*/ 322135 h 322135"/>
              <a:gd name="connsiteX4" fmla="*/ 379190 w 379190"/>
              <a:gd name="connsiteY4" fmla="*/ 322135 h 322135"/>
              <a:gd name="connsiteX5" fmla="*/ 253270 w 379190"/>
              <a:gd name="connsiteY5" fmla="*/ 0 h 322135"/>
              <a:gd name="connsiteX6" fmla="*/ 124301 w 379190"/>
              <a:gd name="connsiteY6" fmla="*/ 0 h 322135"/>
              <a:gd name="connsiteX7" fmla="*/ 0 w 379190"/>
              <a:gd name="connsiteY7" fmla="*/ 322135 h 322135"/>
              <a:gd name="connsiteX8" fmla="*/ 51340 w 379190"/>
              <a:gd name="connsiteY8" fmla="*/ 322135 h 322135"/>
              <a:gd name="connsiteX9" fmla="*/ 157067 w 379190"/>
              <a:gd name="connsiteY9" fmla="*/ 47149 h 322135"/>
              <a:gd name="connsiteX10" fmla="*/ 205645 w 379190"/>
              <a:gd name="connsiteY10" fmla="*/ 47149 h 322135"/>
              <a:gd name="connsiteX11" fmla="*/ 259175 w 379190"/>
              <a:gd name="connsiteY11" fmla="*/ 189357 h 322135"/>
              <a:gd name="connsiteX12" fmla="*/ 104204 w 379190"/>
              <a:gd name="connsiteY12" fmla="*/ 189357 h 322135"/>
              <a:gd name="connsiteX13" fmla="*/ 157067 w 379190"/>
              <a:gd name="connsiteY13" fmla="*/ 47149 h 32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379190" h="322135">
                <a:moveTo>
                  <a:pt x="51340" y="322135"/>
                </a:moveTo>
                <a:lnTo>
                  <a:pt x="86106" y="233553"/>
                </a:lnTo>
                <a:lnTo>
                  <a:pt x="277177" y="233553"/>
                </a:lnTo>
                <a:lnTo>
                  <a:pt x="314420" y="322135"/>
                </a:lnTo>
                <a:lnTo>
                  <a:pt x="379190" y="322135"/>
                </a:lnTo>
                <a:lnTo>
                  <a:pt x="253270" y="0"/>
                </a:lnTo>
                <a:lnTo>
                  <a:pt x="124301" y="0"/>
                </a:lnTo>
                <a:lnTo>
                  <a:pt x="0" y="322135"/>
                </a:lnTo>
                <a:lnTo>
                  <a:pt x="51340" y="322135"/>
                </a:lnTo>
                <a:close/>
                <a:moveTo>
                  <a:pt x="157067" y="47149"/>
                </a:moveTo>
                <a:lnTo>
                  <a:pt x="205645" y="47149"/>
                </a:lnTo>
                <a:lnTo>
                  <a:pt x="259175" y="189357"/>
                </a:lnTo>
                <a:lnTo>
                  <a:pt x="104204" y="189357"/>
                </a:lnTo>
                <a:lnTo>
                  <a:pt x="157067" y="47149"/>
                </a:ln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C1A82DE5-97CA-4104-B6D4-9F8EC6E0D86B}"/>
              </a:ext>
            </a:extLst>
          </p:cNvPr>
          <p:cNvSpPr/>
          <p:nvPr userDrawn="1"/>
        </p:nvSpPr>
        <p:spPr>
          <a:xfrm>
            <a:off x="11041312" y="6550469"/>
            <a:ext cx="63118" cy="64984"/>
          </a:xfrm>
          <a:custGeom>
            <a:avLst/>
            <a:gdLst>
              <a:gd name="connsiteX0" fmla="*/ 120884 w 337863"/>
              <a:gd name="connsiteY0" fmla="*/ 55151 h 347855"/>
              <a:gd name="connsiteX1" fmla="*/ 185940 w 337863"/>
              <a:gd name="connsiteY1" fmla="*/ 45817 h 347855"/>
              <a:gd name="connsiteX2" fmla="*/ 254234 w 337863"/>
              <a:gd name="connsiteY2" fmla="*/ 49912 h 347855"/>
              <a:gd name="connsiteX3" fmla="*/ 316909 w 337863"/>
              <a:gd name="connsiteY3" fmla="*/ 64200 h 347855"/>
              <a:gd name="connsiteX4" fmla="*/ 320719 w 337863"/>
              <a:gd name="connsiteY4" fmla="*/ 65343 h 347855"/>
              <a:gd name="connsiteX5" fmla="*/ 337864 w 337863"/>
              <a:gd name="connsiteY5" fmla="*/ 71820 h 347855"/>
              <a:gd name="connsiteX6" fmla="*/ 337864 w 337863"/>
              <a:gd name="connsiteY6" fmla="*/ 14098 h 347855"/>
              <a:gd name="connsiteX7" fmla="*/ 324243 w 337863"/>
              <a:gd name="connsiteY7" fmla="*/ 12479 h 347855"/>
              <a:gd name="connsiteX8" fmla="*/ 320719 w 337863"/>
              <a:gd name="connsiteY8" fmla="*/ 11908 h 347855"/>
              <a:gd name="connsiteX9" fmla="*/ 256330 w 337863"/>
              <a:gd name="connsiteY9" fmla="*/ 3716 h 347855"/>
              <a:gd name="connsiteX10" fmla="*/ 91071 w 337863"/>
              <a:gd name="connsiteY10" fmla="*/ 12193 h 347855"/>
              <a:gd name="connsiteX11" fmla="*/ 6870 w 337863"/>
              <a:gd name="connsiteY11" fmla="*/ 104776 h 347855"/>
              <a:gd name="connsiteX12" fmla="*/ 6489 w 337863"/>
              <a:gd name="connsiteY12" fmla="*/ 246508 h 347855"/>
              <a:gd name="connsiteX13" fmla="*/ 59257 w 337863"/>
              <a:gd name="connsiteY13" fmla="*/ 326518 h 347855"/>
              <a:gd name="connsiteX14" fmla="*/ 150412 w 337863"/>
              <a:gd name="connsiteY14" fmla="*/ 347759 h 347855"/>
              <a:gd name="connsiteX15" fmla="*/ 302907 w 337863"/>
              <a:gd name="connsiteY15" fmla="*/ 343663 h 347855"/>
              <a:gd name="connsiteX16" fmla="*/ 329767 w 337863"/>
              <a:gd name="connsiteY16" fmla="*/ 339568 h 347855"/>
              <a:gd name="connsiteX17" fmla="*/ 337483 w 337863"/>
              <a:gd name="connsiteY17" fmla="*/ 329566 h 347855"/>
              <a:gd name="connsiteX18" fmla="*/ 337483 w 337863"/>
              <a:gd name="connsiteY18" fmla="*/ 329376 h 347855"/>
              <a:gd name="connsiteX19" fmla="*/ 337864 w 337863"/>
              <a:gd name="connsiteY19" fmla="*/ 329566 h 347855"/>
              <a:gd name="connsiteX20" fmla="*/ 337864 w 337863"/>
              <a:gd name="connsiteY20" fmla="*/ 208123 h 347855"/>
              <a:gd name="connsiteX21" fmla="*/ 187083 w 337863"/>
              <a:gd name="connsiteY21" fmla="*/ 208123 h 347855"/>
              <a:gd name="connsiteX22" fmla="*/ 172700 w 337863"/>
              <a:gd name="connsiteY22" fmla="*/ 250318 h 347855"/>
              <a:gd name="connsiteX23" fmla="*/ 189083 w 337863"/>
              <a:gd name="connsiteY23" fmla="*/ 250318 h 347855"/>
              <a:gd name="connsiteX24" fmla="*/ 256901 w 337863"/>
              <a:gd name="connsiteY24" fmla="*/ 250318 h 347855"/>
              <a:gd name="connsiteX25" fmla="*/ 276713 w 337863"/>
              <a:gd name="connsiteY25" fmla="*/ 250318 h 347855"/>
              <a:gd name="connsiteX26" fmla="*/ 276713 w 337863"/>
              <a:gd name="connsiteY26" fmla="*/ 300420 h 347855"/>
              <a:gd name="connsiteX27" fmla="*/ 269760 w 337863"/>
              <a:gd name="connsiteY27" fmla="*/ 302515 h 347855"/>
              <a:gd name="connsiteX28" fmla="*/ 141172 w 337863"/>
              <a:gd name="connsiteY28" fmla="*/ 302325 h 347855"/>
              <a:gd name="connsiteX29" fmla="*/ 73069 w 337863"/>
              <a:gd name="connsiteY29" fmla="*/ 241079 h 347855"/>
              <a:gd name="connsiteX30" fmla="*/ 73831 w 337863"/>
              <a:gd name="connsiteY30" fmla="*/ 107348 h 347855"/>
              <a:gd name="connsiteX31" fmla="*/ 120789 w 337863"/>
              <a:gd name="connsiteY31" fmla="*/ 55056 h 347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37863" h="347855">
                <a:moveTo>
                  <a:pt x="120884" y="55151"/>
                </a:moveTo>
                <a:cubicBezTo>
                  <a:pt x="142125" y="50103"/>
                  <a:pt x="164223" y="46293"/>
                  <a:pt x="185940" y="45817"/>
                </a:cubicBezTo>
                <a:cubicBezTo>
                  <a:pt x="208895" y="45340"/>
                  <a:pt x="231755" y="46674"/>
                  <a:pt x="254234" y="49912"/>
                </a:cubicBezTo>
                <a:cubicBezTo>
                  <a:pt x="269569" y="52675"/>
                  <a:pt x="296049" y="58009"/>
                  <a:pt x="316909" y="64200"/>
                </a:cubicBezTo>
                <a:cubicBezTo>
                  <a:pt x="318147" y="64581"/>
                  <a:pt x="319480" y="64962"/>
                  <a:pt x="320719" y="65343"/>
                </a:cubicBezTo>
                <a:cubicBezTo>
                  <a:pt x="327386" y="67438"/>
                  <a:pt x="333387" y="69629"/>
                  <a:pt x="337864" y="71820"/>
                </a:cubicBezTo>
                <a:lnTo>
                  <a:pt x="337864" y="14098"/>
                </a:lnTo>
                <a:lnTo>
                  <a:pt x="324243" y="12479"/>
                </a:lnTo>
                <a:cubicBezTo>
                  <a:pt x="323195" y="12289"/>
                  <a:pt x="321957" y="12098"/>
                  <a:pt x="320719" y="11908"/>
                </a:cubicBezTo>
                <a:cubicBezTo>
                  <a:pt x="299192" y="9717"/>
                  <a:pt x="277856" y="5716"/>
                  <a:pt x="256330" y="3716"/>
                </a:cubicBezTo>
                <a:cubicBezTo>
                  <a:pt x="200894" y="-1427"/>
                  <a:pt x="145459" y="-3332"/>
                  <a:pt x="91071" y="12193"/>
                </a:cubicBezTo>
                <a:cubicBezTo>
                  <a:pt x="43922" y="25719"/>
                  <a:pt x="16204" y="57818"/>
                  <a:pt x="6870" y="104776"/>
                </a:cubicBezTo>
                <a:cubicBezTo>
                  <a:pt x="-2369" y="151735"/>
                  <a:pt x="-2084" y="199360"/>
                  <a:pt x="6489" y="246508"/>
                </a:cubicBezTo>
                <a:cubicBezTo>
                  <a:pt x="12680" y="280322"/>
                  <a:pt x="27825" y="308707"/>
                  <a:pt x="59257" y="326518"/>
                </a:cubicBezTo>
                <a:cubicBezTo>
                  <a:pt x="87737" y="342616"/>
                  <a:pt x="119074" y="347378"/>
                  <a:pt x="150412" y="347759"/>
                </a:cubicBezTo>
                <a:cubicBezTo>
                  <a:pt x="201180" y="348426"/>
                  <a:pt x="252043" y="345473"/>
                  <a:pt x="302907" y="343663"/>
                </a:cubicBezTo>
                <a:cubicBezTo>
                  <a:pt x="311956" y="343378"/>
                  <a:pt x="321100" y="342044"/>
                  <a:pt x="329767" y="339568"/>
                </a:cubicBezTo>
                <a:cubicBezTo>
                  <a:pt x="333101" y="338615"/>
                  <a:pt x="337387" y="333091"/>
                  <a:pt x="337483" y="329566"/>
                </a:cubicBezTo>
                <a:lnTo>
                  <a:pt x="337483" y="329376"/>
                </a:lnTo>
                <a:lnTo>
                  <a:pt x="337864" y="329566"/>
                </a:lnTo>
                <a:lnTo>
                  <a:pt x="337864" y="208123"/>
                </a:lnTo>
                <a:lnTo>
                  <a:pt x="187083" y="208123"/>
                </a:lnTo>
                <a:lnTo>
                  <a:pt x="172700" y="250318"/>
                </a:lnTo>
                <a:cubicBezTo>
                  <a:pt x="180034" y="250318"/>
                  <a:pt x="184511" y="250318"/>
                  <a:pt x="189083" y="250318"/>
                </a:cubicBezTo>
                <a:cubicBezTo>
                  <a:pt x="211657" y="250318"/>
                  <a:pt x="234327" y="250414"/>
                  <a:pt x="256901" y="250318"/>
                </a:cubicBezTo>
                <a:lnTo>
                  <a:pt x="276713" y="250318"/>
                </a:lnTo>
                <a:lnTo>
                  <a:pt x="276713" y="300420"/>
                </a:lnTo>
                <a:cubicBezTo>
                  <a:pt x="275094" y="301563"/>
                  <a:pt x="272903" y="302325"/>
                  <a:pt x="269760" y="302515"/>
                </a:cubicBezTo>
                <a:cubicBezTo>
                  <a:pt x="226897" y="305563"/>
                  <a:pt x="184130" y="307183"/>
                  <a:pt x="141172" y="302325"/>
                </a:cubicBezTo>
                <a:cubicBezTo>
                  <a:pt x="104501" y="298134"/>
                  <a:pt x="79546" y="277560"/>
                  <a:pt x="73069" y="241079"/>
                </a:cubicBezTo>
                <a:cubicBezTo>
                  <a:pt x="65163" y="196502"/>
                  <a:pt x="65068" y="151639"/>
                  <a:pt x="73831" y="107348"/>
                </a:cubicBezTo>
                <a:cubicBezTo>
                  <a:pt x="78879" y="81631"/>
                  <a:pt x="94024" y="61438"/>
                  <a:pt x="120789" y="55056"/>
                </a:cubicBezTo>
                <a:close/>
              </a:path>
            </a:pathLst>
          </a:custGeom>
          <a:solidFill>
            <a:schemeClr val="tx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ru-RU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D1A02E0-E39F-4334-804D-E709733B07BB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80C22906-5C54-40CA-9C78-54822CD25FF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defRPr/>
            </a:pPr>
            <a:fld id="{4ABDCABE-3F10-B64C-92F1-862014417034}" type="slidenum">
              <a:rPr lang="ru-RU" sz="800" b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defRPr/>
              </a:pPr>
              <a:t>‹#›</a:t>
            </a:fld>
            <a:endParaRPr lang="ru-RU" sz="800" b="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976356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0324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7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ackground">
            <a:extLst>
              <a:ext uri="{FF2B5EF4-FFF2-40B4-BE49-F238E27FC236}">
                <a16:creationId xmlns:a16="http://schemas.microsoft.com/office/drawing/2014/main" id="{9E9034DA-804D-41F2-924D-E2A7DBC198CE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-1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chemeClr val="accent3"/>
              </a:gs>
              <a:gs pos="100000">
                <a:srgbClr val="3D4AFB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0CD0DC57-AB61-4DA1-ABF1-3C6AC8499297}"/>
              </a:ext>
            </a:extLst>
          </p:cNvPr>
          <p:cNvGrpSpPr>
            <a:grpSpLocks/>
          </p:cNvGrpSpPr>
          <p:nvPr userDrawn="1"/>
        </p:nvGrpSpPr>
        <p:grpSpPr>
          <a:xfrm>
            <a:off x="4169698" y="2965399"/>
            <a:ext cx="3852604" cy="927202"/>
            <a:chOff x="4078575" y="896125"/>
            <a:chExt cx="2163446" cy="520674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A99A0FFB-D958-4A2F-A858-CF1B4E0FD26F}"/>
                </a:ext>
              </a:extLst>
            </p:cNvPr>
            <p:cNvGrpSpPr/>
            <p:nvPr userDrawn="1"/>
          </p:nvGrpSpPr>
          <p:grpSpPr>
            <a:xfrm>
              <a:off x="4078575" y="896125"/>
              <a:ext cx="223314" cy="520674"/>
              <a:chOff x="4078575" y="896125"/>
              <a:chExt cx="223314" cy="520674"/>
            </a:xfrm>
          </p:grpSpPr>
          <p:sp>
            <p:nvSpPr>
              <p:cNvPr id="62" name="Freeform: Shape 61">
                <a:extLst>
                  <a:ext uri="{FF2B5EF4-FFF2-40B4-BE49-F238E27FC236}">
                    <a16:creationId xmlns:a16="http://schemas.microsoft.com/office/drawing/2014/main" id="{086E54AA-AAA2-498D-B589-CEFA0BD222CC}"/>
                  </a:ext>
                </a:extLst>
              </p:cNvPr>
              <p:cNvSpPr/>
              <p:nvPr/>
            </p:nvSpPr>
            <p:spPr>
              <a:xfrm>
                <a:off x="4078575" y="1161360"/>
                <a:ext cx="155273" cy="255439"/>
              </a:xfrm>
              <a:custGeom>
                <a:avLst/>
                <a:gdLst>
                  <a:gd name="connsiteX0" fmla="*/ 80216 w 280812"/>
                  <a:gd name="connsiteY0" fmla="*/ 1143 h 461962"/>
                  <a:gd name="connsiteX1" fmla="*/ 83645 w 280812"/>
                  <a:gd name="connsiteY1" fmla="*/ 0 h 461962"/>
                  <a:gd name="connsiteX2" fmla="*/ 101552 w 280812"/>
                  <a:gd name="connsiteY2" fmla="*/ 0 h 461962"/>
                  <a:gd name="connsiteX3" fmla="*/ 211185 w 280812"/>
                  <a:gd name="connsiteY3" fmla="*/ 190119 h 461962"/>
                  <a:gd name="connsiteX4" fmla="*/ 263667 w 280812"/>
                  <a:gd name="connsiteY4" fmla="*/ 259652 h 461962"/>
                  <a:gd name="connsiteX5" fmla="*/ 263667 w 280812"/>
                  <a:gd name="connsiteY5" fmla="*/ 358616 h 461962"/>
                  <a:gd name="connsiteX6" fmla="*/ 187182 w 280812"/>
                  <a:gd name="connsiteY6" fmla="*/ 461963 h 461962"/>
                  <a:gd name="connsiteX7" fmla="*/ 169751 w 280812"/>
                  <a:gd name="connsiteY7" fmla="*/ 368046 h 461962"/>
                  <a:gd name="connsiteX8" fmla="*/ 19827 w 280812"/>
                  <a:gd name="connsiteY8" fmla="*/ 175165 h 461962"/>
                  <a:gd name="connsiteX9" fmla="*/ 15446 w 280812"/>
                  <a:gd name="connsiteY9" fmla="*/ 82010 h 461962"/>
                  <a:gd name="connsiteX10" fmla="*/ 65071 w 280812"/>
                  <a:gd name="connsiteY10" fmla="*/ 12192 h 461962"/>
                  <a:gd name="connsiteX11" fmla="*/ 80216 w 280812"/>
                  <a:gd name="connsiteY11" fmla="*/ 1143 h 4619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80812" h="461962">
                    <a:moveTo>
                      <a:pt x="80216" y="1143"/>
                    </a:moveTo>
                    <a:lnTo>
                      <a:pt x="83645" y="0"/>
                    </a:lnTo>
                    <a:lnTo>
                      <a:pt x="101552" y="0"/>
                    </a:lnTo>
                    <a:lnTo>
                      <a:pt x="211185" y="190119"/>
                    </a:lnTo>
                    <a:lnTo>
                      <a:pt x="263667" y="259652"/>
                    </a:lnTo>
                    <a:cubicBezTo>
                      <a:pt x="263667" y="259652"/>
                      <a:pt x="302244" y="305562"/>
                      <a:pt x="263667" y="358616"/>
                    </a:cubicBezTo>
                    <a:lnTo>
                      <a:pt x="187182" y="461963"/>
                    </a:lnTo>
                    <a:cubicBezTo>
                      <a:pt x="187182" y="461963"/>
                      <a:pt x="207565" y="419005"/>
                      <a:pt x="169751" y="368046"/>
                    </a:cubicBezTo>
                    <a:lnTo>
                      <a:pt x="19827" y="175165"/>
                    </a:lnTo>
                    <a:cubicBezTo>
                      <a:pt x="19827" y="175165"/>
                      <a:pt x="-21702" y="123444"/>
                      <a:pt x="15446" y="82010"/>
                    </a:cubicBezTo>
                    <a:lnTo>
                      <a:pt x="65071" y="12192"/>
                    </a:lnTo>
                    <a:cubicBezTo>
                      <a:pt x="68786" y="6953"/>
                      <a:pt x="74120" y="3048"/>
                      <a:pt x="80216" y="1143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/>
                <a:endParaRPr lang="ru-RU"/>
              </a:p>
            </p:txBody>
          </p:sp>
          <p:sp>
            <p:nvSpPr>
              <p:cNvPr id="63" name="Freeform: Shape 62">
                <a:extLst>
                  <a:ext uri="{FF2B5EF4-FFF2-40B4-BE49-F238E27FC236}">
                    <a16:creationId xmlns:a16="http://schemas.microsoft.com/office/drawing/2014/main" id="{58E7E6AA-1214-4D8C-B5DB-F7A5BEFA2CD1}"/>
                  </a:ext>
                </a:extLst>
              </p:cNvPr>
              <p:cNvSpPr/>
              <p:nvPr/>
            </p:nvSpPr>
            <p:spPr>
              <a:xfrm>
                <a:off x="4088784" y="896125"/>
                <a:ext cx="213105" cy="367147"/>
              </a:xfrm>
              <a:custGeom>
                <a:avLst/>
                <a:gdLst>
                  <a:gd name="connsiteX0" fmla="*/ 151288 w 385402"/>
                  <a:gd name="connsiteY0" fmla="*/ 95 h 663987"/>
                  <a:gd name="connsiteX1" fmla="*/ 29749 w 385402"/>
                  <a:gd name="connsiteY1" fmla="*/ 168593 h 663987"/>
                  <a:gd name="connsiteX2" fmla="*/ 126 w 385402"/>
                  <a:gd name="connsiteY2" fmla="*/ 251269 h 663987"/>
                  <a:gd name="connsiteX3" fmla="*/ 45370 w 385402"/>
                  <a:gd name="connsiteY3" fmla="*/ 372332 h 663987"/>
                  <a:gd name="connsiteX4" fmla="*/ 82898 w 385402"/>
                  <a:gd name="connsiteY4" fmla="*/ 417481 h 663987"/>
                  <a:gd name="connsiteX5" fmla="*/ 272065 w 385402"/>
                  <a:gd name="connsiteY5" fmla="*/ 663988 h 663987"/>
                  <a:gd name="connsiteX6" fmla="*/ 360266 w 385402"/>
                  <a:gd name="connsiteY6" fmla="*/ 539972 h 663987"/>
                  <a:gd name="connsiteX7" fmla="*/ 383317 w 385402"/>
                  <a:gd name="connsiteY7" fmla="*/ 439484 h 663987"/>
                  <a:gd name="connsiteX8" fmla="*/ 344931 w 385402"/>
                  <a:gd name="connsiteY8" fmla="*/ 356711 h 663987"/>
                  <a:gd name="connsiteX9" fmla="*/ 213867 w 385402"/>
                  <a:gd name="connsiteY9" fmla="*/ 189262 h 663987"/>
                  <a:gd name="connsiteX10" fmla="*/ 151288 w 385402"/>
                  <a:gd name="connsiteY10" fmla="*/ 0 h 6639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385402" h="663987">
                    <a:moveTo>
                      <a:pt x="151288" y="95"/>
                    </a:moveTo>
                    <a:lnTo>
                      <a:pt x="29749" y="168593"/>
                    </a:lnTo>
                    <a:cubicBezTo>
                      <a:pt x="12318" y="192786"/>
                      <a:pt x="1269" y="221456"/>
                      <a:pt x="126" y="251269"/>
                    </a:cubicBezTo>
                    <a:cubicBezTo>
                      <a:pt x="-1207" y="284893"/>
                      <a:pt x="7651" y="328327"/>
                      <a:pt x="45370" y="372332"/>
                    </a:cubicBezTo>
                    <a:cubicBezTo>
                      <a:pt x="58133" y="387191"/>
                      <a:pt x="70992" y="401955"/>
                      <a:pt x="82898" y="417481"/>
                    </a:cubicBezTo>
                    <a:lnTo>
                      <a:pt x="272065" y="663988"/>
                    </a:lnTo>
                    <a:lnTo>
                      <a:pt x="360266" y="539972"/>
                    </a:lnTo>
                    <a:cubicBezTo>
                      <a:pt x="380936" y="510826"/>
                      <a:pt x="389794" y="474631"/>
                      <a:pt x="383317" y="439484"/>
                    </a:cubicBezTo>
                    <a:cubicBezTo>
                      <a:pt x="378840" y="415481"/>
                      <a:pt x="367886" y="387287"/>
                      <a:pt x="344931" y="356711"/>
                    </a:cubicBezTo>
                    <a:lnTo>
                      <a:pt x="213867" y="189262"/>
                    </a:lnTo>
                    <a:cubicBezTo>
                      <a:pt x="213867" y="189262"/>
                      <a:pt x="136715" y="104775"/>
                      <a:pt x="151288" y="0"/>
                    </a:cubicBez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  <p:sp>
            <p:nvSpPr>
              <p:cNvPr id="64" name="Freeform: Shape 63">
                <a:extLst>
                  <a:ext uri="{FF2B5EF4-FFF2-40B4-BE49-F238E27FC236}">
                    <a16:creationId xmlns:a16="http://schemas.microsoft.com/office/drawing/2014/main" id="{CB43BA92-05B6-49E9-A8AA-9D3E1D5053A8}"/>
                  </a:ext>
                </a:extLst>
              </p:cNvPr>
              <p:cNvSpPr/>
              <p:nvPr/>
            </p:nvSpPr>
            <p:spPr>
              <a:xfrm>
                <a:off x="4120077" y="1161360"/>
                <a:ext cx="118854" cy="106389"/>
              </a:xfrm>
              <a:custGeom>
                <a:avLst/>
                <a:gdLst>
                  <a:gd name="connsiteX0" fmla="*/ 1825 w 214949"/>
                  <a:gd name="connsiteY0" fmla="*/ 13811 h 192405"/>
                  <a:gd name="connsiteX1" fmla="*/ 136128 w 214949"/>
                  <a:gd name="connsiteY1" fmla="*/ 190119 h 192405"/>
                  <a:gd name="connsiteX2" fmla="*/ 206327 w 214949"/>
                  <a:gd name="connsiteY2" fmla="*/ 192405 h 192405"/>
                  <a:gd name="connsiteX3" fmla="*/ 213185 w 214949"/>
                  <a:gd name="connsiteY3" fmla="*/ 178689 h 192405"/>
                  <a:gd name="connsiteX4" fmla="*/ 76025 w 214949"/>
                  <a:gd name="connsiteY4" fmla="*/ 0 h 192405"/>
                  <a:gd name="connsiteX5" fmla="*/ 8588 w 214949"/>
                  <a:gd name="connsiteY5" fmla="*/ 0 h 192405"/>
                  <a:gd name="connsiteX6" fmla="*/ 1825 w 214949"/>
                  <a:gd name="connsiteY6" fmla="*/ 13811 h 1924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14949" h="192405">
                    <a:moveTo>
                      <a:pt x="1825" y="13811"/>
                    </a:moveTo>
                    <a:lnTo>
                      <a:pt x="136128" y="190119"/>
                    </a:lnTo>
                    <a:lnTo>
                      <a:pt x="206327" y="192405"/>
                    </a:lnTo>
                    <a:cubicBezTo>
                      <a:pt x="213471" y="192405"/>
                      <a:pt x="217471" y="184309"/>
                      <a:pt x="213185" y="178689"/>
                    </a:cubicBezTo>
                    <a:lnTo>
                      <a:pt x="76025" y="0"/>
                    </a:lnTo>
                    <a:lnTo>
                      <a:pt x="8588" y="0"/>
                    </a:lnTo>
                    <a:cubicBezTo>
                      <a:pt x="1444" y="0"/>
                      <a:pt x="-2556" y="8192"/>
                      <a:pt x="1825" y="13811"/>
                    </a:cubicBezTo>
                    <a:close/>
                  </a:path>
                </a:pathLst>
              </a:custGeom>
              <a:solidFill>
                <a:srgbClr val="90E7F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lvl="0"/>
                <a:endParaRPr lang="ru-RU"/>
              </a:p>
            </p:txBody>
          </p:sp>
        </p:grp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11F3D1E-FBA4-4129-82A1-FAC342FA9AF3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6E6CCFF-A1D3-45AC-8D23-028F3285F96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2A0DD921-4C40-47A1-AFBC-D154278A8A3E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BF83517E-8E4D-4D05-A546-F56532A026C6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3DE52C19-5820-412E-9C30-FBFF6B453BB0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FC0DB7C1-AC11-4850-8136-F0074CA0460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F6DB10F-FDEA-45BF-AA25-1B7A9FEB2017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636D4410-6E89-47C3-9D70-5E61059CA26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B3C6BA94-3C43-4150-BA71-B6902341A376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A250A54-6E7C-4D1F-A9E3-5B579D1478C7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D9BF17D6-C4FA-4459-B3AD-831FF700ACF1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6D72A9C-022A-47A2-98DC-7C67A0FC97AA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5E5B0D1-1569-4A0A-94CD-EDD3165A4E01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F03C653-02D2-44C1-B38C-935CA5A7E66F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CB4C33E-BDBF-4813-A9D9-F9259EE4499A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51F2A80C-D77F-4CE8-8782-158639B295E6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9250D1DC-D1A7-40C9-9D9B-C4D1B8AE64E9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F8CC980D-8CAC-4A4F-9CBD-D86E63360E91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7202353A-D792-48B6-9271-966659DE64AC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B387BA0-F659-4B1B-86C6-D9DA0D3CD348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7A5F3BB1-7884-4972-8C6C-A605C2441227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2C85C8F-EAB9-4AF1-937C-4A6DD6386BA6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1F959336-A01A-4F7F-92EB-6DC3CE936E1E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solidFill>
              <a:schemeClr val="tx1"/>
            </a:solidFill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C8C9490-451B-437E-8D43-527964507AB0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13E270AE-A911-4D05-8C81-BA100887D240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117" name="Freeform: Shape 116">
                <a:extLst>
                  <a:ext uri="{FF2B5EF4-FFF2-40B4-BE49-F238E27FC236}">
                    <a16:creationId xmlns:a16="http://schemas.microsoft.com/office/drawing/2014/main" id="{566288D3-B058-4FB3-BB48-F46C6C8E9CF9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8" name="Freeform: Shape 117">
                <a:extLst>
                  <a:ext uri="{FF2B5EF4-FFF2-40B4-BE49-F238E27FC236}">
                    <a16:creationId xmlns:a16="http://schemas.microsoft.com/office/drawing/2014/main" id="{98D91ACC-58C1-448D-B18A-5E9ECE60D5E9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1ECE3686-C8ED-4B0F-8B8C-23D926B397AB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8BE8A581-6F16-430A-BE75-17D4EFB5D8ED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04B4EDE7-DC60-4B81-95A8-2EAD87101D33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FEA92050-D2B8-4962-A6C5-CAB776FFA3D8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871EB760-322B-4902-BA46-89D63292B5DB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DA3602C3-0E07-448C-A30F-CCB9E6FFC960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91CF76F9-B8CA-4462-84A6-737852A93238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5B1F69F8-FE6A-4773-B95D-80028FF8993C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1971571D-28F3-4C15-98A1-DE9B95C1A34A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7C3B3D7F-70B1-4648-802E-EC595E3D2497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B1EFA8D-1C21-4A27-807A-B5B241F5D627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0E0F854F-7953-4B4B-9B2C-1160AB96E971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7E30F183-E2DC-4A46-AC23-E75DC550A64F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AA663D41-1361-4039-9600-6EECC9422CEF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12649EF8-FEE3-4BC4-BA83-B1448502EF20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4" name="Freeform: Shape 133">
                <a:extLst>
                  <a:ext uri="{FF2B5EF4-FFF2-40B4-BE49-F238E27FC236}">
                    <a16:creationId xmlns:a16="http://schemas.microsoft.com/office/drawing/2014/main" id="{9F85B5C8-0D07-47D0-BE51-FD5947DCF9C7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5" name="Freeform: Shape 134">
                <a:extLst>
                  <a:ext uri="{FF2B5EF4-FFF2-40B4-BE49-F238E27FC236}">
                    <a16:creationId xmlns:a16="http://schemas.microsoft.com/office/drawing/2014/main" id="{3A842912-14E6-4D4D-8EA0-61CBD019BC50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6" name="Freeform: Shape 135">
                <a:extLst>
                  <a:ext uri="{FF2B5EF4-FFF2-40B4-BE49-F238E27FC236}">
                    <a16:creationId xmlns:a16="http://schemas.microsoft.com/office/drawing/2014/main" id="{32B0BE66-927A-4BC7-A183-C308DCDAF79F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7" name="Freeform: Shape 136">
                <a:extLst>
                  <a:ext uri="{FF2B5EF4-FFF2-40B4-BE49-F238E27FC236}">
                    <a16:creationId xmlns:a16="http://schemas.microsoft.com/office/drawing/2014/main" id="{45D19E64-C846-4C02-9DE5-470AC3328CA0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8" name="Freeform: Shape 137">
                <a:extLst>
                  <a:ext uri="{FF2B5EF4-FFF2-40B4-BE49-F238E27FC236}">
                    <a16:creationId xmlns:a16="http://schemas.microsoft.com/office/drawing/2014/main" id="{7EE71304-BCE0-4B44-BDDB-165FB05131D2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39" name="Freeform: Shape 138">
                <a:extLst>
                  <a:ext uri="{FF2B5EF4-FFF2-40B4-BE49-F238E27FC236}">
                    <a16:creationId xmlns:a16="http://schemas.microsoft.com/office/drawing/2014/main" id="{0842D98F-E5CA-498C-8017-5AAF14A37F45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0" name="Freeform: Shape 139">
                <a:extLst>
                  <a:ext uri="{FF2B5EF4-FFF2-40B4-BE49-F238E27FC236}">
                    <a16:creationId xmlns:a16="http://schemas.microsoft.com/office/drawing/2014/main" id="{6CA6C4F8-54EB-459F-BDA3-D926FAA609BB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1" name="Freeform: Shape 140">
                <a:extLst>
                  <a:ext uri="{FF2B5EF4-FFF2-40B4-BE49-F238E27FC236}">
                    <a16:creationId xmlns:a16="http://schemas.microsoft.com/office/drawing/2014/main" id="{A4116B82-6C44-4953-8CB1-5306B39B59D3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2" name="Freeform: Shape 141">
                <a:extLst>
                  <a:ext uri="{FF2B5EF4-FFF2-40B4-BE49-F238E27FC236}">
                    <a16:creationId xmlns:a16="http://schemas.microsoft.com/office/drawing/2014/main" id="{DD22DCBA-5F01-4689-B124-01B410053FD2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3" name="Freeform: Shape 142">
                <a:extLst>
                  <a:ext uri="{FF2B5EF4-FFF2-40B4-BE49-F238E27FC236}">
                    <a16:creationId xmlns:a16="http://schemas.microsoft.com/office/drawing/2014/main" id="{03A5AE63-BEC0-4962-9439-B1CA008945E5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4" name="Freeform: Shape 143">
                <a:extLst>
                  <a:ext uri="{FF2B5EF4-FFF2-40B4-BE49-F238E27FC236}">
                    <a16:creationId xmlns:a16="http://schemas.microsoft.com/office/drawing/2014/main" id="{395031D0-F888-44CC-B565-81DF13A71424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5" name="Freeform: Shape 144">
                <a:extLst>
                  <a:ext uri="{FF2B5EF4-FFF2-40B4-BE49-F238E27FC236}">
                    <a16:creationId xmlns:a16="http://schemas.microsoft.com/office/drawing/2014/main" id="{1FF6D556-96D5-42AC-A5FD-339C1C14E6C0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6" name="Freeform: Shape 145">
                <a:extLst>
                  <a:ext uri="{FF2B5EF4-FFF2-40B4-BE49-F238E27FC236}">
                    <a16:creationId xmlns:a16="http://schemas.microsoft.com/office/drawing/2014/main" id="{80C7B001-4A6E-4926-9F3D-B3C7C795A044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7" name="Freeform: Shape 146">
                <a:extLst>
                  <a:ext uri="{FF2B5EF4-FFF2-40B4-BE49-F238E27FC236}">
                    <a16:creationId xmlns:a16="http://schemas.microsoft.com/office/drawing/2014/main" id="{138B5563-A8DC-40DF-80C8-35D51BA9FEAF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8" name="Freeform: Shape 147">
                <a:extLst>
                  <a:ext uri="{FF2B5EF4-FFF2-40B4-BE49-F238E27FC236}">
                    <a16:creationId xmlns:a16="http://schemas.microsoft.com/office/drawing/2014/main" id="{EC841262-CCAE-4392-8600-FB86C9503E9B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49" name="Freeform: Shape 148">
                <a:extLst>
                  <a:ext uri="{FF2B5EF4-FFF2-40B4-BE49-F238E27FC236}">
                    <a16:creationId xmlns:a16="http://schemas.microsoft.com/office/drawing/2014/main" id="{C0E0710D-97B8-4D39-AEEF-04DDDFC7B57D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0" name="Freeform: Shape 149">
                <a:extLst>
                  <a:ext uri="{FF2B5EF4-FFF2-40B4-BE49-F238E27FC236}">
                    <a16:creationId xmlns:a16="http://schemas.microsoft.com/office/drawing/2014/main" id="{D160925B-5C50-4BE7-A10A-30D44A73471A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16121539-3AA7-4FEC-8167-8D89BAA1054A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14E1A98F-57B8-46A9-8A3E-5821AC1F0724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3" name="Freeform: Shape 152">
                <a:extLst>
                  <a:ext uri="{FF2B5EF4-FFF2-40B4-BE49-F238E27FC236}">
                    <a16:creationId xmlns:a16="http://schemas.microsoft.com/office/drawing/2014/main" id="{BB4C943D-BA0A-45A4-9197-69868589833E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52AE6BCF-5457-4B32-B02E-598EC39506C9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F0F51F6B-4D42-47E0-816F-1B75C227B2A1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94DF1A90-8D6D-4B13-85B7-41D6B4C60386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2334081B-B288-4C4E-AD37-27D3F7058640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8" name="Freeform: Shape 157">
                <a:extLst>
                  <a:ext uri="{FF2B5EF4-FFF2-40B4-BE49-F238E27FC236}">
                    <a16:creationId xmlns:a16="http://schemas.microsoft.com/office/drawing/2014/main" id="{F9856D4E-F5C5-4FC0-8912-4402757A2EA5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59" name="Freeform: Shape 158">
                <a:extLst>
                  <a:ext uri="{FF2B5EF4-FFF2-40B4-BE49-F238E27FC236}">
                    <a16:creationId xmlns:a16="http://schemas.microsoft.com/office/drawing/2014/main" id="{8ED28BB2-51C2-46AA-9E36-A98AFBBF5865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0" name="Freeform: Shape 159">
                <a:extLst>
                  <a:ext uri="{FF2B5EF4-FFF2-40B4-BE49-F238E27FC236}">
                    <a16:creationId xmlns:a16="http://schemas.microsoft.com/office/drawing/2014/main" id="{02416A6D-6E7E-4287-8F60-E9E9044D8791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1" name="Freeform: Shape 160">
                <a:extLst>
                  <a:ext uri="{FF2B5EF4-FFF2-40B4-BE49-F238E27FC236}">
                    <a16:creationId xmlns:a16="http://schemas.microsoft.com/office/drawing/2014/main" id="{2B2DB87E-55ED-46F9-87AB-5A5EA6853FD4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2" name="Freeform: Shape 161">
                <a:extLst>
                  <a:ext uri="{FF2B5EF4-FFF2-40B4-BE49-F238E27FC236}">
                    <a16:creationId xmlns:a16="http://schemas.microsoft.com/office/drawing/2014/main" id="{4E88598A-D9FE-4651-BEEA-5DCED0788E78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3" name="Freeform: Shape 162">
                <a:extLst>
                  <a:ext uri="{FF2B5EF4-FFF2-40B4-BE49-F238E27FC236}">
                    <a16:creationId xmlns:a16="http://schemas.microsoft.com/office/drawing/2014/main" id="{7A0DBE66-8706-44B0-8B75-94137DC4723A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4" name="Freeform: Shape 163">
                <a:extLst>
                  <a:ext uri="{FF2B5EF4-FFF2-40B4-BE49-F238E27FC236}">
                    <a16:creationId xmlns:a16="http://schemas.microsoft.com/office/drawing/2014/main" id="{F3D600AF-D392-422D-8EDF-DE990C62957D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65" name="Freeform: Shape 164">
                <a:extLst>
                  <a:ext uri="{FF2B5EF4-FFF2-40B4-BE49-F238E27FC236}">
                    <a16:creationId xmlns:a16="http://schemas.microsoft.com/office/drawing/2014/main" id="{9786595D-517D-459B-A36A-7A6B0215FC80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75EB1D40-8588-44B2-8C95-BEB2728AC9AA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68" name="Freeform: Shape 67">
                <a:extLst>
                  <a:ext uri="{FF2B5EF4-FFF2-40B4-BE49-F238E27FC236}">
                    <a16:creationId xmlns:a16="http://schemas.microsoft.com/office/drawing/2014/main" id="{80FAEF96-9AB5-45BC-B0FB-14CD4C8DC130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9" name="Freeform: Shape 68">
                <a:extLst>
                  <a:ext uri="{FF2B5EF4-FFF2-40B4-BE49-F238E27FC236}">
                    <a16:creationId xmlns:a16="http://schemas.microsoft.com/office/drawing/2014/main" id="{0472E619-EE59-4CBC-B704-5BFE49240828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0" name="Freeform: Shape 69">
                <a:extLst>
                  <a:ext uri="{FF2B5EF4-FFF2-40B4-BE49-F238E27FC236}">
                    <a16:creationId xmlns:a16="http://schemas.microsoft.com/office/drawing/2014/main" id="{E2355C83-B584-4E3A-9D1A-A705C97872C5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1" name="Freeform: Shape 70">
                <a:extLst>
                  <a:ext uri="{FF2B5EF4-FFF2-40B4-BE49-F238E27FC236}">
                    <a16:creationId xmlns:a16="http://schemas.microsoft.com/office/drawing/2014/main" id="{E2682C2E-2076-4BF2-92B6-BE1608304A5E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2" name="Freeform: Shape 71">
                <a:extLst>
                  <a:ext uri="{FF2B5EF4-FFF2-40B4-BE49-F238E27FC236}">
                    <a16:creationId xmlns:a16="http://schemas.microsoft.com/office/drawing/2014/main" id="{42CF9582-01DC-46BC-9E22-26479A56D759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3" name="Freeform: Shape 72">
                <a:extLst>
                  <a:ext uri="{FF2B5EF4-FFF2-40B4-BE49-F238E27FC236}">
                    <a16:creationId xmlns:a16="http://schemas.microsoft.com/office/drawing/2014/main" id="{BC2A959B-E72F-4E5C-9499-9825D6BBDE1C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4" name="Freeform: Shape 73">
                <a:extLst>
                  <a:ext uri="{FF2B5EF4-FFF2-40B4-BE49-F238E27FC236}">
                    <a16:creationId xmlns:a16="http://schemas.microsoft.com/office/drawing/2014/main" id="{A453B337-2A72-4314-83B5-F2C62A775802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959489B9-597A-4818-86DC-77FB4AAB6440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5E812B59-01A7-4F9D-A4CB-AA40E22B8DEE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AD8230C4-64AF-4233-8F70-3AB5F8C7A5DC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8FDB9085-F410-43E2-9EAE-555AE9EEFA8F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B1A6F9D2-89D5-4063-9313-BFDCA90C9A6E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0261E12B-309E-4F71-9018-7A038F36AA20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D81E9ADB-9D52-4843-9F2A-0F3C9A4B3A43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3B6D7C93-726E-4BAB-9C20-8D81D76F9672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E92E693B-C9B3-4C23-91F6-7E4A4CD95174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16B29BD3-B4C7-4049-AA97-8B529AA6FF2B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599BACE2-53B3-470A-9701-4611B4E75BA3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7EDCD459-1D2F-45DD-80C0-46D0B06AECDD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2B8C475E-9AD0-41C2-86A1-E9792D06BA0C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E5ED50C-179F-4EC1-909F-5635892E03FA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E7589ADA-AD5A-4EE2-91E9-A52ADBBB0B7B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4CD30A2-B0B8-4E22-B693-78C04C6179F4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A102DE2F-3EBA-4003-9590-6B361A811B5A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4BBB4B4B-F707-492E-88BA-17E854EF2939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0ECDCECE-FAF6-4D56-A8A0-A316CDB27F1A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9F9C648D-FD47-4552-B826-AE324CD5D024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395680-8191-4A69-B6FA-63CD0405F71B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77FDA443-CE46-4F16-9DBF-243E51B283A3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8C248434-21FC-4031-8B91-4C128214BC14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93BFC237-4B9D-40F5-9E38-75FF8D553ED1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F36137AF-BBFC-4DD8-89F8-C6B6DF7B5F63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3FA41895-CBAC-44C6-A992-D21FB3E977CA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66FD9D5B-2D38-4BF1-A14A-136CA33887CA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2" name="Freeform: Shape 101">
                <a:extLst>
                  <a:ext uri="{FF2B5EF4-FFF2-40B4-BE49-F238E27FC236}">
                    <a16:creationId xmlns:a16="http://schemas.microsoft.com/office/drawing/2014/main" id="{7C2685C4-FC20-4718-9589-85862643E453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79D60984-7254-4666-8ACF-EF2D90334D7E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0277DEDD-2151-445E-A9EE-DB8A1CF0B8C3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A595BFE4-E9C5-4229-AA84-1BA02D9E04E2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242BEF76-D766-481E-B917-ED7EA6008BE2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C71FD9C8-F2A0-49F4-A04D-89B1F25E94C1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8" name="Freeform: Shape 107">
                <a:extLst>
                  <a:ext uri="{FF2B5EF4-FFF2-40B4-BE49-F238E27FC236}">
                    <a16:creationId xmlns:a16="http://schemas.microsoft.com/office/drawing/2014/main" id="{1C800E29-E045-491C-B021-8D3090D5F680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09" name="Freeform: Shape 108">
                <a:extLst>
                  <a:ext uri="{FF2B5EF4-FFF2-40B4-BE49-F238E27FC236}">
                    <a16:creationId xmlns:a16="http://schemas.microsoft.com/office/drawing/2014/main" id="{508C2272-4DF6-4524-8F85-7E5BC6B219A5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ADB7D7F3-249C-4103-885E-7326700F4FAD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90BF2BF2-D4BE-4237-B1E0-44587A498663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2" name="Freeform: Shape 111">
                <a:extLst>
                  <a:ext uri="{FF2B5EF4-FFF2-40B4-BE49-F238E27FC236}">
                    <a16:creationId xmlns:a16="http://schemas.microsoft.com/office/drawing/2014/main" id="{A9B131AC-3578-458F-B3E4-8326D5C4B649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92CE5763-A1D1-4C83-8070-69DFEB13469D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4" name="Freeform: Shape 113">
                <a:extLst>
                  <a:ext uri="{FF2B5EF4-FFF2-40B4-BE49-F238E27FC236}">
                    <a16:creationId xmlns:a16="http://schemas.microsoft.com/office/drawing/2014/main" id="{5669C9F7-13CC-4DA7-99BB-A05623013086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5" name="Freeform: Shape 114">
                <a:extLst>
                  <a:ext uri="{FF2B5EF4-FFF2-40B4-BE49-F238E27FC236}">
                    <a16:creationId xmlns:a16="http://schemas.microsoft.com/office/drawing/2014/main" id="{815FD8D8-8B24-4537-A008-50C63AC27E7C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116" name="Freeform: Shape 115">
                <a:extLst>
                  <a:ext uri="{FF2B5EF4-FFF2-40B4-BE49-F238E27FC236}">
                    <a16:creationId xmlns:a16="http://schemas.microsoft.com/office/drawing/2014/main" id="{C037535E-CE8B-467F-8BF3-DDAAADCC5B3E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294752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6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322062249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304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5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70771F-0480-42FE-BB78-FE86BD1CCAF5}"/>
              </a:ext>
            </a:extLst>
          </p:cNvPr>
          <p:cNvGrpSpPr/>
          <p:nvPr userDrawn="1"/>
        </p:nvGrpSpPr>
        <p:grpSpPr>
          <a:xfrm>
            <a:off x="552168" y="-1"/>
            <a:ext cx="2968591" cy="6858928"/>
            <a:chOff x="552168" y="-1"/>
            <a:chExt cx="2968591" cy="6858928"/>
          </a:xfrm>
          <a:effectLst/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A56A0DF5-1ED5-4D11-8618-4C04F27E66D7}"/>
                </a:ext>
              </a:extLst>
            </p:cNvPr>
            <p:cNvSpPr/>
            <p:nvPr userDrawn="1"/>
          </p:nvSpPr>
          <p:spPr>
            <a:xfrm>
              <a:off x="552168" y="3489137"/>
              <a:ext cx="2051497" cy="3369790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3DC690D2-7549-45A3-B194-E19223D79BF6}"/>
                </a:ext>
              </a:extLst>
            </p:cNvPr>
            <p:cNvSpPr/>
            <p:nvPr userDrawn="1"/>
          </p:nvSpPr>
          <p:spPr>
            <a:xfrm>
              <a:off x="1118620" y="3489137"/>
              <a:ext cx="1570329" cy="1419791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2405"/>
                <a:gd name="connsiteX1" fmla="*/ 131122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  <a:gd name="connsiteX0" fmla="*/ 1825 w 214949"/>
                <a:gd name="connsiteY0" fmla="*/ 13811 h 194638"/>
                <a:gd name="connsiteX1" fmla="*/ 13202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40160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9256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8352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  <a:gd name="connsiteX0" fmla="*/ 1825 w 214949"/>
                <a:gd name="connsiteY0" fmla="*/ 13811 h 194638"/>
                <a:gd name="connsiteX1" fmla="*/ 136544 w 214949"/>
                <a:gd name="connsiteY1" fmla="*/ 194638 h 194638"/>
                <a:gd name="connsiteX2" fmla="*/ 206327 w 214949"/>
                <a:gd name="connsiteY2" fmla="*/ 192405 h 194638"/>
                <a:gd name="connsiteX3" fmla="*/ 213185 w 214949"/>
                <a:gd name="connsiteY3" fmla="*/ 178689 h 194638"/>
                <a:gd name="connsiteX4" fmla="*/ 76025 w 214949"/>
                <a:gd name="connsiteY4" fmla="*/ 0 h 194638"/>
                <a:gd name="connsiteX5" fmla="*/ 8588 w 214949"/>
                <a:gd name="connsiteY5" fmla="*/ 0 h 194638"/>
                <a:gd name="connsiteX6" fmla="*/ 1825 w 214949"/>
                <a:gd name="connsiteY6" fmla="*/ 13811 h 194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4638">
                  <a:moveTo>
                    <a:pt x="1825" y="13811"/>
                  </a:moveTo>
                  <a:lnTo>
                    <a:pt x="136544" y="194638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7DF4DF86-2817-405E-AAC5-95310D96BD8A}"/>
                </a:ext>
              </a:extLst>
            </p:cNvPr>
            <p:cNvSpPr/>
            <p:nvPr userDrawn="1"/>
          </p:nvSpPr>
          <p:spPr>
            <a:xfrm>
              <a:off x="705166" y="-1"/>
              <a:ext cx="2815593" cy="4843466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13" name="Documenttype">
            <a:extLst>
              <a:ext uri="{FF2B5EF4-FFF2-40B4-BE49-F238E27FC236}">
                <a16:creationId xmlns:a16="http://schemas.microsoft.com/office/drawing/2014/main" id="{6B336CDB-4CAF-4D42-8351-4FC69A8A6188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078575" y="6085626"/>
            <a:ext cx="7556214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Edit</a:t>
            </a:r>
            <a:r>
              <a:rPr lang="ru-RU" dirty="0"/>
              <a:t> </a:t>
            </a:r>
            <a:r>
              <a:rPr lang="ru-RU" dirty="0" err="1"/>
              <a:t>date</a:t>
            </a:r>
            <a:r>
              <a:rPr lang="ru-RU" dirty="0"/>
              <a:t> </a:t>
            </a:r>
            <a:r>
              <a:rPr lang="ru-RU" dirty="0" err="1"/>
              <a:t>o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/</a:t>
            </a:r>
            <a:r>
              <a:rPr lang="ru-RU" dirty="0" err="1"/>
              <a:t>role</a:t>
            </a:r>
            <a:endParaRPr lang="ru-RU" dirty="0"/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2741D0E4-32B6-4125-82E3-F0D670A7A3B3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078575" y="5185933"/>
            <a:ext cx="7556214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ru-RU" sz="20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20F39E7-31FE-42D2-BD8D-4A6BD537066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078575" y="2182505"/>
            <a:ext cx="7556214" cy="249299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ru-RU" sz="52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err="1"/>
              <a:t>Click</a:t>
            </a:r>
            <a:r>
              <a:rPr lang="ru-RU" dirty="0"/>
              <a:t>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 err="1"/>
              <a:t>Master</a:t>
            </a:r>
            <a:r>
              <a:rPr lang="ru-RU" dirty="0"/>
              <a:t> </a:t>
            </a:r>
            <a:r>
              <a:rPr lang="ru-RU" dirty="0" err="1"/>
              <a:t>title</a:t>
            </a:r>
            <a:r>
              <a:rPr lang="ru-RU" dirty="0"/>
              <a:t> </a:t>
            </a:r>
            <a:br>
              <a:rPr lang="en-US" dirty="0"/>
            </a:br>
            <a:r>
              <a:rPr lang="ru-RU" dirty="0"/>
              <a:t>style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597970-02A9-408D-945C-B58F3BC23BB7}"/>
              </a:ext>
            </a:extLst>
          </p:cNvPr>
          <p:cNvGrpSpPr/>
          <p:nvPr userDrawn="1"/>
        </p:nvGrpSpPr>
        <p:grpSpPr>
          <a:xfrm>
            <a:off x="4078575" y="896125"/>
            <a:ext cx="223314" cy="520674"/>
            <a:chOff x="4078575" y="896125"/>
            <a:chExt cx="223314" cy="520674"/>
          </a:xfrm>
        </p:grpSpPr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5F6C262-002D-465B-8023-B95BED614637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162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2872A3AF-781B-40AC-86EA-C472A397B0E6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3C4AFB"/>
                </a:gs>
                <a:gs pos="100000">
                  <a:schemeClr val="accent2"/>
                </a:gs>
                <a:gs pos="50000">
                  <a:srgbClr val="389BE8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F4EE3AA-956A-49A8-BB40-CF2CDCBFA89B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2C7EA6"/>
                </a:gs>
                <a:gs pos="100000">
                  <a:srgbClr val="293A8C"/>
                </a:gs>
              </a:gsLst>
              <a:lin ang="54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D9CA63BD-C24E-426B-A29E-5A587087A8D9}"/>
              </a:ext>
            </a:extLst>
          </p:cNvPr>
          <p:cNvGrpSpPr/>
          <p:nvPr userDrawn="1"/>
        </p:nvGrpSpPr>
        <p:grpSpPr>
          <a:xfrm>
            <a:off x="4422203" y="1048348"/>
            <a:ext cx="1819818" cy="224978"/>
            <a:chOff x="4422203" y="1048348"/>
            <a:chExt cx="1819818" cy="224978"/>
          </a:xfrm>
        </p:grpSpPr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BDF23112-8F13-4CDD-92A1-6AA5FFA5D80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756E8AE8-298E-4F2A-B37F-7962690CFCD0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A8B921EC-8969-40E0-AC80-179F13DEF2D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C12C2611-F170-46C4-853C-05548C3EA3BF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B0B3BCC9-FEFF-442C-9594-E908BEE2C18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4457B099-3FEE-4A22-8305-1025DDBC2BA5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EEEF4532-D669-47A7-8567-2D8E2DEB5CB8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638A668A-E2F5-4EF5-AD7D-FB025BACA82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E17848DF-DF19-44AF-9010-FD14621E6D0A}"/>
              </a:ext>
            </a:extLst>
          </p:cNvPr>
          <p:cNvGrpSpPr/>
          <p:nvPr userDrawn="1"/>
        </p:nvGrpSpPr>
        <p:grpSpPr>
          <a:xfrm>
            <a:off x="4422204" y="1321065"/>
            <a:ext cx="1132163" cy="69151"/>
            <a:chOff x="4422204" y="1321065"/>
            <a:chExt cx="1132163" cy="69151"/>
          </a:xfrm>
          <a:solidFill>
            <a:srgbClr val="00AEEF"/>
          </a:solidFill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C2CD596-00AA-4C1D-ADA9-61E39BC8E18E}"/>
                </a:ext>
              </a:extLst>
            </p:cNvPr>
            <p:cNvSpPr/>
            <p:nvPr userDrawn="1"/>
          </p:nvSpPr>
          <p:spPr>
            <a:xfrm>
              <a:off x="4422204" y="1322100"/>
              <a:ext cx="55972" cy="66855"/>
            </a:xfrm>
            <a:custGeom>
              <a:avLst/>
              <a:gdLst>
                <a:gd name="connsiteX0" fmla="*/ 111567 w 111567"/>
                <a:gd name="connsiteY0" fmla="*/ 133261 h 133260"/>
                <a:gd name="connsiteX1" fmla="*/ 83380 w 111567"/>
                <a:gd name="connsiteY1" fmla="*/ 133261 h 133260"/>
                <a:gd name="connsiteX2" fmla="*/ 32319 w 111567"/>
                <a:gd name="connsiteY2" fmla="*/ 49585 h 133260"/>
                <a:gd name="connsiteX3" fmla="*/ 26121 w 111567"/>
                <a:gd name="connsiteY3" fmla="*/ 38517 h 133260"/>
                <a:gd name="connsiteX4" fmla="*/ 25826 w 111567"/>
                <a:gd name="connsiteY4" fmla="*/ 38517 h 133260"/>
                <a:gd name="connsiteX5" fmla="*/ 26564 w 111567"/>
                <a:gd name="connsiteY5" fmla="*/ 60063 h 133260"/>
                <a:gd name="connsiteX6" fmla="*/ 26564 w 111567"/>
                <a:gd name="connsiteY6" fmla="*/ 133261 h 133260"/>
                <a:gd name="connsiteX7" fmla="*/ 0 w 111567"/>
                <a:gd name="connsiteY7" fmla="*/ 133261 h 133260"/>
                <a:gd name="connsiteX8" fmla="*/ 0 w 111567"/>
                <a:gd name="connsiteY8" fmla="*/ 0 h 133260"/>
                <a:gd name="connsiteX9" fmla="*/ 30105 w 111567"/>
                <a:gd name="connsiteY9" fmla="*/ 0 h 133260"/>
                <a:gd name="connsiteX10" fmla="*/ 79248 w 111567"/>
                <a:gd name="connsiteY10" fmla="*/ 81167 h 133260"/>
                <a:gd name="connsiteX11" fmla="*/ 85446 w 111567"/>
                <a:gd name="connsiteY11" fmla="*/ 92087 h 133260"/>
                <a:gd name="connsiteX12" fmla="*/ 85741 w 111567"/>
                <a:gd name="connsiteY12" fmla="*/ 92087 h 133260"/>
                <a:gd name="connsiteX13" fmla="*/ 85003 w 111567"/>
                <a:gd name="connsiteY13" fmla="*/ 73788 h 133260"/>
                <a:gd name="connsiteX14" fmla="*/ 85003 w 111567"/>
                <a:gd name="connsiteY14" fmla="*/ 0 h 133260"/>
                <a:gd name="connsiteX15" fmla="*/ 111420 w 111567"/>
                <a:gd name="connsiteY15" fmla="*/ 0 h 133260"/>
                <a:gd name="connsiteX16" fmla="*/ 111420 w 111567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567" h="133260">
                  <a:moveTo>
                    <a:pt x="111567" y="133261"/>
                  </a:moveTo>
                  <a:lnTo>
                    <a:pt x="83380" y="133261"/>
                  </a:lnTo>
                  <a:lnTo>
                    <a:pt x="32319" y="49585"/>
                  </a:lnTo>
                  <a:cubicBezTo>
                    <a:pt x="29368" y="44715"/>
                    <a:pt x="27301" y="41026"/>
                    <a:pt x="26121" y="38517"/>
                  </a:cubicBezTo>
                  <a:lnTo>
                    <a:pt x="25826" y="38517"/>
                  </a:lnTo>
                  <a:cubicBezTo>
                    <a:pt x="26268" y="43240"/>
                    <a:pt x="26564" y="50471"/>
                    <a:pt x="26564" y="60063"/>
                  </a:cubicBezTo>
                  <a:lnTo>
                    <a:pt x="26564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852E303F-C1F0-4F6D-9702-534B98E84761}"/>
                </a:ext>
              </a:extLst>
            </p:cNvPr>
            <p:cNvSpPr/>
            <p:nvPr userDrawn="1"/>
          </p:nvSpPr>
          <p:spPr>
            <a:xfrm>
              <a:off x="4500386" y="1322100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78B298C-732B-4E03-8588-991DC68668B0}"/>
                </a:ext>
              </a:extLst>
            </p:cNvPr>
            <p:cNvSpPr/>
            <p:nvPr userDrawn="1"/>
          </p:nvSpPr>
          <p:spPr>
            <a:xfrm>
              <a:off x="4572201" y="1322100"/>
              <a:ext cx="49456" cy="66855"/>
            </a:xfrm>
            <a:custGeom>
              <a:avLst/>
              <a:gdLst>
                <a:gd name="connsiteX0" fmla="*/ 98580 w 98580"/>
                <a:gd name="connsiteY0" fmla="*/ 24498 h 133260"/>
                <a:gd name="connsiteX1" fmla="*/ 63162 w 98580"/>
                <a:gd name="connsiteY1" fmla="*/ 24498 h 133260"/>
                <a:gd name="connsiteX2" fmla="*/ 63162 w 98580"/>
                <a:gd name="connsiteY2" fmla="*/ 133261 h 133260"/>
                <a:gd name="connsiteX3" fmla="*/ 35123 w 98580"/>
                <a:gd name="connsiteY3" fmla="*/ 133261 h 133260"/>
                <a:gd name="connsiteX4" fmla="*/ 35123 w 98580"/>
                <a:gd name="connsiteY4" fmla="*/ 24498 h 133260"/>
                <a:gd name="connsiteX5" fmla="*/ 0 w 98580"/>
                <a:gd name="connsiteY5" fmla="*/ 24498 h 133260"/>
                <a:gd name="connsiteX6" fmla="*/ 0 w 98580"/>
                <a:gd name="connsiteY6" fmla="*/ 0 h 133260"/>
                <a:gd name="connsiteX7" fmla="*/ 98580 w 98580"/>
                <a:gd name="connsiteY7" fmla="*/ 0 h 133260"/>
                <a:gd name="connsiteX8" fmla="*/ 98580 w 98580"/>
                <a:gd name="connsiteY8" fmla="*/ 24498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8580" h="133260">
                  <a:moveTo>
                    <a:pt x="98580" y="24498"/>
                  </a:moveTo>
                  <a:lnTo>
                    <a:pt x="63162" y="24498"/>
                  </a:lnTo>
                  <a:lnTo>
                    <a:pt x="63162" y="133261"/>
                  </a:lnTo>
                  <a:lnTo>
                    <a:pt x="35123" y="133261"/>
                  </a:lnTo>
                  <a:lnTo>
                    <a:pt x="35123" y="24498"/>
                  </a:lnTo>
                  <a:lnTo>
                    <a:pt x="0" y="24498"/>
                  </a:lnTo>
                  <a:lnTo>
                    <a:pt x="0" y="0"/>
                  </a:lnTo>
                  <a:lnTo>
                    <a:pt x="98580" y="0"/>
                  </a:lnTo>
                  <a:lnTo>
                    <a:pt x="98580" y="24498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189975B1-5520-4615-914F-C68A6193ACE3}"/>
                </a:ext>
              </a:extLst>
            </p:cNvPr>
            <p:cNvSpPr/>
            <p:nvPr userDrawn="1"/>
          </p:nvSpPr>
          <p:spPr>
            <a:xfrm>
              <a:off x="4644684" y="1322100"/>
              <a:ext cx="13993" cy="66855"/>
            </a:xfrm>
            <a:custGeom>
              <a:avLst/>
              <a:gdLst>
                <a:gd name="connsiteX0" fmla="*/ 27892 w 27891"/>
                <a:gd name="connsiteY0" fmla="*/ 133261 h 133260"/>
                <a:gd name="connsiteX1" fmla="*/ 0 w 27891"/>
                <a:gd name="connsiteY1" fmla="*/ 133261 h 133260"/>
                <a:gd name="connsiteX2" fmla="*/ 0 w 27891"/>
                <a:gd name="connsiteY2" fmla="*/ 0 h 133260"/>
                <a:gd name="connsiteX3" fmla="*/ 27892 w 27891"/>
                <a:gd name="connsiteY3" fmla="*/ 0 h 133260"/>
                <a:gd name="connsiteX4" fmla="*/ 27892 w 27891"/>
                <a:gd name="connsiteY4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891" h="133260">
                  <a:moveTo>
                    <a:pt x="27892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BF456EFB-5E12-412D-8035-0F855B3108F8}"/>
                </a:ext>
              </a:extLst>
            </p:cNvPr>
            <p:cNvSpPr/>
            <p:nvPr userDrawn="1"/>
          </p:nvSpPr>
          <p:spPr>
            <a:xfrm>
              <a:off x="4683554" y="1321066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ECF9CD73-7BF6-41C2-B155-E8BC1E3B523A}"/>
                </a:ext>
              </a:extLst>
            </p:cNvPr>
            <p:cNvSpPr/>
            <p:nvPr userDrawn="1"/>
          </p:nvSpPr>
          <p:spPr>
            <a:xfrm>
              <a:off x="4769585" y="1322102"/>
              <a:ext cx="55898" cy="66855"/>
            </a:xfrm>
            <a:custGeom>
              <a:avLst/>
              <a:gdLst>
                <a:gd name="connsiteX0" fmla="*/ 111420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4 w 111419"/>
                <a:gd name="connsiteY13" fmla="*/ 73788 h 133260"/>
                <a:gd name="connsiteX14" fmla="*/ 85004 w 111419"/>
                <a:gd name="connsiteY14" fmla="*/ 0 h 133260"/>
                <a:gd name="connsiteX15" fmla="*/ 111420 w 111419"/>
                <a:gd name="connsiteY15" fmla="*/ 0 h 133260"/>
                <a:gd name="connsiteX16" fmla="*/ 111420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20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4" y="82937"/>
                    <a:pt x="85004" y="73788"/>
                  </a:cubicBezTo>
                  <a:lnTo>
                    <a:pt x="85004" y="0"/>
                  </a:lnTo>
                  <a:lnTo>
                    <a:pt x="111420" y="0"/>
                  </a:lnTo>
                  <a:lnTo>
                    <a:pt x="111420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070F6E34-127E-46F9-BB69-AB41B0AAA586}"/>
                </a:ext>
              </a:extLst>
            </p:cNvPr>
            <p:cNvSpPr/>
            <p:nvPr userDrawn="1"/>
          </p:nvSpPr>
          <p:spPr>
            <a:xfrm>
              <a:off x="4847693" y="1322102"/>
              <a:ext cx="61377" cy="66855"/>
            </a:xfrm>
            <a:custGeom>
              <a:avLst/>
              <a:gdLst>
                <a:gd name="connsiteX0" fmla="*/ 122340 w 122340"/>
                <a:gd name="connsiteY0" fmla="*/ 133261 h 133260"/>
                <a:gd name="connsiteX1" fmla="*/ 91940 w 122340"/>
                <a:gd name="connsiteY1" fmla="*/ 133261 h 133260"/>
                <a:gd name="connsiteX2" fmla="*/ 83085 w 122340"/>
                <a:gd name="connsiteY2" fmla="*/ 103598 h 133260"/>
                <a:gd name="connsiteX3" fmla="*/ 38960 w 122340"/>
                <a:gd name="connsiteY3" fmla="*/ 103598 h 133260"/>
                <a:gd name="connsiteX4" fmla="*/ 30253 w 122340"/>
                <a:gd name="connsiteY4" fmla="*/ 133261 h 133260"/>
                <a:gd name="connsiteX5" fmla="*/ 0 w 122340"/>
                <a:gd name="connsiteY5" fmla="*/ 133261 h 133260"/>
                <a:gd name="connsiteX6" fmla="*/ 45158 w 122340"/>
                <a:gd name="connsiteY6" fmla="*/ 0 h 133260"/>
                <a:gd name="connsiteX7" fmla="*/ 78215 w 122340"/>
                <a:gd name="connsiteY7" fmla="*/ 0 h 133260"/>
                <a:gd name="connsiteX8" fmla="*/ 122340 w 122340"/>
                <a:gd name="connsiteY8" fmla="*/ 133261 h 133260"/>
                <a:gd name="connsiteX9" fmla="*/ 76739 w 122340"/>
                <a:gd name="connsiteY9" fmla="*/ 80576 h 133260"/>
                <a:gd name="connsiteX10" fmla="*/ 63457 w 122340"/>
                <a:gd name="connsiteY10" fmla="*/ 35861 h 133260"/>
                <a:gd name="connsiteX11" fmla="*/ 61391 w 122340"/>
                <a:gd name="connsiteY11" fmla="*/ 23907 h 133260"/>
                <a:gd name="connsiteX12" fmla="*/ 60654 w 122340"/>
                <a:gd name="connsiteY12" fmla="*/ 23907 h 133260"/>
                <a:gd name="connsiteX13" fmla="*/ 58440 w 122340"/>
                <a:gd name="connsiteY13" fmla="*/ 35566 h 133260"/>
                <a:gd name="connsiteX14" fmla="*/ 45011 w 122340"/>
                <a:gd name="connsiteY14" fmla="*/ 80724 h 133260"/>
                <a:gd name="connsiteX15" fmla="*/ 76739 w 122340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40" h="133260">
                  <a:moveTo>
                    <a:pt x="122340" y="133261"/>
                  </a:moveTo>
                  <a:lnTo>
                    <a:pt x="91940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7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1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C0682164-F000-442F-8BB8-57146F0BEEA5}"/>
                </a:ext>
              </a:extLst>
            </p:cNvPr>
            <p:cNvSpPr/>
            <p:nvPr userDrawn="1"/>
          </p:nvSpPr>
          <p:spPr>
            <a:xfrm>
              <a:off x="4931577" y="1322102"/>
              <a:ext cx="37018" cy="66855"/>
            </a:xfrm>
            <a:custGeom>
              <a:avLst/>
              <a:gdLst>
                <a:gd name="connsiteX0" fmla="*/ 73788 w 73787"/>
                <a:gd name="connsiteY0" fmla="*/ 133261 h 133260"/>
                <a:gd name="connsiteX1" fmla="*/ 0 w 73787"/>
                <a:gd name="connsiteY1" fmla="*/ 133261 h 133260"/>
                <a:gd name="connsiteX2" fmla="*/ 0 w 73787"/>
                <a:gd name="connsiteY2" fmla="*/ 0 h 133260"/>
                <a:gd name="connsiteX3" fmla="*/ 27892 w 73787"/>
                <a:gd name="connsiteY3" fmla="*/ 0 h 133260"/>
                <a:gd name="connsiteX4" fmla="*/ 27892 w 73787"/>
                <a:gd name="connsiteY4" fmla="*/ 108911 h 133260"/>
                <a:gd name="connsiteX5" fmla="*/ 73788 w 73787"/>
                <a:gd name="connsiteY5" fmla="*/ 108911 h 133260"/>
                <a:gd name="connsiteX6" fmla="*/ 73788 w 73787"/>
                <a:gd name="connsiteY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787" h="133260">
                  <a:moveTo>
                    <a:pt x="73788" y="133261"/>
                  </a:moveTo>
                  <a:lnTo>
                    <a:pt x="0" y="133261"/>
                  </a:lnTo>
                  <a:lnTo>
                    <a:pt x="0" y="0"/>
                  </a:lnTo>
                  <a:lnTo>
                    <a:pt x="27892" y="0"/>
                  </a:lnTo>
                  <a:lnTo>
                    <a:pt x="27892" y="108911"/>
                  </a:lnTo>
                  <a:lnTo>
                    <a:pt x="73788" y="108911"/>
                  </a:lnTo>
                  <a:lnTo>
                    <a:pt x="73788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3F8A057B-F3E3-4C82-8108-1C100875B1DF}"/>
                </a:ext>
              </a:extLst>
            </p:cNvPr>
            <p:cNvSpPr/>
            <p:nvPr userDrawn="1"/>
          </p:nvSpPr>
          <p:spPr>
            <a:xfrm>
              <a:off x="5026863" y="1321066"/>
              <a:ext cx="48568" cy="69076"/>
            </a:xfrm>
            <a:custGeom>
              <a:avLst/>
              <a:gdLst>
                <a:gd name="connsiteX0" fmla="*/ 96662 w 96809"/>
                <a:gd name="connsiteY0" fmla="*/ 130604 h 137687"/>
                <a:gd name="connsiteX1" fmla="*/ 61244 w 96809"/>
                <a:gd name="connsiteY1" fmla="*/ 137688 h 137687"/>
                <a:gd name="connsiteX2" fmla="*/ 16381 w 96809"/>
                <a:gd name="connsiteY2" fmla="*/ 119684 h 137687"/>
                <a:gd name="connsiteX3" fmla="*/ 0 w 96809"/>
                <a:gd name="connsiteY3" fmla="*/ 71722 h 137687"/>
                <a:gd name="connsiteX4" fmla="*/ 18447 w 96809"/>
                <a:gd name="connsiteY4" fmla="*/ 19923 h 137687"/>
                <a:gd name="connsiteX5" fmla="*/ 66114 w 96809"/>
                <a:gd name="connsiteY5" fmla="*/ 0 h 137687"/>
                <a:gd name="connsiteX6" fmla="*/ 96662 w 96809"/>
                <a:gd name="connsiteY6" fmla="*/ 4870 h 137687"/>
                <a:gd name="connsiteX7" fmla="*/ 96662 w 96809"/>
                <a:gd name="connsiteY7" fmla="*/ 33795 h 137687"/>
                <a:gd name="connsiteX8" fmla="*/ 68328 w 96809"/>
                <a:gd name="connsiteY8" fmla="*/ 25826 h 137687"/>
                <a:gd name="connsiteX9" fmla="*/ 40141 w 96809"/>
                <a:gd name="connsiteY9" fmla="*/ 37632 h 137687"/>
                <a:gd name="connsiteX10" fmla="*/ 29368 w 96809"/>
                <a:gd name="connsiteY10" fmla="*/ 69656 h 137687"/>
                <a:gd name="connsiteX11" fmla="*/ 39550 w 96809"/>
                <a:gd name="connsiteY11" fmla="*/ 100499 h 137687"/>
                <a:gd name="connsiteX12" fmla="*/ 66852 w 96809"/>
                <a:gd name="connsiteY12" fmla="*/ 112010 h 137687"/>
                <a:gd name="connsiteX13" fmla="*/ 96810 w 96809"/>
                <a:gd name="connsiteY13" fmla="*/ 103450 h 137687"/>
                <a:gd name="connsiteX14" fmla="*/ 96810 w 96809"/>
                <a:gd name="connsiteY14" fmla="*/ 130900 h 137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6809" h="137687">
                  <a:moveTo>
                    <a:pt x="96662" y="130604"/>
                  </a:moveTo>
                  <a:cubicBezTo>
                    <a:pt x="87660" y="135327"/>
                    <a:pt x="75854" y="137688"/>
                    <a:pt x="61244" y="137688"/>
                  </a:cubicBezTo>
                  <a:cubicBezTo>
                    <a:pt x="42207" y="137688"/>
                    <a:pt x="27301" y="131637"/>
                    <a:pt x="16381" y="119684"/>
                  </a:cubicBezTo>
                  <a:cubicBezTo>
                    <a:pt x="5460" y="107730"/>
                    <a:pt x="0" y="91644"/>
                    <a:pt x="0" y="71722"/>
                  </a:cubicBezTo>
                  <a:cubicBezTo>
                    <a:pt x="0" y="50471"/>
                    <a:pt x="6198" y="33205"/>
                    <a:pt x="18447" y="19923"/>
                  </a:cubicBezTo>
                  <a:cubicBezTo>
                    <a:pt x="30696" y="6641"/>
                    <a:pt x="46634" y="0"/>
                    <a:pt x="66114" y="0"/>
                  </a:cubicBezTo>
                  <a:cubicBezTo>
                    <a:pt x="78215" y="0"/>
                    <a:pt x="88398" y="1623"/>
                    <a:pt x="96662" y="4870"/>
                  </a:cubicBezTo>
                  <a:lnTo>
                    <a:pt x="96662" y="33795"/>
                  </a:lnTo>
                  <a:cubicBezTo>
                    <a:pt x="88398" y="28482"/>
                    <a:pt x="78953" y="25826"/>
                    <a:pt x="68328" y="25826"/>
                  </a:cubicBezTo>
                  <a:cubicBezTo>
                    <a:pt x="56669" y="25826"/>
                    <a:pt x="47224" y="29810"/>
                    <a:pt x="40141" y="37632"/>
                  </a:cubicBezTo>
                  <a:cubicBezTo>
                    <a:pt x="33057" y="45453"/>
                    <a:pt x="29368" y="56079"/>
                    <a:pt x="29368" y="69656"/>
                  </a:cubicBezTo>
                  <a:cubicBezTo>
                    <a:pt x="29368" y="83233"/>
                    <a:pt x="32762" y="92825"/>
                    <a:pt x="39550" y="100499"/>
                  </a:cubicBezTo>
                  <a:cubicBezTo>
                    <a:pt x="46339" y="108173"/>
                    <a:pt x="55341" y="112010"/>
                    <a:pt x="66852" y="112010"/>
                  </a:cubicBezTo>
                  <a:cubicBezTo>
                    <a:pt x="78363" y="112010"/>
                    <a:pt x="87660" y="109206"/>
                    <a:pt x="96810" y="103450"/>
                  </a:cubicBezTo>
                  <a:lnTo>
                    <a:pt x="96810" y="130900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2C909970-809E-49A7-A4EF-AF5409EA015A}"/>
                </a:ext>
              </a:extLst>
            </p:cNvPr>
            <p:cNvSpPr/>
            <p:nvPr userDrawn="1"/>
          </p:nvSpPr>
          <p:spPr>
            <a:xfrm>
              <a:off x="5095865" y="1321065"/>
              <a:ext cx="60932" cy="69150"/>
            </a:xfrm>
            <a:custGeom>
              <a:avLst/>
              <a:gdLst>
                <a:gd name="connsiteX0" fmla="*/ 60211 w 121454"/>
                <a:gd name="connsiteY0" fmla="*/ 137688 h 137835"/>
                <a:gd name="connsiteX1" fmla="*/ 16824 w 121454"/>
                <a:gd name="connsiteY1" fmla="*/ 119093 h 137835"/>
                <a:gd name="connsiteX2" fmla="*/ 0 w 121454"/>
                <a:gd name="connsiteY2" fmla="*/ 70541 h 137835"/>
                <a:gd name="connsiteX3" fmla="*/ 16971 w 121454"/>
                <a:gd name="connsiteY3" fmla="*/ 19480 h 137835"/>
                <a:gd name="connsiteX4" fmla="*/ 62129 w 121454"/>
                <a:gd name="connsiteY4" fmla="*/ 0 h 137835"/>
                <a:gd name="connsiteX5" fmla="*/ 105074 w 121454"/>
                <a:gd name="connsiteY5" fmla="*/ 18742 h 137835"/>
                <a:gd name="connsiteX6" fmla="*/ 121455 w 121454"/>
                <a:gd name="connsiteY6" fmla="*/ 68032 h 137835"/>
                <a:gd name="connsiteX7" fmla="*/ 104483 w 121454"/>
                <a:gd name="connsiteY7" fmla="*/ 118651 h 137835"/>
                <a:gd name="connsiteX8" fmla="*/ 60211 w 121454"/>
                <a:gd name="connsiteY8" fmla="*/ 137836 h 137835"/>
                <a:gd name="connsiteX9" fmla="*/ 61391 w 121454"/>
                <a:gd name="connsiteY9" fmla="*/ 25678 h 137835"/>
                <a:gd name="connsiteX10" fmla="*/ 38075 w 121454"/>
                <a:gd name="connsiteY10" fmla="*/ 37484 h 137835"/>
                <a:gd name="connsiteX11" fmla="*/ 29368 w 121454"/>
                <a:gd name="connsiteY11" fmla="*/ 68770 h 137835"/>
                <a:gd name="connsiteX12" fmla="*/ 38075 w 121454"/>
                <a:gd name="connsiteY12" fmla="*/ 100056 h 137835"/>
                <a:gd name="connsiteX13" fmla="*/ 60801 w 121454"/>
                <a:gd name="connsiteY13" fmla="*/ 111567 h 137835"/>
                <a:gd name="connsiteX14" fmla="*/ 83675 w 121454"/>
                <a:gd name="connsiteY14" fmla="*/ 100351 h 137835"/>
                <a:gd name="connsiteX15" fmla="*/ 92087 w 121454"/>
                <a:gd name="connsiteY15" fmla="*/ 69213 h 137835"/>
                <a:gd name="connsiteX16" fmla="*/ 83823 w 121454"/>
                <a:gd name="connsiteY16" fmla="*/ 37041 h 137835"/>
                <a:gd name="connsiteX17" fmla="*/ 61391 w 121454"/>
                <a:gd name="connsiteY17" fmla="*/ 25531 h 1378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454" h="137835">
                  <a:moveTo>
                    <a:pt x="60211" y="137688"/>
                  </a:moveTo>
                  <a:cubicBezTo>
                    <a:pt x="42502" y="137688"/>
                    <a:pt x="28039" y="131490"/>
                    <a:pt x="16824" y="119093"/>
                  </a:cubicBezTo>
                  <a:cubicBezTo>
                    <a:pt x="5608" y="106697"/>
                    <a:pt x="0" y="90464"/>
                    <a:pt x="0" y="70541"/>
                  </a:cubicBezTo>
                  <a:cubicBezTo>
                    <a:pt x="0" y="49438"/>
                    <a:pt x="5608" y="32467"/>
                    <a:pt x="16971" y="19480"/>
                  </a:cubicBezTo>
                  <a:cubicBezTo>
                    <a:pt x="28335" y="6493"/>
                    <a:pt x="43387" y="0"/>
                    <a:pt x="62129" y="0"/>
                  </a:cubicBezTo>
                  <a:cubicBezTo>
                    <a:pt x="79838" y="0"/>
                    <a:pt x="94153" y="6198"/>
                    <a:pt x="105074" y="18742"/>
                  </a:cubicBezTo>
                  <a:cubicBezTo>
                    <a:pt x="115994" y="31286"/>
                    <a:pt x="121455" y="47667"/>
                    <a:pt x="121455" y="68032"/>
                  </a:cubicBezTo>
                  <a:cubicBezTo>
                    <a:pt x="121455" y="88398"/>
                    <a:pt x="115847" y="105812"/>
                    <a:pt x="104483" y="118651"/>
                  </a:cubicBezTo>
                  <a:cubicBezTo>
                    <a:pt x="93120" y="131490"/>
                    <a:pt x="78363" y="137836"/>
                    <a:pt x="60211" y="137836"/>
                  </a:cubicBezTo>
                  <a:close/>
                  <a:moveTo>
                    <a:pt x="61391" y="25678"/>
                  </a:moveTo>
                  <a:cubicBezTo>
                    <a:pt x="51651" y="25678"/>
                    <a:pt x="43830" y="29663"/>
                    <a:pt x="38075" y="37484"/>
                  </a:cubicBezTo>
                  <a:cubicBezTo>
                    <a:pt x="32319" y="45306"/>
                    <a:pt x="29368" y="55784"/>
                    <a:pt x="29368" y="68770"/>
                  </a:cubicBezTo>
                  <a:cubicBezTo>
                    <a:pt x="29368" y="81757"/>
                    <a:pt x="32319" y="92382"/>
                    <a:pt x="38075" y="100056"/>
                  </a:cubicBezTo>
                  <a:cubicBezTo>
                    <a:pt x="43830" y="107730"/>
                    <a:pt x="51356" y="111567"/>
                    <a:pt x="60801" y="111567"/>
                  </a:cubicBezTo>
                  <a:cubicBezTo>
                    <a:pt x="70246" y="111567"/>
                    <a:pt x="78067" y="107878"/>
                    <a:pt x="83675" y="100351"/>
                  </a:cubicBezTo>
                  <a:cubicBezTo>
                    <a:pt x="89283" y="92825"/>
                    <a:pt x="92087" y="82495"/>
                    <a:pt x="92087" y="69213"/>
                  </a:cubicBezTo>
                  <a:cubicBezTo>
                    <a:pt x="92087" y="55931"/>
                    <a:pt x="89283" y="44715"/>
                    <a:pt x="83823" y="37041"/>
                  </a:cubicBezTo>
                  <a:cubicBezTo>
                    <a:pt x="78363" y="29368"/>
                    <a:pt x="70836" y="25531"/>
                    <a:pt x="61391" y="25531"/>
                  </a:cubicBez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634BD6BD-EA5B-49FA-BC9A-611666DE6014}"/>
                </a:ext>
              </a:extLst>
            </p:cNvPr>
            <p:cNvSpPr/>
            <p:nvPr userDrawn="1"/>
          </p:nvSpPr>
          <p:spPr>
            <a:xfrm>
              <a:off x="5181821" y="1322101"/>
              <a:ext cx="70927" cy="66929"/>
            </a:xfrm>
            <a:custGeom>
              <a:avLst/>
              <a:gdLst>
                <a:gd name="connsiteX0" fmla="*/ 141230 w 141377"/>
                <a:gd name="connsiteY0" fmla="*/ 133261 h 133408"/>
                <a:gd name="connsiteX1" fmla="*/ 113633 w 141377"/>
                <a:gd name="connsiteY1" fmla="*/ 133261 h 133408"/>
                <a:gd name="connsiteX2" fmla="*/ 113633 w 141377"/>
                <a:gd name="connsiteY2" fmla="*/ 53570 h 133408"/>
                <a:gd name="connsiteX3" fmla="*/ 114666 w 141377"/>
                <a:gd name="connsiteY3" fmla="*/ 25088 h 133408"/>
                <a:gd name="connsiteX4" fmla="*/ 113928 w 141377"/>
                <a:gd name="connsiteY4" fmla="*/ 25088 h 133408"/>
                <a:gd name="connsiteX5" fmla="*/ 110091 w 141377"/>
                <a:gd name="connsiteY5" fmla="*/ 42797 h 133408"/>
                <a:gd name="connsiteX6" fmla="*/ 81019 w 141377"/>
                <a:gd name="connsiteY6" fmla="*/ 133408 h 133408"/>
                <a:gd name="connsiteX7" fmla="*/ 58145 w 141377"/>
                <a:gd name="connsiteY7" fmla="*/ 133408 h 133408"/>
                <a:gd name="connsiteX8" fmla="*/ 28630 w 141377"/>
                <a:gd name="connsiteY8" fmla="*/ 43830 h 133408"/>
                <a:gd name="connsiteX9" fmla="*/ 24793 w 141377"/>
                <a:gd name="connsiteY9" fmla="*/ 25235 h 133408"/>
                <a:gd name="connsiteX10" fmla="*/ 24055 w 141377"/>
                <a:gd name="connsiteY10" fmla="*/ 25235 h 133408"/>
                <a:gd name="connsiteX11" fmla="*/ 25235 w 141377"/>
                <a:gd name="connsiteY11" fmla="*/ 59768 h 133408"/>
                <a:gd name="connsiteX12" fmla="*/ 25235 w 141377"/>
                <a:gd name="connsiteY12" fmla="*/ 133408 h 133408"/>
                <a:gd name="connsiteX13" fmla="*/ 0 w 141377"/>
                <a:gd name="connsiteY13" fmla="*/ 133408 h 133408"/>
                <a:gd name="connsiteX14" fmla="*/ 0 w 141377"/>
                <a:gd name="connsiteY14" fmla="*/ 0 h 133408"/>
                <a:gd name="connsiteX15" fmla="*/ 40878 w 141377"/>
                <a:gd name="connsiteY15" fmla="*/ 0 h 133408"/>
                <a:gd name="connsiteX16" fmla="*/ 66261 w 141377"/>
                <a:gd name="connsiteY16" fmla="*/ 78953 h 133408"/>
                <a:gd name="connsiteX17" fmla="*/ 70689 w 141377"/>
                <a:gd name="connsiteY17" fmla="*/ 97990 h 133408"/>
                <a:gd name="connsiteX18" fmla="*/ 71279 w 141377"/>
                <a:gd name="connsiteY18" fmla="*/ 97990 h 133408"/>
                <a:gd name="connsiteX19" fmla="*/ 76149 w 141377"/>
                <a:gd name="connsiteY19" fmla="*/ 78805 h 133408"/>
                <a:gd name="connsiteX20" fmla="*/ 101532 w 141377"/>
                <a:gd name="connsiteY20" fmla="*/ 0 h 133408"/>
                <a:gd name="connsiteX21" fmla="*/ 141377 w 141377"/>
                <a:gd name="connsiteY21" fmla="*/ 0 h 133408"/>
                <a:gd name="connsiteX22" fmla="*/ 141377 w 141377"/>
                <a:gd name="connsiteY22" fmla="*/ 133261 h 1334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41377" h="133408">
                  <a:moveTo>
                    <a:pt x="141230" y="133261"/>
                  </a:moveTo>
                  <a:lnTo>
                    <a:pt x="113633" y="133261"/>
                  </a:lnTo>
                  <a:lnTo>
                    <a:pt x="113633" y="53570"/>
                  </a:lnTo>
                  <a:cubicBezTo>
                    <a:pt x="113633" y="45011"/>
                    <a:pt x="113928" y="35418"/>
                    <a:pt x="114666" y="25088"/>
                  </a:cubicBezTo>
                  <a:lnTo>
                    <a:pt x="113928" y="25088"/>
                  </a:lnTo>
                  <a:cubicBezTo>
                    <a:pt x="112453" y="33205"/>
                    <a:pt x="111124" y="39108"/>
                    <a:pt x="110091" y="42797"/>
                  </a:cubicBezTo>
                  <a:lnTo>
                    <a:pt x="81019" y="133408"/>
                  </a:lnTo>
                  <a:lnTo>
                    <a:pt x="58145" y="133408"/>
                  </a:lnTo>
                  <a:lnTo>
                    <a:pt x="28630" y="43830"/>
                  </a:lnTo>
                  <a:cubicBezTo>
                    <a:pt x="27892" y="41469"/>
                    <a:pt x="26564" y="35271"/>
                    <a:pt x="24793" y="25235"/>
                  </a:cubicBezTo>
                  <a:lnTo>
                    <a:pt x="24055" y="25235"/>
                  </a:lnTo>
                  <a:cubicBezTo>
                    <a:pt x="24793" y="38370"/>
                    <a:pt x="25235" y="49881"/>
                    <a:pt x="25235" y="59768"/>
                  </a:cubicBezTo>
                  <a:lnTo>
                    <a:pt x="25235" y="133408"/>
                  </a:lnTo>
                  <a:lnTo>
                    <a:pt x="0" y="133408"/>
                  </a:lnTo>
                  <a:lnTo>
                    <a:pt x="0" y="0"/>
                  </a:lnTo>
                  <a:lnTo>
                    <a:pt x="40878" y="0"/>
                  </a:lnTo>
                  <a:lnTo>
                    <a:pt x="66261" y="78953"/>
                  </a:lnTo>
                  <a:cubicBezTo>
                    <a:pt x="68328" y="85299"/>
                    <a:pt x="69803" y="91644"/>
                    <a:pt x="70689" y="97990"/>
                  </a:cubicBezTo>
                  <a:lnTo>
                    <a:pt x="71279" y="97990"/>
                  </a:lnTo>
                  <a:cubicBezTo>
                    <a:pt x="72902" y="90611"/>
                    <a:pt x="74526" y="84266"/>
                    <a:pt x="76149" y="78805"/>
                  </a:cubicBezTo>
                  <a:lnTo>
                    <a:pt x="101532" y="0"/>
                  </a:lnTo>
                  <a:lnTo>
                    <a:pt x="141377" y="0"/>
                  </a:lnTo>
                  <a:lnTo>
                    <a:pt x="141377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C637CE2F-1EDD-4701-9D1A-B6C4481E603E}"/>
                </a:ext>
              </a:extLst>
            </p:cNvPr>
            <p:cNvSpPr/>
            <p:nvPr userDrawn="1"/>
          </p:nvSpPr>
          <p:spPr>
            <a:xfrm>
              <a:off x="5281550" y="1322101"/>
              <a:ext cx="45459" cy="66855"/>
            </a:xfrm>
            <a:custGeom>
              <a:avLst/>
              <a:gdLst>
                <a:gd name="connsiteX0" fmla="*/ 27892 w 90611"/>
                <a:gd name="connsiteY0" fmla="*/ 87365 h 133260"/>
                <a:gd name="connsiteX1" fmla="*/ 27892 w 90611"/>
                <a:gd name="connsiteY1" fmla="*/ 133261 h 133260"/>
                <a:gd name="connsiteX2" fmla="*/ 0 w 90611"/>
                <a:gd name="connsiteY2" fmla="*/ 133261 h 133260"/>
                <a:gd name="connsiteX3" fmla="*/ 0 w 90611"/>
                <a:gd name="connsiteY3" fmla="*/ 0 h 133260"/>
                <a:gd name="connsiteX4" fmla="*/ 43682 w 90611"/>
                <a:gd name="connsiteY4" fmla="*/ 0 h 133260"/>
                <a:gd name="connsiteX5" fmla="*/ 90611 w 90611"/>
                <a:gd name="connsiteY5" fmla="*/ 42502 h 133260"/>
                <a:gd name="connsiteX6" fmla="*/ 77182 w 90611"/>
                <a:gd name="connsiteY6" fmla="*/ 74968 h 133260"/>
                <a:gd name="connsiteX7" fmla="*/ 41321 w 90611"/>
                <a:gd name="connsiteY7" fmla="*/ 87365 h 133260"/>
                <a:gd name="connsiteX8" fmla="*/ 28039 w 90611"/>
                <a:gd name="connsiteY8" fmla="*/ 87365 h 133260"/>
                <a:gd name="connsiteX9" fmla="*/ 27892 w 90611"/>
                <a:gd name="connsiteY9" fmla="*/ 23022 h 133260"/>
                <a:gd name="connsiteX10" fmla="*/ 27892 w 90611"/>
                <a:gd name="connsiteY10" fmla="*/ 64491 h 133260"/>
                <a:gd name="connsiteX11" fmla="*/ 38812 w 90611"/>
                <a:gd name="connsiteY11" fmla="*/ 64491 h 133260"/>
                <a:gd name="connsiteX12" fmla="*/ 61096 w 90611"/>
                <a:gd name="connsiteY12" fmla="*/ 43535 h 133260"/>
                <a:gd name="connsiteX13" fmla="*/ 38812 w 90611"/>
                <a:gd name="connsiteY13" fmla="*/ 23022 h 133260"/>
                <a:gd name="connsiteX14" fmla="*/ 27892 w 90611"/>
                <a:gd name="connsiteY14" fmla="*/ 23022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90611" h="133260">
                  <a:moveTo>
                    <a:pt x="27892" y="87365"/>
                  </a:moveTo>
                  <a:lnTo>
                    <a:pt x="27892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43682" y="0"/>
                  </a:lnTo>
                  <a:cubicBezTo>
                    <a:pt x="74968" y="0"/>
                    <a:pt x="90611" y="14167"/>
                    <a:pt x="90611" y="42502"/>
                  </a:cubicBezTo>
                  <a:cubicBezTo>
                    <a:pt x="90611" y="55931"/>
                    <a:pt x="86184" y="66704"/>
                    <a:pt x="77182" y="74968"/>
                  </a:cubicBezTo>
                  <a:cubicBezTo>
                    <a:pt x="68180" y="83233"/>
                    <a:pt x="56226" y="87365"/>
                    <a:pt x="41321" y="87365"/>
                  </a:cubicBezTo>
                  <a:lnTo>
                    <a:pt x="28039" y="87365"/>
                  </a:lnTo>
                  <a:close/>
                  <a:moveTo>
                    <a:pt x="27892" y="23022"/>
                  </a:moveTo>
                  <a:lnTo>
                    <a:pt x="27892" y="64491"/>
                  </a:lnTo>
                  <a:lnTo>
                    <a:pt x="38812" y="64491"/>
                  </a:lnTo>
                  <a:cubicBezTo>
                    <a:pt x="53717" y="64491"/>
                    <a:pt x="61096" y="57554"/>
                    <a:pt x="61096" y="43535"/>
                  </a:cubicBezTo>
                  <a:cubicBezTo>
                    <a:pt x="61096" y="29515"/>
                    <a:pt x="53717" y="23022"/>
                    <a:pt x="38812" y="23022"/>
                  </a:cubicBezTo>
                  <a:lnTo>
                    <a:pt x="27892" y="23022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52CBB91-F524-44C1-9E1B-D9F79A414576}"/>
                </a:ext>
              </a:extLst>
            </p:cNvPr>
            <p:cNvSpPr/>
            <p:nvPr userDrawn="1"/>
          </p:nvSpPr>
          <p:spPr>
            <a:xfrm>
              <a:off x="5338780" y="1322102"/>
              <a:ext cx="61376" cy="66855"/>
            </a:xfrm>
            <a:custGeom>
              <a:avLst/>
              <a:gdLst>
                <a:gd name="connsiteX0" fmla="*/ 122340 w 122339"/>
                <a:gd name="connsiteY0" fmla="*/ 133261 h 133260"/>
                <a:gd name="connsiteX1" fmla="*/ 91939 w 122339"/>
                <a:gd name="connsiteY1" fmla="*/ 133261 h 133260"/>
                <a:gd name="connsiteX2" fmla="*/ 83085 w 122339"/>
                <a:gd name="connsiteY2" fmla="*/ 103598 h 133260"/>
                <a:gd name="connsiteX3" fmla="*/ 38960 w 122339"/>
                <a:gd name="connsiteY3" fmla="*/ 103598 h 133260"/>
                <a:gd name="connsiteX4" fmla="*/ 30253 w 122339"/>
                <a:gd name="connsiteY4" fmla="*/ 133261 h 133260"/>
                <a:gd name="connsiteX5" fmla="*/ 0 w 122339"/>
                <a:gd name="connsiteY5" fmla="*/ 133261 h 133260"/>
                <a:gd name="connsiteX6" fmla="*/ 45158 w 122339"/>
                <a:gd name="connsiteY6" fmla="*/ 0 h 133260"/>
                <a:gd name="connsiteX7" fmla="*/ 78215 w 122339"/>
                <a:gd name="connsiteY7" fmla="*/ 0 h 133260"/>
                <a:gd name="connsiteX8" fmla="*/ 122340 w 122339"/>
                <a:gd name="connsiteY8" fmla="*/ 133261 h 133260"/>
                <a:gd name="connsiteX9" fmla="*/ 76739 w 122339"/>
                <a:gd name="connsiteY9" fmla="*/ 80576 h 133260"/>
                <a:gd name="connsiteX10" fmla="*/ 63458 w 122339"/>
                <a:gd name="connsiteY10" fmla="*/ 35861 h 133260"/>
                <a:gd name="connsiteX11" fmla="*/ 61391 w 122339"/>
                <a:gd name="connsiteY11" fmla="*/ 23907 h 133260"/>
                <a:gd name="connsiteX12" fmla="*/ 60654 w 122339"/>
                <a:gd name="connsiteY12" fmla="*/ 23907 h 133260"/>
                <a:gd name="connsiteX13" fmla="*/ 58440 w 122339"/>
                <a:gd name="connsiteY13" fmla="*/ 35566 h 133260"/>
                <a:gd name="connsiteX14" fmla="*/ 45010 w 122339"/>
                <a:gd name="connsiteY14" fmla="*/ 80724 h 133260"/>
                <a:gd name="connsiteX15" fmla="*/ 76739 w 122339"/>
                <a:gd name="connsiteY15" fmla="*/ 80724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2339" h="133260">
                  <a:moveTo>
                    <a:pt x="122340" y="133261"/>
                  </a:moveTo>
                  <a:lnTo>
                    <a:pt x="91939" y="133261"/>
                  </a:lnTo>
                  <a:lnTo>
                    <a:pt x="83085" y="103598"/>
                  </a:lnTo>
                  <a:lnTo>
                    <a:pt x="38960" y="103598"/>
                  </a:lnTo>
                  <a:lnTo>
                    <a:pt x="30253" y="133261"/>
                  </a:lnTo>
                  <a:lnTo>
                    <a:pt x="0" y="133261"/>
                  </a:lnTo>
                  <a:lnTo>
                    <a:pt x="45158" y="0"/>
                  </a:lnTo>
                  <a:lnTo>
                    <a:pt x="78215" y="0"/>
                  </a:lnTo>
                  <a:lnTo>
                    <a:pt x="122340" y="133261"/>
                  </a:lnTo>
                  <a:close/>
                  <a:moveTo>
                    <a:pt x="76739" y="80576"/>
                  </a:moveTo>
                  <a:lnTo>
                    <a:pt x="63458" y="35861"/>
                  </a:lnTo>
                  <a:cubicBezTo>
                    <a:pt x="62424" y="32467"/>
                    <a:pt x="61834" y="28482"/>
                    <a:pt x="61391" y="23907"/>
                  </a:cubicBezTo>
                  <a:lnTo>
                    <a:pt x="60654" y="23907"/>
                  </a:lnTo>
                  <a:cubicBezTo>
                    <a:pt x="60358" y="27744"/>
                    <a:pt x="59620" y="31729"/>
                    <a:pt x="58440" y="35566"/>
                  </a:cubicBezTo>
                  <a:lnTo>
                    <a:pt x="45010" y="80724"/>
                  </a:lnTo>
                  <a:lnTo>
                    <a:pt x="76739" y="80724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D4FB76A-A1CA-4FCC-9384-2E9D5912DC1B}"/>
                </a:ext>
              </a:extLst>
            </p:cNvPr>
            <p:cNvSpPr/>
            <p:nvPr userDrawn="1"/>
          </p:nvSpPr>
          <p:spPr>
            <a:xfrm>
              <a:off x="5422664" y="1322102"/>
              <a:ext cx="55898" cy="66855"/>
            </a:xfrm>
            <a:custGeom>
              <a:avLst/>
              <a:gdLst>
                <a:gd name="connsiteX0" fmla="*/ 111419 w 111419"/>
                <a:gd name="connsiteY0" fmla="*/ 133261 h 133260"/>
                <a:gd name="connsiteX1" fmla="*/ 83233 w 111419"/>
                <a:gd name="connsiteY1" fmla="*/ 133261 h 133260"/>
                <a:gd name="connsiteX2" fmla="*/ 32171 w 111419"/>
                <a:gd name="connsiteY2" fmla="*/ 49585 h 133260"/>
                <a:gd name="connsiteX3" fmla="*/ 25973 w 111419"/>
                <a:gd name="connsiteY3" fmla="*/ 38517 h 133260"/>
                <a:gd name="connsiteX4" fmla="*/ 25678 w 111419"/>
                <a:gd name="connsiteY4" fmla="*/ 38517 h 133260"/>
                <a:gd name="connsiteX5" fmla="*/ 26416 w 111419"/>
                <a:gd name="connsiteY5" fmla="*/ 60063 h 133260"/>
                <a:gd name="connsiteX6" fmla="*/ 26416 w 111419"/>
                <a:gd name="connsiteY6" fmla="*/ 133261 h 133260"/>
                <a:gd name="connsiteX7" fmla="*/ 0 w 111419"/>
                <a:gd name="connsiteY7" fmla="*/ 133261 h 133260"/>
                <a:gd name="connsiteX8" fmla="*/ 0 w 111419"/>
                <a:gd name="connsiteY8" fmla="*/ 0 h 133260"/>
                <a:gd name="connsiteX9" fmla="*/ 30105 w 111419"/>
                <a:gd name="connsiteY9" fmla="*/ 0 h 133260"/>
                <a:gd name="connsiteX10" fmla="*/ 79248 w 111419"/>
                <a:gd name="connsiteY10" fmla="*/ 81167 h 133260"/>
                <a:gd name="connsiteX11" fmla="*/ 85446 w 111419"/>
                <a:gd name="connsiteY11" fmla="*/ 92087 h 133260"/>
                <a:gd name="connsiteX12" fmla="*/ 85741 w 111419"/>
                <a:gd name="connsiteY12" fmla="*/ 92087 h 133260"/>
                <a:gd name="connsiteX13" fmla="*/ 85003 w 111419"/>
                <a:gd name="connsiteY13" fmla="*/ 73788 h 133260"/>
                <a:gd name="connsiteX14" fmla="*/ 85003 w 111419"/>
                <a:gd name="connsiteY14" fmla="*/ 0 h 133260"/>
                <a:gd name="connsiteX15" fmla="*/ 111419 w 111419"/>
                <a:gd name="connsiteY15" fmla="*/ 0 h 133260"/>
                <a:gd name="connsiteX16" fmla="*/ 111419 w 111419"/>
                <a:gd name="connsiteY16" fmla="*/ 133261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11419" h="133260">
                  <a:moveTo>
                    <a:pt x="111419" y="133261"/>
                  </a:moveTo>
                  <a:lnTo>
                    <a:pt x="83233" y="133261"/>
                  </a:lnTo>
                  <a:lnTo>
                    <a:pt x="32171" y="49585"/>
                  </a:lnTo>
                  <a:cubicBezTo>
                    <a:pt x="29220" y="44715"/>
                    <a:pt x="27154" y="41026"/>
                    <a:pt x="25973" y="38517"/>
                  </a:cubicBezTo>
                  <a:lnTo>
                    <a:pt x="25678" y="38517"/>
                  </a:lnTo>
                  <a:cubicBezTo>
                    <a:pt x="26121" y="43240"/>
                    <a:pt x="26416" y="50471"/>
                    <a:pt x="26416" y="60063"/>
                  </a:cubicBezTo>
                  <a:lnTo>
                    <a:pt x="26416" y="133261"/>
                  </a:lnTo>
                  <a:lnTo>
                    <a:pt x="0" y="133261"/>
                  </a:lnTo>
                  <a:lnTo>
                    <a:pt x="0" y="0"/>
                  </a:lnTo>
                  <a:lnTo>
                    <a:pt x="30105" y="0"/>
                  </a:lnTo>
                  <a:lnTo>
                    <a:pt x="79248" y="81167"/>
                  </a:lnTo>
                  <a:cubicBezTo>
                    <a:pt x="81462" y="84856"/>
                    <a:pt x="83528" y="88398"/>
                    <a:pt x="85446" y="92087"/>
                  </a:cubicBezTo>
                  <a:lnTo>
                    <a:pt x="85741" y="92087"/>
                  </a:lnTo>
                  <a:cubicBezTo>
                    <a:pt x="85299" y="88988"/>
                    <a:pt x="85003" y="82937"/>
                    <a:pt x="85003" y="73788"/>
                  </a:cubicBezTo>
                  <a:lnTo>
                    <a:pt x="85003" y="0"/>
                  </a:lnTo>
                  <a:lnTo>
                    <a:pt x="111419" y="0"/>
                  </a:lnTo>
                  <a:lnTo>
                    <a:pt x="111419" y="133261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32F3B900-0BE7-4223-BD1D-5F51AF49E7CD}"/>
                </a:ext>
              </a:extLst>
            </p:cNvPr>
            <p:cNvSpPr/>
            <p:nvPr userDrawn="1"/>
          </p:nvSpPr>
          <p:spPr>
            <a:xfrm>
              <a:off x="5500321" y="1322101"/>
              <a:ext cx="54046" cy="66855"/>
            </a:xfrm>
            <a:custGeom>
              <a:avLst/>
              <a:gdLst>
                <a:gd name="connsiteX0" fmla="*/ 107730 w 107730"/>
                <a:gd name="connsiteY0" fmla="*/ 0 h 133260"/>
                <a:gd name="connsiteX1" fmla="*/ 67294 w 107730"/>
                <a:gd name="connsiteY1" fmla="*/ 85889 h 133260"/>
                <a:gd name="connsiteX2" fmla="*/ 67294 w 107730"/>
                <a:gd name="connsiteY2" fmla="*/ 133261 h 133260"/>
                <a:gd name="connsiteX3" fmla="*/ 39403 w 107730"/>
                <a:gd name="connsiteY3" fmla="*/ 133261 h 133260"/>
                <a:gd name="connsiteX4" fmla="*/ 39403 w 107730"/>
                <a:gd name="connsiteY4" fmla="*/ 86479 h 133260"/>
                <a:gd name="connsiteX5" fmla="*/ 0 w 107730"/>
                <a:gd name="connsiteY5" fmla="*/ 148 h 133260"/>
                <a:gd name="connsiteX6" fmla="*/ 31876 w 107730"/>
                <a:gd name="connsiteY6" fmla="*/ 148 h 133260"/>
                <a:gd name="connsiteX7" fmla="*/ 51799 w 107730"/>
                <a:gd name="connsiteY7" fmla="*/ 49881 h 133260"/>
                <a:gd name="connsiteX8" fmla="*/ 54603 w 107730"/>
                <a:gd name="connsiteY8" fmla="*/ 60801 h 133260"/>
                <a:gd name="connsiteX9" fmla="*/ 54898 w 107730"/>
                <a:gd name="connsiteY9" fmla="*/ 60801 h 133260"/>
                <a:gd name="connsiteX10" fmla="*/ 57555 w 107730"/>
                <a:gd name="connsiteY10" fmla="*/ 50323 h 133260"/>
                <a:gd name="connsiteX11" fmla="*/ 77920 w 107730"/>
                <a:gd name="connsiteY11" fmla="*/ 295 h 133260"/>
                <a:gd name="connsiteX12" fmla="*/ 107435 w 107730"/>
                <a:gd name="connsiteY12" fmla="*/ 295 h 133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07730" h="133260">
                  <a:moveTo>
                    <a:pt x="107730" y="0"/>
                  </a:moveTo>
                  <a:lnTo>
                    <a:pt x="67294" y="85889"/>
                  </a:lnTo>
                  <a:lnTo>
                    <a:pt x="67294" y="133261"/>
                  </a:lnTo>
                  <a:lnTo>
                    <a:pt x="39403" y="133261"/>
                  </a:lnTo>
                  <a:lnTo>
                    <a:pt x="39403" y="86479"/>
                  </a:lnTo>
                  <a:lnTo>
                    <a:pt x="0" y="148"/>
                  </a:lnTo>
                  <a:lnTo>
                    <a:pt x="31876" y="148"/>
                  </a:lnTo>
                  <a:lnTo>
                    <a:pt x="51799" y="49881"/>
                  </a:lnTo>
                  <a:cubicBezTo>
                    <a:pt x="52094" y="50766"/>
                    <a:pt x="53127" y="54455"/>
                    <a:pt x="54603" y="60801"/>
                  </a:cubicBezTo>
                  <a:lnTo>
                    <a:pt x="54898" y="60801"/>
                  </a:lnTo>
                  <a:cubicBezTo>
                    <a:pt x="55636" y="56374"/>
                    <a:pt x="56521" y="52832"/>
                    <a:pt x="57555" y="50323"/>
                  </a:cubicBezTo>
                  <a:lnTo>
                    <a:pt x="77920" y="295"/>
                  </a:lnTo>
                  <a:lnTo>
                    <a:pt x="107435" y="295"/>
                  </a:lnTo>
                  <a:close/>
                </a:path>
              </a:pathLst>
            </a:custGeom>
            <a:grpFill/>
            <a:ln w="1475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3317271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791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9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1002374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ru-RU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4132542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noAutofit/>
          </a:bodyPr>
          <a:lstStyle>
            <a:lvl1pPr>
              <a:defRPr lang="ru-RU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1DEFB85D-E83F-4527-98EB-12C21D47CAD3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735E0E3-6ADE-4892-AE03-8B2A659C476A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CDFA9873-064C-41AE-95ED-7B2346B3BC09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F5FF118B-2095-44AC-9EE7-33AA6E1BB52A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1E9BE5A5-5CC7-45B5-B86A-8AB6B94ADE2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D14D998-841B-49FB-8465-ABB4F0C817E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1A192FAF-3D93-4967-BE15-C8455F057FF7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7FC1DBC8-996E-4784-A229-B375080E7619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0307D4B-BEA6-4EAD-9FCB-A853A24BEE01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EFBEFE41-64CC-49C9-99F3-69516CCA4F7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5CF124C9-6247-4716-80D0-F6C5EC589DA7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8" name="2. Slide Title">
            <a:extLst>
              <a:ext uri="{FF2B5EF4-FFF2-40B4-BE49-F238E27FC236}">
                <a16:creationId xmlns:a16="http://schemas.microsoft.com/office/drawing/2014/main" id="{129C40F9-AC9E-4B14-9F96-EB83D43BD0D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99867033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46890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3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1706563"/>
            <a:ext cx="3813048" cy="769441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>
              <a:lnSpc>
                <a:spcPct val="10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BA85F023-63D8-428A-A2B0-FE655B370F8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453D6026-5A9F-4329-B445-F2ABB5172470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DB44EA9-0BDD-4F37-B453-BAA413C4EAD1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DB53577-68EB-404C-BE82-E4071FF157C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82789E-3C77-4DC0-9EFE-0396507ABF59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5272930-21B4-4A36-B6B3-D044208526C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CE209F3D-62A9-4CF3-8F88-C0DE025BAB2B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4433296-2746-466A-8DD8-F2B0926CBDEC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607FADF3-6858-40F3-BEBF-A47F2E8FF0CF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D707ECA-C12E-41AB-B479-DD08F46B8A0F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202CFF44-F116-409F-98FB-4409F4584870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378555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0053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7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6E7DB36-A646-41E5-86BC-F487A1C08F06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2A54521-CC21-42D1-8B9B-89DCB60BDC1C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89A489F2-BBC5-4F2B-9629-0AE20479D393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A0A1577-6D96-454E-A722-61193A3815E3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871BB3F4-D598-4B29-BE13-2F44A7EE1C1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082F1060-1CDE-4D3D-9D67-A0875F1A6DEB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BB66AE93-B438-489F-8B49-6BD73A9C3CA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8AB3CFED-D80B-4BFC-8ECF-57B3F7495DC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419F4AD-1557-48F4-9998-C2E0846E0CB3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D088F467-A463-41AF-B6FB-79476045F765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D5422A9-E9B6-43DB-A983-1D5896B96FF5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68471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4764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1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339A5A-7BA7-4CAA-8C13-8BB88BD4F0D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7D2FEB7-6902-42E4-8249-85E8C6CF4878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A007CFEC-6EFC-4271-8D0E-EAB3D53FD226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2CEFBCB4-FBED-4411-A2D3-D87AF74CF07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606D16C1-ADB0-403F-B4A6-E302080E30C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608E5753-0E6E-44E4-B367-16AE3B38C134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4DEDD54F-F765-472A-A384-95A2042282F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A460F474-00C3-4D60-BB30-B5F42C9AA656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B05BC42A-5062-48CD-9B90-9B6C7C84FDA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695C415-D67D-4AE0-BC35-736AB65222F1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74C77F3-C8A7-4B32-B6C2-5844B12C5543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11568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938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5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3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ru-RU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BFBA384-54FB-4802-973E-866A503E75E8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9335B9B1-ED56-4CC1-8AF3-02306AC7D74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A049486C-7016-4B45-84DD-1A054C42A64F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2E72D281-CE49-4CA7-A379-8D503A17C9B7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02213AF-CFF7-4967-8E05-3C802736843A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4777296-B673-4D22-A5CC-703CECF81DB6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93E1E22E-D139-4677-8D85-FE62FFFB9B26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56F668A8-AF6F-4E9B-ACA1-D2EEAD7E2A1E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F11FF2ED-B6EF-4FE7-8FD3-29CD3D66BB02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85A8FACE-9C1D-4B42-8722-292CEA3ABD9C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1BFCCABF-B4EA-478A-9B35-F5F82C1B06F9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823965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06580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9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tangle 29">
            <a:extLst>
              <a:ext uri="{FF2B5EF4-FFF2-40B4-BE49-F238E27FC236}">
                <a16:creationId xmlns:a16="http://schemas.microsoft.com/office/drawing/2014/main" id="{4E5DEE2F-1317-475B-B4D7-7EA10A6CFFC5}"/>
              </a:ext>
            </a:extLst>
          </p:cNvPr>
          <p:cNvSpPr/>
          <p:nvPr userDrawn="1"/>
        </p:nvSpPr>
        <p:spPr>
          <a:xfrm rot="10800000" flipH="1" flipV="1">
            <a:off x="3101815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2514601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BC9C417-F353-4193-9D6A-9F39100EE5AB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5F968BE7-6839-4B22-8097-1B115382415B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7BC2CBEE-0EAB-4952-97D0-9DFF95353AD5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F187008E-22D2-4E89-9764-F34584127E75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493495B4-FC91-4952-AF3F-CD5586DB10D2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B958D13C-2FD8-4BE2-BAB8-8A452ADEBC33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06C55C2A-764D-47D6-86D7-1C4B9DB51A7A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7E2E7412-17B0-4BE5-AA21-5952EAE090D5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7F9A5EB-FCC8-45B3-A520-52CAD7ADC7D9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AD04CCF5-F5FD-4A8A-8087-7542CE1DCBF6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882D34-56CB-44D4-B4E5-918C2A47BAE3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4BE320C-2883-4088-88AA-910630C0D955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E8779C0E-EE24-440A-96F3-50643F11894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90D83043-ED02-4569-B02C-8CC9F0F97AD5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2043DA0F-43B1-4958-A66C-F21BB3E361EA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78718196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375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3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spAutoFit/>
          </a:bodyPr>
          <a:lstStyle>
            <a:lvl1pPr algn="l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465577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2EB6021-7139-4FF6-B34F-CBD3EA36536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1C2BEC80-CBEF-4D4A-930E-B71A57EFD5EE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6A11D8DC-1B8D-4B56-899B-254F99A88F4C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D30FE632-7F8E-440A-903C-F6318EBE0A28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2613F310-C857-49C6-BC3D-8F31C2678FFD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6D02DA6F-EA93-41E1-855A-0A33FFFAFD9A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E59AD469-105B-49E0-A09A-56DF5B8DC9DE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F199748A-E599-49E1-9C93-50A6D3074F6F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6D8F30AB-394B-47FC-9EB3-8555E20E6CBC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F30B3845-D3B5-4BBC-BA78-A248D91D1B70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46DCDC21-151E-4BFC-91E5-AF7D94FCF2DC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DD0BF1DD-585D-45B8-ABD2-1BCAD553BF3D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4AAD671F-2DE0-47BB-9640-4F50F1FB4D3B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D8B0CC52-5845-481C-BB16-36CF266DB333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B80EB358-7BCE-40E8-B479-1B78A2D7C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8B5E8174-C56C-4B3F-A5B8-4BB2EB3D255F}"/>
              </a:ext>
            </a:extLst>
          </p:cNvPr>
          <p:cNvSpPr/>
          <p:nvPr userDrawn="1"/>
        </p:nvSpPr>
        <p:spPr>
          <a:xfrm rot="10800000" flipH="1" flipV="1">
            <a:off x="4052791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978623965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067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7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7" y="577493"/>
            <a:ext cx="5065776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5065776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2C942FF9-E10A-4359-B73A-804BD4ECC65C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D0F6D060-679B-4162-8A94-F04954FFC591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EB84DD07-7460-4BD0-A64D-FECB8F60306E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021313E3-94CA-4F86-86AA-566FA7B0751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CB9F1AC0-8B8E-413B-A1F1-DDEE34BD92D1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C797103D-94AE-496B-B899-7F0A62C45FC5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DB32A187-2D2D-49AB-8A60-FF5D79F18692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AF77BCA5-A8D5-4691-940B-DEDA0D4AE1BA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81185FC-D33C-4476-A464-1474EE9F9B65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B9EB785-FD66-43F8-9756-FD8C2786B6C9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87D1BF07-055B-4F23-A973-F88C1A021ABD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31630C-928C-4B11-A4AF-E0EEBC2A2BF3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FD456FC3-D1A0-4C9B-BF83-F0028AB9C753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7E9FA40F-0030-4B1E-B638-E89F86DF2D39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05350EC7-BAF7-4300-906D-BA3A4BF5D2AB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CDF21802-3D1E-4B71-84CE-F1FBC25CC426}"/>
              </a:ext>
            </a:extLst>
          </p:cNvPr>
          <p:cNvSpPr/>
          <p:nvPr userDrawn="1"/>
        </p:nvSpPr>
        <p:spPr>
          <a:xfrm rot="10800000" flipH="1" flipV="1">
            <a:off x="578100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</p:spTree>
    <p:extLst>
      <p:ext uri="{BB962C8B-B14F-4D97-AF65-F5344CB8AC3E}">
        <p14:creationId xmlns:p14="http://schemas.microsoft.com/office/powerpoint/2010/main" val="265458067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5290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1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gradFill flip="none" rotWithShape="1">
            <a:gsLst>
              <a:gs pos="100000">
                <a:schemeClr val="bg1"/>
              </a:gs>
              <a:gs pos="52000">
                <a:schemeClr val="bg1">
                  <a:lumMod val="85000"/>
                </a:schemeClr>
              </a:gs>
            </a:gsLst>
            <a:lin ang="2700000" scaled="1"/>
            <a:tileRect/>
          </a:gra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ru-RU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35DF616-BFC6-488A-83ED-45EA24266214}"/>
              </a:ext>
            </a:extLst>
          </p:cNvPr>
          <p:cNvSpPr/>
          <p:nvPr userDrawn="1"/>
        </p:nvSpPr>
        <p:spPr>
          <a:xfrm rot="10800000" flipH="1" flipV="1">
            <a:off x="7518367" y="3178"/>
            <a:ext cx="311945" cy="6854822"/>
          </a:xfrm>
          <a:prstGeom prst="rect">
            <a:avLst/>
          </a:prstGeom>
          <a:gradFill>
            <a:gsLst>
              <a:gs pos="0">
                <a:srgbClr val="ECEFF2">
                  <a:alpha val="0"/>
                </a:srgbClr>
              </a:gs>
              <a:gs pos="100000">
                <a:srgbClr val="999999">
                  <a:alpha val="60000"/>
                </a:srgbClr>
              </a:gs>
            </a:gsLst>
            <a:lin ang="0" scaled="0"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000000"/>
              </a:solidFill>
              <a:latin typeface="Verdana Pro"/>
            </a:endParaRPr>
          </a:p>
        </p:txBody>
      </p:sp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D668F04-7049-40BA-8D63-D8BBB6921318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554737" y="577493"/>
            <a:ext cx="6967728" cy="384721"/>
          </a:xfrm>
        </p:spPr>
        <p:txBody>
          <a:bodyPr vert="horz">
            <a:spAutoFit/>
          </a:bodyPr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4736" y="1002374"/>
            <a:ext cx="6967728" cy="246221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600" b="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ru-RU" sz="800" dirty="0"/>
              <a:t>Источник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7C393009-0681-4A8F-A1E9-19E10A949DCD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8"/>
            </p:custDataLst>
          </p:nvPr>
        </p:nvSpPr>
        <p:spPr>
          <a:xfrm>
            <a:off x="554735" y="41597"/>
            <a:ext cx="3843338" cy="123111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>
              <a:defRPr lang="en-US" sz="800" b="0" dirty="0">
                <a:cs typeface="+mn-cs"/>
              </a:defRPr>
            </a:lvl1pPr>
          </a:lstStyle>
          <a:p>
            <a:pPr lvl="0">
              <a:buNone/>
            </a:pPr>
            <a:r>
              <a:rPr lang="ru-RU" dirty="0"/>
              <a:t>Add tracker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8142015-08D5-477C-885C-C0245F0DF83F}"/>
              </a:ext>
            </a:extLst>
          </p:cNvPr>
          <p:cNvGrpSpPr/>
          <p:nvPr userDrawn="1"/>
        </p:nvGrpSpPr>
        <p:grpSpPr>
          <a:xfrm>
            <a:off x="10641752" y="6550331"/>
            <a:ext cx="614835" cy="76010"/>
            <a:chOff x="4422203" y="1048348"/>
            <a:chExt cx="1819818" cy="224978"/>
          </a:xfrm>
          <a:solidFill>
            <a:srgbClr val="AFAFAF"/>
          </a:solidFill>
        </p:grpSpPr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296DD07F-3A32-4965-A694-E3B0DD1858F6}"/>
                </a:ext>
              </a:extLst>
            </p:cNvPr>
            <p:cNvSpPr/>
            <p:nvPr userDrawn="1"/>
          </p:nvSpPr>
          <p:spPr>
            <a:xfrm>
              <a:off x="4422203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0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84C4249-FEEF-4B3A-B885-AC246C8CAE94}"/>
                </a:ext>
              </a:extLst>
            </p:cNvPr>
            <p:cNvSpPr/>
            <p:nvPr userDrawn="1"/>
          </p:nvSpPr>
          <p:spPr>
            <a:xfrm>
              <a:off x="4904469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753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739 w 319373"/>
                <a:gd name="connsiteY6" fmla="*/ 47435 h 321944"/>
                <a:gd name="connsiteX7" fmla="*/ 199549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753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739" y="47435"/>
                  </a:lnTo>
                  <a:lnTo>
                    <a:pt x="199549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8F1A86E7-F042-4BB8-BEC0-D4EB9F2229AC}"/>
                </a:ext>
              </a:extLst>
            </p:cNvPr>
            <p:cNvSpPr/>
            <p:nvPr userDrawn="1"/>
          </p:nvSpPr>
          <p:spPr>
            <a:xfrm>
              <a:off x="5103289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0C379A61-E7CD-4801-BF3F-20AAEF78CC5B}"/>
                </a:ext>
              </a:extLst>
            </p:cNvPr>
            <p:cNvSpPr/>
            <p:nvPr userDrawn="1"/>
          </p:nvSpPr>
          <p:spPr>
            <a:xfrm>
              <a:off x="4665303" y="1059554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8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3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8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3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6" name="Freeform: Shape 15">
              <a:extLst>
                <a:ext uri="{FF2B5EF4-FFF2-40B4-BE49-F238E27FC236}">
                  <a16:creationId xmlns:a16="http://schemas.microsoft.com/office/drawing/2014/main" id="{9C880477-9DBD-4C69-876C-F7F083DA3A67}"/>
                </a:ext>
              </a:extLst>
            </p:cNvPr>
            <p:cNvSpPr/>
            <p:nvPr userDrawn="1"/>
          </p:nvSpPr>
          <p:spPr>
            <a:xfrm>
              <a:off x="6065425" y="1059501"/>
              <a:ext cx="176596" cy="178017"/>
            </a:xfrm>
            <a:custGeom>
              <a:avLst/>
              <a:gdLst>
                <a:gd name="connsiteX0" fmla="*/ 106013 w 319373"/>
                <a:gd name="connsiteY0" fmla="*/ 274511 h 321944"/>
                <a:gd name="connsiteX1" fmla="*/ 106204 w 319373"/>
                <a:gd name="connsiteY1" fmla="*/ 274415 h 321944"/>
                <a:gd name="connsiteX2" fmla="*/ 305848 w 319373"/>
                <a:gd name="connsiteY2" fmla="*/ 0 h 321944"/>
                <a:gd name="connsiteX3" fmla="*/ 6382 w 319373"/>
                <a:gd name="connsiteY3" fmla="*/ 0 h 321944"/>
                <a:gd name="connsiteX4" fmla="*/ 6382 w 319373"/>
                <a:gd name="connsiteY4" fmla="*/ 45911 h 321944"/>
                <a:gd name="connsiteX5" fmla="*/ 200882 w 319373"/>
                <a:gd name="connsiteY5" fmla="*/ 45911 h 321944"/>
                <a:gd name="connsiteX6" fmla="*/ 199835 w 319373"/>
                <a:gd name="connsiteY6" fmla="*/ 47435 h 321944"/>
                <a:gd name="connsiteX7" fmla="*/ 199644 w 319373"/>
                <a:gd name="connsiteY7" fmla="*/ 47530 h 321944"/>
                <a:gd name="connsiteX8" fmla="*/ 0 w 319373"/>
                <a:gd name="connsiteY8" fmla="*/ 321945 h 321944"/>
                <a:gd name="connsiteX9" fmla="*/ 319373 w 319373"/>
                <a:gd name="connsiteY9" fmla="*/ 321945 h 321944"/>
                <a:gd name="connsiteX10" fmla="*/ 319373 w 319373"/>
                <a:gd name="connsiteY10" fmla="*/ 276035 h 321944"/>
                <a:gd name="connsiteX11" fmla="*/ 104870 w 319373"/>
                <a:gd name="connsiteY11" fmla="*/ 276035 h 321944"/>
                <a:gd name="connsiteX12" fmla="*/ 106013 w 319373"/>
                <a:gd name="connsiteY12" fmla="*/ 274511 h 3219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19373" h="321944">
                  <a:moveTo>
                    <a:pt x="106013" y="274511"/>
                  </a:moveTo>
                  <a:lnTo>
                    <a:pt x="106204" y="274415"/>
                  </a:lnTo>
                  <a:lnTo>
                    <a:pt x="305848" y="0"/>
                  </a:lnTo>
                  <a:lnTo>
                    <a:pt x="6382" y="0"/>
                  </a:lnTo>
                  <a:lnTo>
                    <a:pt x="6382" y="45911"/>
                  </a:lnTo>
                  <a:lnTo>
                    <a:pt x="200882" y="45911"/>
                  </a:lnTo>
                  <a:lnTo>
                    <a:pt x="199835" y="47435"/>
                  </a:lnTo>
                  <a:lnTo>
                    <a:pt x="199644" y="47530"/>
                  </a:lnTo>
                  <a:lnTo>
                    <a:pt x="0" y="321945"/>
                  </a:lnTo>
                  <a:lnTo>
                    <a:pt x="319373" y="321945"/>
                  </a:lnTo>
                  <a:lnTo>
                    <a:pt x="319373" y="276035"/>
                  </a:lnTo>
                  <a:lnTo>
                    <a:pt x="104870" y="276035"/>
                  </a:lnTo>
                  <a:lnTo>
                    <a:pt x="106013" y="274511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1CCAE9D6-079E-4B74-BCBA-E872D95892E1}"/>
                </a:ext>
              </a:extLst>
            </p:cNvPr>
            <p:cNvSpPr/>
            <p:nvPr userDrawn="1"/>
          </p:nvSpPr>
          <p:spPr>
            <a:xfrm>
              <a:off x="5343680" y="1048348"/>
              <a:ext cx="211289" cy="224978"/>
            </a:xfrm>
            <a:custGeom>
              <a:avLst/>
              <a:gdLst>
                <a:gd name="connsiteX0" fmla="*/ 283818 w 382116"/>
                <a:gd name="connsiteY0" fmla="*/ 341543 h 406873"/>
                <a:gd name="connsiteX1" fmla="*/ 357828 w 382116"/>
                <a:gd name="connsiteY1" fmla="*/ 405265 h 406873"/>
                <a:gd name="connsiteX2" fmla="*/ 347731 w 382116"/>
                <a:gd name="connsiteY2" fmla="*/ 406694 h 406873"/>
                <a:gd name="connsiteX3" fmla="*/ 286104 w 382116"/>
                <a:gd name="connsiteY3" fmla="*/ 406408 h 406873"/>
                <a:gd name="connsiteX4" fmla="*/ 269912 w 382116"/>
                <a:gd name="connsiteY4" fmla="*/ 400122 h 406873"/>
                <a:gd name="connsiteX5" fmla="*/ 218001 w 382116"/>
                <a:gd name="connsiteY5" fmla="*/ 357259 h 406873"/>
                <a:gd name="connsiteX6" fmla="*/ 196379 w 382116"/>
                <a:gd name="connsiteY6" fmla="*/ 349925 h 406873"/>
                <a:gd name="connsiteX7" fmla="*/ 81793 w 382116"/>
                <a:gd name="connsiteY7" fmla="*/ 334113 h 406873"/>
                <a:gd name="connsiteX8" fmla="*/ 9498 w 382116"/>
                <a:gd name="connsiteY8" fmla="*/ 250770 h 406873"/>
                <a:gd name="connsiteX9" fmla="*/ 10737 w 382116"/>
                <a:gd name="connsiteY9" fmla="*/ 93988 h 406873"/>
                <a:gd name="connsiteX10" fmla="*/ 91699 w 382116"/>
                <a:gd name="connsiteY10" fmla="*/ 13026 h 406873"/>
                <a:gd name="connsiteX11" fmla="*/ 265816 w 382116"/>
                <a:gd name="connsiteY11" fmla="*/ 6739 h 406873"/>
                <a:gd name="connsiteX12" fmla="*/ 368210 w 382116"/>
                <a:gd name="connsiteY12" fmla="*/ 83606 h 406873"/>
                <a:gd name="connsiteX13" fmla="*/ 380211 w 382116"/>
                <a:gd name="connsiteY13" fmla="*/ 136755 h 406873"/>
                <a:gd name="connsiteX14" fmla="*/ 371925 w 382116"/>
                <a:gd name="connsiteY14" fmla="*/ 256675 h 406873"/>
                <a:gd name="connsiteX15" fmla="*/ 303916 w 382116"/>
                <a:gd name="connsiteY15" fmla="*/ 333066 h 406873"/>
                <a:gd name="connsiteX16" fmla="*/ 283818 w 382116"/>
                <a:gd name="connsiteY16" fmla="*/ 341448 h 406873"/>
                <a:gd name="connsiteX17" fmla="*/ 315060 w 382116"/>
                <a:gd name="connsiteY17" fmla="*/ 179904 h 406873"/>
                <a:gd name="connsiteX18" fmla="*/ 311536 w 382116"/>
                <a:gd name="connsiteY18" fmla="*/ 126945 h 406873"/>
                <a:gd name="connsiteX19" fmla="*/ 233526 w 382116"/>
                <a:gd name="connsiteY19" fmla="*/ 48363 h 406873"/>
                <a:gd name="connsiteX20" fmla="*/ 140372 w 382116"/>
                <a:gd name="connsiteY20" fmla="*/ 49221 h 406873"/>
                <a:gd name="connsiteX21" fmla="*/ 76650 w 382116"/>
                <a:gd name="connsiteY21" fmla="*/ 102084 h 406873"/>
                <a:gd name="connsiteX22" fmla="*/ 69125 w 382116"/>
                <a:gd name="connsiteY22" fmla="*/ 159330 h 406873"/>
                <a:gd name="connsiteX23" fmla="*/ 76554 w 382116"/>
                <a:gd name="connsiteY23" fmla="*/ 248579 h 406873"/>
                <a:gd name="connsiteX24" fmla="*/ 141229 w 382116"/>
                <a:gd name="connsiteY24" fmla="*/ 301538 h 406873"/>
                <a:gd name="connsiteX25" fmla="*/ 237813 w 382116"/>
                <a:gd name="connsiteY25" fmla="*/ 302014 h 406873"/>
                <a:gd name="connsiteX26" fmla="*/ 309726 w 382116"/>
                <a:gd name="connsiteY26" fmla="*/ 234577 h 406873"/>
                <a:gd name="connsiteX27" fmla="*/ 315060 w 382116"/>
                <a:gd name="connsiteY27" fmla="*/ 179713 h 406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82116" h="406873">
                  <a:moveTo>
                    <a:pt x="283818" y="341543"/>
                  </a:moveTo>
                  <a:cubicBezTo>
                    <a:pt x="309155" y="363355"/>
                    <a:pt x="332586" y="383548"/>
                    <a:pt x="357828" y="405265"/>
                  </a:cubicBezTo>
                  <a:cubicBezTo>
                    <a:pt x="353065" y="406027"/>
                    <a:pt x="350398" y="406694"/>
                    <a:pt x="347731" y="406694"/>
                  </a:cubicBezTo>
                  <a:cubicBezTo>
                    <a:pt x="327157" y="406789"/>
                    <a:pt x="306583" y="407170"/>
                    <a:pt x="286104" y="406408"/>
                  </a:cubicBezTo>
                  <a:cubicBezTo>
                    <a:pt x="280580" y="406218"/>
                    <a:pt x="274293" y="403646"/>
                    <a:pt x="269912" y="400122"/>
                  </a:cubicBezTo>
                  <a:cubicBezTo>
                    <a:pt x="252386" y="386120"/>
                    <a:pt x="235812" y="370880"/>
                    <a:pt x="218001" y="357259"/>
                  </a:cubicBezTo>
                  <a:cubicBezTo>
                    <a:pt x="212191" y="352878"/>
                    <a:pt x="203618" y="349925"/>
                    <a:pt x="196379" y="349925"/>
                  </a:cubicBezTo>
                  <a:cubicBezTo>
                    <a:pt x="157422" y="349639"/>
                    <a:pt x="118845" y="348401"/>
                    <a:pt x="81793" y="334113"/>
                  </a:cubicBezTo>
                  <a:cubicBezTo>
                    <a:pt x="42931" y="319159"/>
                    <a:pt x="19500" y="290965"/>
                    <a:pt x="9498" y="250770"/>
                  </a:cubicBezTo>
                  <a:cubicBezTo>
                    <a:pt x="-3551" y="198382"/>
                    <a:pt x="-3170" y="145709"/>
                    <a:pt x="10737" y="93988"/>
                  </a:cubicBezTo>
                  <a:cubicBezTo>
                    <a:pt x="21881" y="52459"/>
                    <a:pt x="50170" y="24741"/>
                    <a:pt x="91699" y="13026"/>
                  </a:cubicBezTo>
                  <a:cubicBezTo>
                    <a:pt x="149040" y="-3262"/>
                    <a:pt x="207618" y="-2976"/>
                    <a:pt x="265816" y="6739"/>
                  </a:cubicBezTo>
                  <a:cubicBezTo>
                    <a:pt x="312584" y="14454"/>
                    <a:pt x="350970" y="36267"/>
                    <a:pt x="368210" y="83606"/>
                  </a:cubicBezTo>
                  <a:cubicBezTo>
                    <a:pt x="374401" y="100560"/>
                    <a:pt x="378878" y="118753"/>
                    <a:pt x="380211" y="136755"/>
                  </a:cubicBezTo>
                  <a:cubicBezTo>
                    <a:pt x="383355" y="176951"/>
                    <a:pt x="383831" y="217337"/>
                    <a:pt x="371925" y="256675"/>
                  </a:cubicBezTo>
                  <a:cubicBezTo>
                    <a:pt x="361066" y="292680"/>
                    <a:pt x="338968" y="318588"/>
                    <a:pt x="303916" y="333066"/>
                  </a:cubicBezTo>
                  <a:cubicBezTo>
                    <a:pt x="298106" y="335447"/>
                    <a:pt x="292296" y="337923"/>
                    <a:pt x="283818" y="341448"/>
                  </a:cubicBezTo>
                  <a:close/>
                  <a:moveTo>
                    <a:pt x="315060" y="179904"/>
                  </a:moveTo>
                  <a:cubicBezTo>
                    <a:pt x="313727" y="159425"/>
                    <a:pt x="312965" y="143137"/>
                    <a:pt x="311536" y="126945"/>
                  </a:cubicBezTo>
                  <a:cubicBezTo>
                    <a:pt x="307345" y="77796"/>
                    <a:pt x="282580" y="51697"/>
                    <a:pt x="233526" y="48363"/>
                  </a:cubicBezTo>
                  <a:cubicBezTo>
                    <a:pt x="202570" y="46268"/>
                    <a:pt x="171042" y="45696"/>
                    <a:pt x="140372" y="49221"/>
                  </a:cubicBezTo>
                  <a:cubicBezTo>
                    <a:pt x="109320" y="52840"/>
                    <a:pt x="84936" y="66461"/>
                    <a:pt x="76650" y="102084"/>
                  </a:cubicBezTo>
                  <a:cubicBezTo>
                    <a:pt x="72363" y="120753"/>
                    <a:pt x="68839" y="140280"/>
                    <a:pt x="69125" y="159330"/>
                  </a:cubicBezTo>
                  <a:cubicBezTo>
                    <a:pt x="69506" y="189143"/>
                    <a:pt x="70554" y="219528"/>
                    <a:pt x="76554" y="248579"/>
                  </a:cubicBezTo>
                  <a:cubicBezTo>
                    <a:pt x="83508" y="282488"/>
                    <a:pt x="104844" y="297633"/>
                    <a:pt x="141229" y="301538"/>
                  </a:cubicBezTo>
                  <a:cubicBezTo>
                    <a:pt x="173043" y="305062"/>
                    <a:pt x="205713" y="304300"/>
                    <a:pt x="237813" y="302014"/>
                  </a:cubicBezTo>
                  <a:cubicBezTo>
                    <a:pt x="277722" y="299061"/>
                    <a:pt x="304392" y="278011"/>
                    <a:pt x="309726" y="234577"/>
                  </a:cubicBezTo>
                  <a:cubicBezTo>
                    <a:pt x="312108" y="215051"/>
                    <a:pt x="313632" y="195429"/>
                    <a:pt x="315060" y="17971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4713A89E-7507-47E4-B728-C8FFE7377A2D}"/>
                </a:ext>
              </a:extLst>
            </p:cNvPr>
            <p:cNvSpPr/>
            <p:nvPr userDrawn="1"/>
          </p:nvSpPr>
          <p:spPr>
            <a:xfrm>
              <a:off x="5828211" y="1059553"/>
              <a:ext cx="209671" cy="178123"/>
            </a:xfrm>
            <a:custGeom>
              <a:avLst/>
              <a:gdLst>
                <a:gd name="connsiteX0" fmla="*/ 51340 w 379190"/>
                <a:gd name="connsiteY0" fmla="*/ 322135 h 322135"/>
                <a:gd name="connsiteX1" fmla="*/ 86106 w 379190"/>
                <a:gd name="connsiteY1" fmla="*/ 233553 h 322135"/>
                <a:gd name="connsiteX2" fmla="*/ 277177 w 379190"/>
                <a:gd name="connsiteY2" fmla="*/ 233553 h 322135"/>
                <a:gd name="connsiteX3" fmla="*/ 314420 w 379190"/>
                <a:gd name="connsiteY3" fmla="*/ 322135 h 322135"/>
                <a:gd name="connsiteX4" fmla="*/ 379190 w 379190"/>
                <a:gd name="connsiteY4" fmla="*/ 322135 h 322135"/>
                <a:gd name="connsiteX5" fmla="*/ 253270 w 379190"/>
                <a:gd name="connsiteY5" fmla="*/ 0 h 322135"/>
                <a:gd name="connsiteX6" fmla="*/ 124301 w 379190"/>
                <a:gd name="connsiteY6" fmla="*/ 0 h 322135"/>
                <a:gd name="connsiteX7" fmla="*/ 0 w 379190"/>
                <a:gd name="connsiteY7" fmla="*/ 322135 h 322135"/>
                <a:gd name="connsiteX8" fmla="*/ 51340 w 379190"/>
                <a:gd name="connsiteY8" fmla="*/ 322135 h 322135"/>
                <a:gd name="connsiteX9" fmla="*/ 157067 w 379190"/>
                <a:gd name="connsiteY9" fmla="*/ 47149 h 322135"/>
                <a:gd name="connsiteX10" fmla="*/ 205645 w 379190"/>
                <a:gd name="connsiteY10" fmla="*/ 47149 h 322135"/>
                <a:gd name="connsiteX11" fmla="*/ 259175 w 379190"/>
                <a:gd name="connsiteY11" fmla="*/ 189357 h 322135"/>
                <a:gd name="connsiteX12" fmla="*/ 104204 w 379190"/>
                <a:gd name="connsiteY12" fmla="*/ 189357 h 322135"/>
                <a:gd name="connsiteX13" fmla="*/ 157067 w 379190"/>
                <a:gd name="connsiteY13" fmla="*/ 47149 h 32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79190" h="322135">
                  <a:moveTo>
                    <a:pt x="51340" y="322135"/>
                  </a:moveTo>
                  <a:lnTo>
                    <a:pt x="86106" y="233553"/>
                  </a:lnTo>
                  <a:lnTo>
                    <a:pt x="277177" y="233553"/>
                  </a:lnTo>
                  <a:lnTo>
                    <a:pt x="314420" y="322135"/>
                  </a:lnTo>
                  <a:lnTo>
                    <a:pt x="379190" y="322135"/>
                  </a:lnTo>
                  <a:lnTo>
                    <a:pt x="253270" y="0"/>
                  </a:lnTo>
                  <a:lnTo>
                    <a:pt x="124301" y="0"/>
                  </a:lnTo>
                  <a:lnTo>
                    <a:pt x="0" y="322135"/>
                  </a:lnTo>
                  <a:lnTo>
                    <a:pt x="51340" y="322135"/>
                  </a:lnTo>
                  <a:close/>
                  <a:moveTo>
                    <a:pt x="157067" y="47149"/>
                  </a:moveTo>
                  <a:lnTo>
                    <a:pt x="205645" y="47149"/>
                  </a:lnTo>
                  <a:lnTo>
                    <a:pt x="259175" y="189357"/>
                  </a:lnTo>
                  <a:lnTo>
                    <a:pt x="104204" y="189357"/>
                  </a:lnTo>
                  <a:lnTo>
                    <a:pt x="157067" y="4714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7C839D81-0F0B-41A7-91C3-8DAEA6B60987}"/>
                </a:ext>
              </a:extLst>
            </p:cNvPr>
            <p:cNvSpPr/>
            <p:nvPr userDrawn="1"/>
          </p:nvSpPr>
          <p:spPr>
            <a:xfrm>
              <a:off x="5604839" y="1048755"/>
              <a:ext cx="186820" cy="192344"/>
            </a:xfrm>
            <a:custGeom>
              <a:avLst/>
              <a:gdLst>
                <a:gd name="connsiteX0" fmla="*/ 120884 w 337863"/>
                <a:gd name="connsiteY0" fmla="*/ 55151 h 347855"/>
                <a:gd name="connsiteX1" fmla="*/ 185940 w 337863"/>
                <a:gd name="connsiteY1" fmla="*/ 45817 h 347855"/>
                <a:gd name="connsiteX2" fmla="*/ 254234 w 337863"/>
                <a:gd name="connsiteY2" fmla="*/ 49912 h 347855"/>
                <a:gd name="connsiteX3" fmla="*/ 316909 w 337863"/>
                <a:gd name="connsiteY3" fmla="*/ 64200 h 347855"/>
                <a:gd name="connsiteX4" fmla="*/ 320719 w 337863"/>
                <a:gd name="connsiteY4" fmla="*/ 65343 h 347855"/>
                <a:gd name="connsiteX5" fmla="*/ 337864 w 337863"/>
                <a:gd name="connsiteY5" fmla="*/ 71820 h 347855"/>
                <a:gd name="connsiteX6" fmla="*/ 337864 w 337863"/>
                <a:gd name="connsiteY6" fmla="*/ 14098 h 347855"/>
                <a:gd name="connsiteX7" fmla="*/ 324243 w 337863"/>
                <a:gd name="connsiteY7" fmla="*/ 12479 h 347855"/>
                <a:gd name="connsiteX8" fmla="*/ 320719 w 337863"/>
                <a:gd name="connsiteY8" fmla="*/ 11908 h 347855"/>
                <a:gd name="connsiteX9" fmla="*/ 256330 w 337863"/>
                <a:gd name="connsiteY9" fmla="*/ 3716 h 347855"/>
                <a:gd name="connsiteX10" fmla="*/ 91071 w 337863"/>
                <a:gd name="connsiteY10" fmla="*/ 12193 h 347855"/>
                <a:gd name="connsiteX11" fmla="*/ 6870 w 337863"/>
                <a:gd name="connsiteY11" fmla="*/ 104776 h 347855"/>
                <a:gd name="connsiteX12" fmla="*/ 6489 w 337863"/>
                <a:gd name="connsiteY12" fmla="*/ 246508 h 347855"/>
                <a:gd name="connsiteX13" fmla="*/ 59257 w 337863"/>
                <a:gd name="connsiteY13" fmla="*/ 326518 h 347855"/>
                <a:gd name="connsiteX14" fmla="*/ 150412 w 337863"/>
                <a:gd name="connsiteY14" fmla="*/ 347759 h 347855"/>
                <a:gd name="connsiteX15" fmla="*/ 302907 w 337863"/>
                <a:gd name="connsiteY15" fmla="*/ 343663 h 347855"/>
                <a:gd name="connsiteX16" fmla="*/ 329767 w 337863"/>
                <a:gd name="connsiteY16" fmla="*/ 339568 h 347855"/>
                <a:gd name="connsiteX17" fmla="*/ 337483 w 337863"/>
                <a:gd name="connsiteY17" fmla="*/ 329566 h 347855"/>
                <a:gd name="connsiteX18" fmla="*/ 337483 w 337863"/>
                <a:gd name="connsiteY18" fmla="*/ 329376 h 347855"/>
                <a:gd name="connsiteX19" fmla="*/ 337864 w 337863"/>
                <a:gd name="connsiteY19" fmla="*/ 329566 h 347855"/>
                <a:gd name="connsiteX20" fmla="*/ 337864 w 337863"/>
                <a:gd name="connsiteY20" fmla="*/ 208123 h 347855"/>
                <a:gd name="connsiteX21" fmla="*/ 187083 w 337863"/>
                <a:gd name="connsiteY21" fmla="*/ 208123 h 347855"/>
                <a:gd name="connsiteX22" fmla="*/ 172700 w 337863"/>
                <a:gd name="connsiteY22" fmla="*/ 250318 h 347855"/>
                <a:gd name="connsiteX23" fmla="*/ 189083 w 337863"/>
                <a:gd name="connsiteY23" fmla="*/ 250318 h 347855"/>
                <a:gd name="connsiteX24" fmla="*/ 256901 w 337863"/>
                <a:gd name="connsiteY24" fmla="*/ 250318 h 347855"/>
                <a:gd name="connsiteX25" fmla="*/ 276713 w 337863"/>
                <a:gd name="connsiteY25" fmla="*/ 250318 h 347855"/>
                <a:gd name="connsiteX26" fmla="*/ 276713 w 337863"/>
                <a:gd name="connsiteY26" fmla="*/ 300420 h 347855"/>
                <a:gd name="connsiteX27" fmla="*/ 269760 w 337863"/>
                <a:gd name="connsiteY27" fmla="*/ 302515 h 347855"/>
                <a:gd name="connsiteX28" fmla="*/ 141172 w 337863"/>
                <a:gd name="connsiteY28" fmla="*/ 302325 h 347855"/>
                <a:gd name="connsiteX29" fmla="*/ 73069 w 337863"/>
                <a:gd name="connsiteY29" fmla="*/ 241079 h 347855"/>
                <a:gd name="connsiteX30" fmla="*/ 73831 w 337863"/>
                <a:gd name="connsiteY30" fmla="*/ 107348 h 347855"/>
                <a:gd name="connsiteX31" fmla="*/ 120789 w 337863"/>
                <a:gd name="connsiteY31" fmla="*/ 55056 h 347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337863" h="347855">
                  <a:moveTo>
                    <a:pt x="120884" y="55151"/>
                  </a:moveTo>
                  <a:cubicBezTo>
                    <a:pt x="142125" y="50103"/>
                    <a:pt x="164223" y="46293"/>
                    <a:pt x="185940" y="45817"/>
                  </a:cubicBezTo>
                  <a:cubicBezTo>
                    <a:pt x="208895" y="45340"/>
                    <a:pt x="231755" y="46674"/>
                    <a:pt x="254234" y="49912"/>
                  </a:cubicBezTo>
                  <a:cubicBezTo>
                    <a:pt x="269569" y="52675"/>
                    <a:pt x="296049" y="58009"/>
                    <a:pt x="316909" y="64200"/>
                  </a:cubicBezTo>
                  <a:cubicBezTo>
                    <a:pt x="318147" y="64581"/>
                    <a:pt x="319480" y="64962"/>
                    <a:pt x="320719" y="65343"/>
                  </a:cubicBezTo>
                  <a:cubicBezTo>
                    <a:pt x="327386" y="67438"/>
                    <a:pt x="333387" y="69629"/>
                    <a:pt x="337864" y="71820"/>
                  </a:cubicBezTo>
                  <a:lnTo>
                    <a:pt x="337864" y="14098"/>
                  </a:lnTo>
                  <a:lnTo>
                    <a:pt x="324243" y="12479"/>
                  </a:lnTo>
                  <a:cubicBezTo>
                    <a:pt x="323195" y="12289"/>
                    <a:pt x="321957" y="12098"/>
                    <a:pt x="320719" y="11908"/>
                  </a:cubicBezTo>
                  <a:cubicBezTo>
                    <a:pt x="299192" y="9717"/>
                    <a:pt x="277856" y="5716"/>
                    <a:pt x="256330" y="3716"/>
                  </a:cubicBezTo>
                  <a:cubicBezTo>
                    <a:pt x="200894" y="-1427"/>
                    <a:pt x="145459" y="-3332"/>
                    <a:pt x="91071" y="12193"/>
                  </a:cubicBezTo>
                  <a:cubicBezTo>
                    <a:pt x="43922" y="25719"/>
                    <a:pt x="16204" y="57818"/>
                    <a:pt x="6870" y="104776"/>
                  </a:cubicBezTo>
                  <a:cubicBezTo>
                    <a:pt x="-2369" y="151735"/>
                    <a:pt x="-2084" y="199360"/>
                    <a:pt x="6489" y="246508"/>
                  </a:cubicBezTo>
                  <a:cubicBezTo>
                    <a:pt x="12680" y="280322"/>
                    <a:pt x="27825" y="308707"/>
                    <a:pt x="59257" y="326518"/>
                  </a:cubicBezTo>
                  <a:cubicBezTo>
                    <a:pt x="87737" y="342616"/>
                    <a:pt x="119074" y="347378"/>
                    <a:pt x="150412" y="347759"/>
                  </a:cubicBezTo>
                  <a:cubicBezTo>
                    <a:pt x="201180" y="348426"/>
                    <a:pt x="252043" y="345473"/>
                    <a:pt x="302907" y="343663"/>
                  </a:cubicBezTo>
                  <a:cubicBezTo>
                    <a:pt x="311956" y="343378"/>
                    <a:pt x="321100" y="342044"/>
                    <a:pt x="329767" y="339568"/>
                  </a:cubicBezTo>
                  <a:cubicBezTo>
                    <a:pt x="333101" y="338615"/>
                    <a:pt x="337387" y="333091"/>
                    <a:pt x="337483" y="329566"/>
                  </a:cubicBezTo>
                  <a:lnTo>
                    <a:pt x="337483" y="329376"/>
                  </a:lnTo>
                  <a:lnTo>
                    <a:pt x="337864" y="329566"/>
                  </a:lnTo>
                  <a:lnTo>
                    <a:pt x="337864" y="208123"/>
                  </a:lnTo>
                  <a:lnTo>
                    <a:pt x="187083" y="208123"/>
                  </a:lnTo>
                  <a:lnTo>
                    <a:pt x="172700" y="250318"/>
                  </a:lnTo>
                  <a:cubicBezTo>
                    <a:pt x="180034" y="250318"/>
                    <a:pt x="184511" y="250318"/>
                    <a:pt x="189083" y="250318"/>
                  </a:cubicBezTo>
                  <a:cubicBezTo>
                    <a:pt x="211657" y="250318"/>
                    <a:pt x="234327" y="250414"/>
                    <a:pt x="256901" y="250318"/>
                  </a:cubicBezTo>
                  <a:lnTo>
                    <a:pt x="276713" y="250318"/>
                  </a:lnTo>
                  <a:lnTo>
                    <a:pt x="276713" y="300420"/>
                  </a:lnTo>
                  <a:cubicBezTo>
                    <a:pt x="275094" y="301563"/>
                    <a:pt x="272903" y="302325"/>
                    <a:pt x="269760" y="302515"/>
                  </a:cubicBezTo>
                  <a:cubicBezTo>
                    <a:pt x="226897" y="305563"/>
                    <a:pt x="184130" y="307183"/>
                    <a:pt x="141172" y="302325"/>
                  </a:cubicBezTo>
                  <a:cubicBezTo>
                    <a:pt x="104501" y="298134"/>
                    <a:pt x="79546" y="277560"/>
                    <a:pt x="73069" y="241079"/>
                  </a:cubicBezTo>
                  <a:cubicBezTo>
                    <a:pt x="65163" y="196502"/>
                    <a:pt x="65068" y="151639"/>
                    <a:pt x="73831" y="107348"/>
                  </a:cubicBezTo>
                  <a:cubicBezTo>
                    <a:pt x="78879" y="81631"/>
                    <a:pt x="94024" y="61438"/>
                    <a:pt x="120789" y="5505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5EA8C9E1-71A3-4C9B-B0B8-578FB070A1AE}"/>
              </a:ext>
            </a:extLst>
          </p:cNvPr>
          <p:cNvSpPr>
            <a:spLocks/>
          </p:cNvSpPr>
          <p:nvPr userDrawn="1"/>
        </p:nvSpPr>
        <p:spPr>
          <a:xfrm>
            <a:off x="11348299" y="6514142"/>
            <a:ext cx="0" cy="123111"/>
          </a:xfrm>
          <a:custGeom>
            <a:avLst/>
            <a:gdLst>
              <a:gd name="connsiteX0" fmla="*/ 0 w 0"/>
              <a:gd name="connsiteY0" fmla="*/ 0 h 124691"/>
              <a:gd name="connsiteX1" fmla="*/ 0 w 0"/>
              <a:gd name="connsiteY1" fmla="*/ 124691 h 1246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h="124691">
                <a:moveTo>
                  <a:pt x="0" y="0"/>
                </a:moveTo>
                <a:lnTo>
                  <a:pt x="0" y="124691"/>
                </a:lnTo>
              </a:path>
            </a:pathLst>
          </a:custGeom>
          <a:noFill/>
          <a:ln w="6350" cap="sq">
            <a:solidFill>
              <a:srgbClr val="AFAFA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26AF3788-3179-46C2-9A12-5F0FE749F60B}"/>
              </a:ext>
            </a:extLst>
          </p:cNvPr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black">
          <a:xfrm>
            <a:off x="11311763" y="6514142"/>
            <a:ext cx="325501" cy="1231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ru-RU" sz="800" b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sz="800" b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C076206B-E647-4ADB-8102-B5267251CE69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27" name="Freeform: Shape 26">
              <a:extLst>
                <a:ext uri="{FF2B5EF4-FFF2-40B4-BE49-F238E27FC236}">
                  <a16:creationId xmlns:a16="http://schemas.microsoft.com/office/drawing/2014/main" id="{3F961817-68D8-4F1E-BB40-93C90C0A86DE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28" name="Freeform: Shape 27">
              <a:extLst>
                <a:ext uri="{FF2B5EF4-FFF2-40B4-BE49-F238E27FC236}">
                  <a16:creationId xmlns:a16="http://schemas.microsoft.com/office/drawing/2014/main" id="{321343D6-887B-4580-8B5B-8697684DF5BA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9" name="Freeform: Shape 28">
              <a:extLst>
                <a:ext uri="{FF2B5EF4-FFF2-40B4-BE49-F238E27FC236}">
                  <a16:creationId xmlns:a16="http://schemas.microsoft.com/office/drawing/2014/main" id="{FB46BF55-811A-4B20-BB68-C872296BD5B8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430234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6.xml"/><Relationship Id="rId39" Type="http://schemas.openxmlformats.org/officeDocument/2006/relationships/tags" Target="../tags/tag19.xml"/><Relationship Id="rId21" Type="http://schemas.openxmlformats.org/officeDocument/2006/relationships/vmlDrawing" Target="../drawings/vmlDrawing1.vml"/><Relationship Id="rId34" Type="http://schemas.openxmlformats.org/officeDocument/2006/relationships/tags" Target="../tags/tag14.xml"/><Relationship Id="rId42" Type="http://schemas.openxmlformats.org/officeDocument/2006/relationships/tags" Target="../tags/tag22.xml"/><Relationship Id="rId47" Type="http://schemas.openxmlformats.org/officeDocument/2006/relationships/tags" Target="../tags/tag27.xml"/><Relationship Id="rId50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tags" Target="../tags/tag9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4.xml"/><Relationship Id="rId32" Type="http://schemas.openxmlformats.org/officeDocument/2006/relationships/tags" Target="../tags/tag12.xml"/><Relationship Id="rId37" Type="http://schemas.openxmlformats.org/officeDocument/2006/relationships/tags" Target="../tags/tag17.xml"/><Relationship Id="rId40" Type="http://schemas.openxmlformats.org/officeDocument/2006/relationships/tags" Target="../tags/tag20.xml"/><Relationship Id="rId45" Type="http://schemas.openxmlformats.org/officeDocument/2006/relationships/tags" Target="../tags/tag2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28" Type="http://schemas.openxmlformats.org/officeDocument/2006/relationships/tags" Target="../tags/tag8.xml"/><Relationship Id="rId36" Type="http://schemas.openxmlformats.org/officeDocument/2006/relationships/tags" Target="../tags/tag16.xml"/><Relationship Id="rId49" Type="http://schemas.openxmlformats.org/officeDocument/2006/relationships/tags" Target="../tags/tag2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11.xml"/><Relationship Id="rId44" Type="http://schemas.openxmlformats.org/officeDocument/2006/relationships/tags" Target="../tags/tag2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Relationship Id="rId27" Type="http://schemas.openxmlformats.org/officeDocument/2006/relationships/tags" Target="../tags/tag7.xml"/><Relationship Id="rId30" Type="http://schemas.openxmlformats.org/officeDocument/2006/relationships/tags" Target="../tags/tag10.xml"/><Relationship Id="rId35" Type="http://schemas.openxmlformats.org/officeDocument/2006/relationships/tags" Target="../tags/tag15.xml"/><Relationship Id="rId43" Type="http://schemas.openxmlformats.org/officeDocument/2006/relationships/tags" Target="../tags/tag23.xml"/><Relationship Id="rId48" Type="http://schemas.openxmlformats.org/officeDocument/2006/relationships/tags" Target="../tags/tag28.xml"/><Relationship Id="rId8" Type="http://schemas.openxmlformats.org/officeDocument/2006/relationships/slideLayout" Target="../slideLayouts/slideLayout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5.xml"/><Relationship Id="rId33" Type="http://schemas.openxmlformats.org/officeDocument/2006/relationships/tags" Target="../tags/tag13.xml"/><Relationship Id="rId38" Type="http://schemas.openxmlformats.org/officeDocument/2006/relationships/tags" Target="../tags/tag18.xml"/><Relationship Id="rId46" Type="http://schemas.openxmlformats.org/officeDocument/2006/relationships/tags" Target="../tags/tag26.xml"/><Relationship Id="rId20" Type="http://schemas.openxmlformats.org/officeDocument/2006/relationships/theme" Target="../theme/theme1.xml"/><Relationship Id="rId41" Type="http://schemas.openxmlformats.org/officeDocument/2006/relationships/tags" Target="../tags/tag2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tags" Target="../tags/tag1302.xml"/><Relationship Id="rId39" Type="http://schemas.openxmlformats.org/officeDocument/2006/relationships/tags" Target="../tags/tag1315.xml"/><Relationship Id="rId21" Type="http://schemas.openxmlformats.org/officeDocument/2006/relationships/tags" Target="../tags/tag1297.xml"/><Relationship Id="rId34" Type="http://schemas.openxmlformats.org/officeDocument/2006/relationships/tags" Target="../tags/tag1310.xml"/><Relationship Id="rId42" Type="http://schemas.openxmlformats.org/officeDocument/2006/relationships/tags" Target="../tags/tag1318.xml"/><Relationship Id="rId47" Type="http://schemas.openxmlformats.org/officeDocument/2006/relationships/tags" Target="../tags/tag1323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168.x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9" Type="http://schemas.openxmlformats.org/officeDocument/2006/relationships/tags" Target="../tags/tag1305.xml"/><Relationship Id="rId11" Type="http://schemas.openxmlformats.org/officeDocument/2006/relationships/slideLayout" Target="../slideLayouts/slideLayout172.xml"/><Relationship Id="rId24" Type="http://schemas.openxmlformats.org/officeDocument/2006/relationships/tags" Target="../tags/tag1300.xml"/><Relationship Id="rId32" Type="http://schemas.openxmlformats.org/officeDocument/2006/relationships/tags" Target="../tags/tag1308.xml"/><Relationship Id="rId37" Type="http://schemas.openxmlformats.org/officeDocument/2006/relationships/tags" Target="../tags/tag1313.xml"/><Relationship Id="rId40" Type="http://schemas.openxmlformats.org/officeDocument/2006/relationships/tags" Target="../tags/tag1316.xml"/><Relationship Id="rId45" Type="http://schemas.openxmlformats.org/officeDocument/2006/relationships/tags" Target="../tags/tag1321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tags" Target="../tags/tag1299.xml"/><Relationship Id="rId28" Type="http://schemas.openxmlformats.org/officeDocument/2006/relationships/tags" Target="../tags/tag1304.xml"/><Relationship Id="rId36" Type="http://schemas.openxmlformats.org/officeDocument/2006/relationships/tags" Target="../tags/tag1312.xml"/><Relationship Id="rId49" Type="http://schemas.openxmlformats.org/officeDocument/2006/relationships/oleObject" Target="../embeddings/oleObject167.bin"/><Relationship Id="rId10" Type="http://schemas.openxmlformats.org/officeDocument/2006/relationships/slideLayout" Target="../slideLayouts/slideLayout171.xml"/><Relationship Id="rId19" Type="http://schemas.openxmlformats.org/officeDocument/2006/relationships/theme" Target="../theme/theme10.xml"/><Relationship Id="rId31" Type="http://schemas.openxmlformats.org/officeDocument/2006/relationships/tags" Target="../tags/tag1307.xml"/><Relationship Id="rId44" Type="http://schemas.openxmlformats.org/officeDocument/2006/relationships/tags" Target="../tags/tag1320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tags" Target="../tags/tag1298.xml"/><Relationship Id="rId27" Type="http://schemas.openxmlformats.org/officeDocument/2006/relationships/tags" Target="../tags/tag1303.xml"/><Relationship Id="rId30" Type="http://schemas.openxmlformats.org/officeDocument/2006/relationships/tags" Target="../tags/tag1306.xml"/><Relationship Id="rId35" Type="http://schemas.openxmlformats.org/officeDocument/2006/relationships/tags" Target="../tags/tag1311.xml"/><Relationship Id="rId43" Type="http://schemas.openxmlformats.org/officeDocument/2006/relationships/tags" Target="../tags/tag1319.xml"/><Relationship Id="rId48" Type="http://schemas.openxmlformats.org/officeDocument/2006/relationships/tags" Target="../tags/tag1324.xml"/><Relationship Id="rId8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tags" Target="../tags/tag1301.xml"/><Relationship Id="rId33" Type="http://schemas.openxmlformats.org/officeDocument/2006/relationships/tags" Target="../tags/tag1309.xml"/><Relationship Id="rId38" Type="http://schemas.openxmlformats.org/officeDocument/2006/relationships/tags" Target="../tags/tag1314.xml"/><Relationship Id="rId46" Type="http://schemas.openxmlformats.org/officeDocument/2006/relationships/tags" Target="../tags/tag1322.xml"/><Relationship Id="rId20" Type="http://schemas.openxmlformats.org/officeDocument/2006/relationships/vmlDrawing" Target="../drawings/vmlDrawing167.vml"/><Relationship Id="rId41" Type="http://schemas.openxmlformats.org/officeDocument/2006/relationships/tags" Target="../tags/tag1317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2.xml"/><Relationship Id="rId18" Type="http://schemas.openxmlformats.org/officeDocument/2006/relationships/slideLayout" Target="../slideLayouts/slideLayout197.xml"/><Relationship Id="rId26" Type="http://schemas.openxmlformats.org/officeDocument/2006/relationships/tags" Target="../tags/tag1436.xml"/><Relationship Id="rId39" Type="http://schemas.openxmlformats.org/officeDocument/2006/relationships/tags" Target="../tags/tag1449.xml"/><Relationship Id="rId21" Type="http://schemas.openxmlformats.org/officeDocument/2006/relationships/theme" Target="../theme/theme11.xml"/><Relationship Id="rId34" Type="http://schemas.openxmlformats.org/officeDocument/2006/relationships/tags" Target="../tags/tag1444.xml"/><Relationship Id="rId42" Type="http://schemas.openxmlformats.org/officeDocument/2006/relationships/tags" Target="../tags/tag1452.xml"/><Relationship Id="rId47" Type="http://schemas.openxmlformats.org/officeDocument/2006/relationships/tags" Target="../tags/tag1457.xml"/><Relationship Id="rId50" Type="http://schemas.openxmlformats.org/officeDocument/2006/relationships/tags" Target="../tags/tag1460.xml"/><Relationship Id="rId7" Type="http://schemas.openxmlformats.org/officeDocument/2006/relationships/slideLayout" Target="../slideLayouts/slideLayout186.xml"/><Relationship Id="rId2" Type="http://schemas.openxmlformats.org/officeDocument/2006/relationships/slideLayout" Target="../slideLayouts/slideLayout181.xml"/><Relationship Id="rId16" Type="http://schemas.openxmlformats.org/officeDocument/2006/relationships/slideLayout" Target="../slideLayouts/slideLayout195.xml"/><Relationship Id="rId29" Type="http://schemas.openxmlformats.org/officeDocument/2006/relationships/tags" Target="../tags/tag1439.xml"/><Relationship Id="rId11" Type="http://schemas.openxmlformats.org/officeDocument/2006/relationships/slideLayout" Target="../slideLayouts/slideLayout190.xml"/><Relationship Id="rId24" Type="http://schemas.openxmlformats.org/officeDocument/2006/relationships/tags" Target="../tags/tag1434.xml"/><Relationship Id="rId32" Type="http://schemas.openxmlformats.org/officeDocument/2006/relationships/tags" Target="../tags/tag1442.xml"/><Relationship Id="rId37" Type="http://schemas.openxmlformats.org/officeDocument/2006/relationships/tags" Target="../tags/tag1447.xml"/><Relationship Id="rId40" Type="http://schemas.openxmlformats.org/officeDocument/2006/relationships/tags" Target="../tags/tag1450.xml"/><Relationship Id="rId45" Type="http://schemas.openxmlformats.org/officeDocument/2006/relationships/tags" Target="../tags/tag1455.xml"/><Relationship Id="rId5" Type="http://schemas.openxmlformats.org/officeDocument/2006/relationships/slideLayout" Target="../slideLayouts/slideLayout184.xml"/><Relationship Id="rId15" Type="http://schemas.openxmlformats.org/officeDocument/2006/relationships/slideLayout" Target="../slideLayouts/slideLayout194.xml"/><Relationship Id="rId23" Type="http://schemas.openxmlformats.org/officeDocument/2006/relationships/tags" Target="../tags/tag1433.xml"/><Relationship Id="rId28" Type="http://schemas.openxmlformats.org/officeDocument/2006/relationships/tags" Target="../tags/tag1438.xml"/><Relationship Id="rId36" Type="http://schemas.openxmlformats.org/officeDocument/2006/relationships/tags" Target="../tags/tag1446.xml"/><Relationship Id="rId49" Type="http://schemas.openxmlformats.org/officeDocument/2006/relationships/tags" Target="../tags/tag1459.xml"/><Relationship Id="rId10" Type="http://schemas.openxmlformats.org/officeDocument/2006/relationships/slideLayout" Target="../slideLayouts/slideLayout189.xml"/><Relationship Id="rId19" Type="http://schemas.openxmlformats.org/officeDocument/2006/relationships/slideLayout" Target="../slideLayouts/slideLayout198.xml"/><Relationship Id="rId31" Type="http://schemas.openxmlformats.org/officeDocument/2006/relationships/tags" Target="../tags/tag1441.xml"/><Relationship Id="rId44" Type="http://schemas.openxmlformats.org/officeDocument/2006/relationships/tags" Target="../tags/tag145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183.xml"/><Relationship Id="rId9" Type="http://schemas.openxmlformats.org/officeDocument/2006/relationships/slideLayout" Target="../slideLayouts/slideLayout188.xml"/><Relationship Id="rId14" Type="http://schemas.openxmlformats.org/officeDocument/2006/relationships/slideLayout" Target="../slideLayouts/slideLayout193.xml"/><Relationship Id="rId22" Type="http://schemas.openxmlformats.org/officeDocument/2006/relationships/vmlDrawing" Target="../drawings/vmlDrawing186.vml"/><Relationship Id="rId27" Type="http://schemas.openxmlformats.org/officeDocument/2006/relationships/tags" Target="../tags/tag1437.xml"/><Relationship Id="rId30" Type="http://schemas.openxmlformats.org/officeDocument/2006/relationships/tags" Target="../tags/tag1440.xml"/><Relationship Id="rId35" Type="http://schemas.openxmlformats.org/officeDocument/2006/relationships/tags" Target="../tags/tag1445.xml"/><Relationship Id="rId43" Type="http://schemas.openxmlformats.org/officeDocument/2006/relationships/tags" Target="../tags/tag1453.xml"/><Relationship Id="rId48" Type="http://schemas.openxmlformats.org/officeDocument/2006/relationships/tags" Target="../tags/tag1458.xml"/><Relationship Id="rId8" Type="http://schemas.openxmlformats.org/officeDocument/2006/relationships/slideLayout" Target="../slideLayouts/slideLayout187.xml"/><Relationship Id="rId51" Type="http://schemas.openxmlformats.org/officeDocument/2006/relationships/oleObject" Target="../embeddings/oleObject186.bin"/><Relationship Id="rId3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91.xml"/><Relationship Id="rId17" Type="http://schemas.openxmlformats.org/officeDocument/2006/relationships/slideLayout" Target="../slideLayouts/slideLayout196.xml"/><Relationship Id="rId25" Type="http://schemas.openxmlformats.org/officeDocument/2006/relationships/tags" Target="../tags/tag1435.xml"/><Relationship Id="rId33" Type="http://schemas.openxmlformats.org/officeDocument/2006/relationships/tags" Target="../tags/tag1443.xml"/><Relationship Id="rId38" Type="http://schemas.openxmlformats.org/officeDocument/2006/relationships/tags" Target="../tags/tag1448.xml"/><Relationship Id="rId46" Type="http://schemas.openxmlformats.org/officeDocument/2006/relationships/tags" Target="../tags/tag1456.xml"/><Relationship Id="rId20" Type="http://schemas.openxmlformats.org/officeDocument/2006/relationships/slideLayout" Target="../slideLayouts/slideLayout199.xml"/><Relationship Id="rId41" Type="http://schemas.openxmlformats.org/officeDocument/2006/relationships/tags" Target="../tags/tag1451.xml"/><Relationship Id="rId1" Type="http://schemas.openxmlformats.org/officeDocument/2006/relationships/slideLayout" Target="../slideLayouts/slideLayout180.xml"/><Relationship Id="rId6" Type="http://schemas.openxmlformats.org/officeDocument/2006/relationships/slideLayout" Target="../slideLayouts/slideLayout185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2.xml"/><Relationship Id="rId18" Type="http://schemas.openxmlformats.org/officeDocument/2006/relationships/slideLayout" Target="../slideLayouts/slideLayout217.xml"/><Relationship Id="rId26" Type="http://schemas.openxmlformats.org/officeDocument/2006/relationships/tags" Target="../tags/tag1584.xml"/><Relationship Id="rId39" Type="http://schemas.openxmlformats.org/officeDocument/2006/relationships/tags" Target="../tags/tag1597.xml"/><Relationship Id="rId21" Type="http://schemas.openxmlformats.org/officeDocument/2006/relationships/theme" Target="../theme/theme12.xml"/><Relationship Id="rId34" Type="http://schemas.openxmlformats.org/officeDocument/2006/relationships/tags" Target="../tags/tag1592.xml"/><Relationship Id="rId42" Type="http://schemas.openxmlformats.org/officeDocument/2006/relationships/tags" Target="../tags/tag1600.xml"/><Relationship Id="rId47" Type="http://schemas.openxmlformats.org/officeDocument/2006/relationships/tags" Target="../tags/tag1605.xml"/><Relationship Id="rId50" Type="http://schemas.openxmlformats.org/officeDocument/2006/relationships/tags" Target="../tags/tag1608.xml"/><Relationship Id="rId7" Type="http://schemas.openxmlformats.org/officeDocument/2006/relationships/slideLayout" Target="../slideLayouts/slideLayout206.xml"/><Relationship Id="rId2" Type="http://schemas.openxmlformats.org/officeDocument/2006/relationships/slideLayout" Target="../slideLayouts/slideLayout201.xml"/><Relationship Id="rId16" Type="http://schemas.openxmlformats.org/officeDocument/2006/relationships/slideLayout" Target="../slideLayouts/slideLayout215.xml"/><Relationship Id="rId29" Type="http://schemas.openxmlformats.org/officeDocument/2006/relationships/tags" Target="../tags/tag1587.xml"/><Relationship Id="rId11" Type="http://schemas.openxmlformats.org/officeDocument/2006/relationships/slideLayout" Target="../slideLayouts/slideLayout210.xml"/><Relationship Id="rId24" Type="http://schemas.openxmlformats.org/officeDocument/2006/relationships/tags" Target="../tags/tag1582.xml"/><Relationship Id="rId32" Type="http://schemas.openxmlformats.org/officeDocument/2006/relationships/tags" Target="../tags/tag1590.xml"/><Relationship Id="rId37" Type="http://schemas.openxmlformats.org/officeDocument/2006/relationships/tags" Target="../tags/tag1595.xml"/><Relationship Id="rId40" Type="http://schemas.openxmlformats.org/officeDocument/2006/relationships/tags" Target="../tags/tag1598.xml"/><Relationship Id="rId45" Type="http://schemas.openxmlformats.org/officeDocument/2006/relationships/tags" Target="../tags/tag1603.xml"/><Relationship Id="rId5" Type="http://schemas.openxmlformats.org/officeDocument/2006/relationships/slideLayout" Target="../slideLayouts/slideLayout204.xml"/><Relationship Id="rId15" Type="http://schemas.openxmlformats.org/officeDocument/2006/relationships/slideLayout" Target="../slideLayouts/slideLayout214.xml"/><Relationship Id="rId23" Type="http://schemas.openxmlformats.org/officeDocument/2006/relationships/tags" Target="../tags/tag1581.xml"/><Relationship Id="rId28" Type="http://schemas.openxmlformats.org/officeDocument/2006/relationships/tags" Target="../tags/tag1586.xml"/><Relationship Id="rId36" Type="http://schemas.openxmlformats.org/officeDocument/2006/relationships/tags" Target="../tags/tag1594.xml"/><Relationship Id="rId49" Type="http://schemas.openxmlformats.org/officeDocument/2006/relationships/tags" Target="../tags/tag1607.xml"/><Relationship Id="rId10" Type="http://schemas.openxmlformats.org/officeDocument/2006/relationships/slideLayout" Target="../slideLayouts/slideLayout209.xml"/><Relationship Id="rId19" Type="http://schemas.openxmlformats.org/officeDocument/2006/relationships/slideLayout" Target="../slideLayouts/slideLayout218.xml"/><Relationship Id="rId31" Type="http://schemas.openxmlformats.org/officeDocument/2006/relationships/tags" Target="../tags/tag1589.xml"/><Relationship Id="rId44" Type="http://schemas.openxmlformats.org/officeDocument/2006/relationships/tags" Target="../tags/tag1602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Relationship Id="rId14" Type="http://schemas.openxmlformats.org/officeDocument/2006/relationships/slideLayout" Target="../slideLayouts/slideLayout213.xml"/><Relationship Id="rId22" Type="http://schemas.openxmlformats.org/officeDocument/2006/relationships/vmlDrawing" Target="../drawings/vmlDrawing207.vml"/><Relationship Id="rId27" Type="http://schemas.openxmlformats.org/officeDocument/2006/relationships/tags" Target="../tags/tag1585.xml"/><Relationship Id="rId30" Type="http://schemas.openxmlformats.org/officeDocument/2006/relationships/tags" Target="../tags/tag1588.xml"/><Relationship Id="rId35" Type="http://schemas.openxmlformats.org/officeDocument/2006/relationships/tags" Target="../tags/tag1593.xml"/><Relationship Id="rId43" Type="http://schemas.openxmlformats.org/officeDocument/2006/relationships/tags" Target="../tags/tag1601.xml"/><Relationship Id="rId48" Type="http://schemas.openxmlformats.org/officeDocument/2006/relationships/tags" Target="../tags/tag1606.xml"/><Relationship Id="rId8" Type="http://schemas.openxmlformats.org/officeDocument/2006/relationships/slideLayout" Target="../slideLayouts/slideLayout207.xml"/><Relationship Id="rId51" Type="http://schemas.openxmlformats.org/officeDocument/2006/relationships/oleObject" Target="../embeddings/oleObject207.bin"/><Relationship Id="rId3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11.xml"/><Relationship Id="rId17" Type="http://schemas.openxmlformats.org/officeDocument/2006/relationships/slideLayout" Target="../slideLayouts/slideLayout216.xml"/><Relationship Id="rId25" Type="http://schemas.openxmlformats.org/officeDocument/2006/relationships/tags" Target="../tags/tag1583.xml"/><Relationship Id="rId33" Type="http://schemas.openxmlformats.org/officeDocument/2006/relationships/tags" Target="../tags/tag1591.xml"/><Relationship Id="rId38" Type="http://schemas.openxmlformats.org/officeDocument/2006/relationships/tags" Target="../tags/tag1596.xml"/><Relationship Id="rId46" Type="http://schemas.openxmlformats.org/officeDocument/2006/relationships/tags" Target="../tags/tag1604.xml"/><Relationship Id="rId20" Type="http://schemas.openxmlformats.org/officeDocument/2006/relationships/slideLayout" Target="../slideLayouts/slideLayout219.xml"/><Relationship Id="rId41" Type="http://schemas.openxmlformats.org/officeDocument/2006/relationships/tags" Target="../tags/tag1599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2.xml"/><Relationship Id="rId18" Type="http://schemas.openxmlformats.org/officeDocument/2006/relationships/slideLayout" Target="../slideLayouts/slideLayout237.xml"/><Relationship Id="rId26" Type="http://schemas.openxmlformats.org/officeDocument/2006/relationships/tags" Target="../tags/tag1728.xml"/><Relationship Id="rId39" Type="http://schemas.openxmlformats.org/officeDocument/2006/relationships/tags" Target="../tags/tag1741.xml"/><Relationship Id="rId21" Type="http://schemas.openxmlformats.org/officeDocument/2006/relationships/slideLayout" Target="../slideLayouts/slideLayout240.xml"/><Relationship Id="rId34" Type="http://schemas.openxmlformats.org/officeDocument/2006/relationships/tags" Target="../tags/tag1736.xml"/><Relationship Id="rId42" Type="http://schemas.openxmlformats.org/officeDocument/2006/relationships/tags" Target="../tags/tag1744.xml"/><Relationship Id="rId47" Type="http://schemas.openxmlformats.org/officeDocument/2006/relationships/tags" Target="../tags/tag1749.xml"/><Relationship Id="rId50" Type="http://schemas.openxmlformats.org/officeDocument/2006/relationships/tags" Target="../tags/tag1752.xml"/><Relationship Id="rId7" Type="http://schemas.openxmlformats.org/officeDocument/2006/relationships/slideLayout" Target="../slideLayouts/slideLayout226.xml"/><Relationship Id="rId2" Type="http://schemas.openxmlformats.org/officeDocument/2006/relationships/slideLayout" Target="../slideLayouts/slideLayout221.xml"/><Relationship Id="rId16" Type="http://schemas.openxmlformats.org/officeDocument/2006/relationships/slideLayout" Target="../slideLayouts/slideLayout235.xml"/><Relationship Id="rId29" Type="http://schemas.openxmlformats.org/officeDocument/2006/relationships/tags" Target="../tags/tag1731.xml"/><Relationship Id="rId11" Type="http://schemas.openxmlformats.org/officeDocument/2006/relationships/slideLayout" Target="../slideLayouts/slideLayout230.xml"/><Relationship Id="rId24" Type="http://schemas.openxmlformats.org/officeDocument/2006/relationships/tags" Target="../tags/tag1726.xml"/><Relationship Id="rId32" Type="http://schemas.openxmlformats.org/officeDocument/2006/relationships/tags" Target="../tags/tag1734.xml"/><Relationship Id="rId37" Type="http://schemas.openxmlformats.org/officeDocument/2006/relationships/tags" Target="../tags/tag1739.xml"/><Relationship Id="rId40" Type="http://schemas.openxmlformats.org/officeDocument/2006/relationships/tags" Target="../tags/tag1742.xml"/><Relationship Id="rId45" Type="http://schemas.openxmlformats.org/officeDocument/2006/relationships/tags" Target="../tags/tag1747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224.xml"/><Relationship Id="rId10" Type="http://schemas.openxmlformats.org/officeDocument/2006/relationships/slideLayout" Target="../slideLayouts/slideLayout229.xml"/><Relationship Id="rId19" Type="http://schemas.openxmlformats.org/officeDocument/2006/relationships/slideLayout" Target="../slideLayouts/slideLayout238.xml"/><Relationship Id="rId31" Type="http://schemas.openxmlformats.org/officeDocument/2006/relationships/tags" Target="../tags/tag1733.xml"/><Relationship Id="rId44" Type="http://schemas.openxmlformats.org/officeDocument/2006/relationships/tags" Target="../tags/tag1746.xml"/><Relationship Id="rId52" Type="http://schemas.openxmlformats.org/officeDocument/2006/relationships/oleObject" Target="../embeddings/oleObject226.bin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slideLayout" Target="../slideLayouts/slideLayout233.xml"/><Relationship Id="rId22" Type="http://schemas.openxmlformats.org/officeDocument/2006/relationships/theme" Target="../theme/theme13.xml"/><Relationship Id="rId27" Type="http://schemas.openxmlformats.org/officeDocument/2006/relationships/tags" Target="../tags/tag1729.xml"/><Relationship Id="rId30" Type="http://schemas.openxmlformats.org/officeDocument/2006/relationships/tags" Target="../tags/tag1732.xml"/><Relationship Id="rId35" Type="http://schemas.openxmlformats.org/officeDocument/2006/relationships/tags" Target="../tags/tag1737.xml"/><Relationship Id="rId43" Type="http://schemas.openxmlformats.org/officeDocument/2006/relationships/tags" Target="../tags/tag1745.xml"/><Relationship Id="rId48" Type="http://schemas.openxmlformats.org/officeDocument/2006/relationships/tags" Target="../tags/tag1750.xml"/><Relationship Id="rId8" Type="http://schemas.openxmlformats.org/officeDocument/2006/relationships/slideLayout" Target="../slideLayouts/slideLayout227.xml"/><Relationship Id="rId51" Type="http://schemas.openxmlformats.org/officeDocument/2006/relationships/tags" Target="../tags/tag1753.xml"/><Relationship Id="rId3" Type="http://schemas.openxmlformats.org/officeDocument/2006/relationships/slideLayout" Target="../slideLayouts/slideLayout222.xml"/><Relationship Id="rId12" Type="http://schemas.openxmlformats.org/officeDocument/2006/relationships/slideLayout" Target="../slideLayouts/slideLayout231.xml"/><Relationship Id="rId17" Type="http://schemas.openxmlformats.org/officeDocument/2006/relationships/slideLayout" Target="../slideLayouts/slideLayout236.xml"/><Relationship Id="rId25" Type="http://schemas.openxmlformats.org/officeDocument/2006/relationships/tags" Target="../tags/tag1727.xml"/><Relationship Id="rId33" Type="http://schemas.openxmlformats.org/officeDocument/2006/relationships/tags" Target="../tags/tag1735.xml"/><Relationship Id="rId38" Type="http://schemas.openxmlformats.org/officeDocument/2006/relationships/tags" Target="../tags/tag1740.xml"/><Relationship Id="rId46" Type="http://schemas.openxmlformats.org/officeDocument/2006/relationships/tags" Target="../tags/tag1748.xml"/><Relationship Id="rId20" Type="http://schemas.openxmlformats.org/officeDocument/2006/relationships/slideLayout" Target="../slideLayouts/slideLayout239.xml"/><Relationship Id="rId41" Type="http://schemas.openxmlformats.org/officeDocument/2006/relationships/tags" Target="../tags/tag1743.xml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4.xml"/><Relationship Id="rId23" Type="http://schemas.openxmlformats.org/officeDocument/2006/relationships/vmlDrawing" Target="../drawings/vmlDrawing226.vml"/><Relationship Id="rId28" Type="http://schemas.openxmlformats.org/officeDocument/2006/relationships/tags" Target="../tags/tag1730.xml"/><Relationship Id="rId36" Type="http://schemas.openxmlformats.org/officeDocument/2006/relationships/tags" Target="../tags/tag1738.xml"/><Relationship Id="rId49" Type="http://schemas.openxmlformats.org/officeDocument/2006/relationships/tags" Target="../tags/tag1751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3.xml"/><Relationship Id="rId18" Type="http://schemas.openxmlformats.org/officeDocument/2006/relationships/slideLayout" Target="../slideLayouts/slideLayout258.xml"/><Relationship Id="rId26" Type="http://schemas.openxmlformats.org/officeDocument/2006/relationships/tags" Target="../tags/tag1884.xml"/><Relationship Id="rId39" Type="http://schemas.openxmlformats.org/officeDocument/2006/relationships/tags" Target="../tags/tag1897.xml"/><Relationship Id="rId21" Type="http://schemas.openxmlformats.org/officeDocument/2006/relationships/vmlDrawing" Target="../drawings/vmlDrawing248.vml"/><Relationship Id="rId34" Type="http://schemas.openxmlformats.org/officeDocument/2006/relationships/tags" Target="../tags/tag1892.xml"/><Relationship Id="rId42" Type="http://schemas.openxmlformats.org/officeDocument/2006/relationships/tags" Target="../tags/tag1900.xml"/><Relationship Id="rId47" Type="http://schemas.openxmlformats.org/officeDocument/2006/relationships/tags" Target="../tags/tag1905.xml"/><Relationship Id="rId50" Type="http://schemas.openxmlformats.org/officeDocument/2006/relationships/oleObject" Target="../embeddings/oleObject248.bin"/><Relationship Id="rId7" Type="http://schemas.openxmlformats.org/officeDocument/2006/relationships/slideLayout" Target="../slideLayouts/slideLayout247.xml"/><Relationship Id="rId2" Type="http://schemas.openxmlformats.org/officeDocument/2006/relationships/slideLayout" Target="../slideLayouts/slideLayout242.xml"/><Relationship Id="rId16" Type="http://schemas.openxmlformats.org/officeDocument/2006/relationships/slideLayout" Target="../slideLayouts/slideLayout256.xml"/><Relationship Id="rId29" Type="http://schemas.openxmlformats.org/officeDocument/2006/relationships/tags" Target="../tags/tag1887.xml"/><Relationship Id="rId11" Type="http://schemas.openxmlformats.org/officeDocument/2006/relationships/slideLayout" Target="../slideLayouts/slideLayout251.xml"/><Relationship Id="rId24" Type="http://schemas.openxmlformats.org/officeDocument/2006/relationships/tags" Target="../tags/tag1882.xml"/><Relationship Id="rId32" Type="http://schemas.openxmlformats.org/officeDocument/2006/relationships/tags" Target="../tags/tag1890.xml"/><Relationship Id="rId37" Type="http://schemas.openxmlformats.org/officeDocument/2006/relationships/tags" Target="../tags/tag1895.xml"/><Relationship Id="rId40" Type="http://schemas.openxmlformats.org/officeDocument/2006/relationships/tags" Target="../tags/tag1898.xml"/><Relationship Id="rId45" Type="http://schemas.openxmlformats.org/officeDocument/2006/relationships/tags" Target="../tags/tag1903.xml"/><Relationship Id="rId5" Type="http://schemas.openxmlformats.org/officeDocument/2006/relationships/slideLayout" Target="../slideLayouts/slideLayout245.xml"/><Relationship Id="rId15" Type="http://schemas.openxmlformats.org/officeDocument/2006/relationships/slideLayout" Target="../slideLayouts/slideLayout255.xml"/><Relationship Id="rId23" Type="http://schemas.openxmlformats.org/officeDocument/2006/relationships/tags" Target="../tags/tag1881.xml"/><Relationship Id="rId28" Type="http://schemas.openxmlformats.org/officeDocument/2006/relationships/tags" Target="../tags/tag1886.xml"/><Relationship Id="rId36" Type="http://schemas.openxmlformats.org/officeDocument/2006/relationships/tags" Target="../tags/tag1894.xml"/><Relationship Id="rId49" Type="http://schemas.openxmlformats.org/officeDocument/2006/relationships/tags" Target="../tags/tag1907.xml"/><Relationship Id="rId10" Type="http://schemas.openxmlformats.org/officeDocument/2006/relationships/slideLayout" Target="../slideLayouts/slideLayout250.xml"/><Relationship Id="rId19" Type="http://schemas.openxmlformats.org/officeDocument/2006/relationships/slideLayout" Target="../slideLayouts/slideLayout259.xml"/><Relationship Id="rId31" Type="http://schemas.openxmlformats.org/officeDocument/2006/relationships/tags" Target="../tags/tag1889.xml"/><Relationship Id="rId44" Type="http://schemas.openxmlformats.org/officeDocument/2006/relationships/tags" Target="../tags/tag1902.xml"/><Relationship Id="rId4" Type="http://schemas.openxmlformats.org/officeDocument/2006/relationships/slideLayout" Target="../slideLayouts/slideLayout244.xml"/><Relationship Id="rId9" Type="http://schemas.openxmlformats.org/officeDocument/2006/relationships/slideLayout" Target="../slideLayouts/slideLayout249.xml"/><Relationship Id="rId14" Type="http://schemas.openxmlformats.org/officeDocument/2006/relationships/slideLayout" Target="../slideLayouts/slideLayout254.xml"/><Relationship Id="rId22" Type="http://schemas.openxmlformats.org/officeDocument/2006/relationships/tags" Target="../tags/tag1880.xml"/><Relationship Id="rId27" Type="http://schemas.openxmlformats.org/officeDocument/2006/relationships/tags" Target="../tags/tag1885.xml"/><Relationship Id="rId30" Type="http://schemas.openxmlformats.org/officeDocument/2006/relationships/tags" Target="../tags/tag1888.xml"/><Relationship Id="rId35" Type="http://schemas.openxmlformats.org/officeDocument/2006/relationships/tags" Target="../tags/tag1893.xml"/><Relationship Id="rId43" Type="http://schemas.openxmlformats.org/officeDocument/2006/relationships/tags" Target="../tags/tag1901.xml"/><Relationship Id="rId48" Type="http://schemas.openxmlformats.org/officeDocument/2006/relationships/tags" Target="../tags/tag1906.xml"/><Relationship Id="rId8" Type="http://schemas.openxmlformats.org/officeDocument/2006/relationships/slideLayout" Target="../slideLayouts/slideLayout248.xml"/><Relationship Id="rId51" Type="http://schemas.openxmlformats.org/officeDocument/2006/relationships/image" Target="../media/image1.emf"/><Relationship Id="rId3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52.xml"/><Relationship Id="rId17" Type="http://schemas.openxmlformats.org/officeDocument/2006/relationships/slideLayout" Target="../slideLayouts/slideLayout257.xml"/><Relationship Id="rId25" Type="http://schemas.openxmlformats.org/officeDocument/2006/relationships/tags" Target="../tags/tag1883.xml"/><Relationship Id="rId33" Type="http://schemas.openxmlformats.org/officeDocument/2006/relationships/tags" Target="../tags/tag1891.xml"/><Relationship Id="rId38" Type="http://schemas.openxmlformats.org/officeDocument/2006/relationships/tags" Target="../tags/tag1896.xml"/><Relationship Id="rId46" Type="http://schemas.openxmlformats.org/officeDocument/2006/relationships/tags" Target="../tags/tag1904.xml"/><Relationship Id="rId20" Type="http://schemas.openxmlformats.org/officeDocument/2006/relationships/theme" Target="../theme/theme14.xml"/><Relationship Id="rId41" Type="http://schemas.openxmlformats.org/officeDocument/2006/relationships/tags" Target="../tags/tag1899.xml"/><Relationship Id="rId1" Type="http://schemas.openxmlformats.org/officeDocument/2006/relationships/slideLayout" Target="../slideLayouts/slideLayout241.xml"/><Relationship Id="rId6" Type="http://schemas.openxmlformats.org/officeDocument/2006/relationships/slideLayout" Target="../slideLayouts/slideLayout24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tags" Target="../tags/tag147.xml"/><Relationship Id="rId39" Type="http://schemas.openxmlformats.org/officeDocument/2006/relationships/tags" Target="../tags/tag160.xml"/><Relationship Id="rId21" Type="http://schemas.openxmlformats.org/officeDocument/2006/relationships/tags" Target="../tags/tag142.xml"/><Relationship Id="rId34" Type="http://schemas.openxmlformats.org/officeDocument/2006/relationships/tags" Target="../tags/tag155.xml"/><Relationship Id="rId42" Type="http://schemas.openxmlformats.org/officeDocument/2006/relationships/oleObject" Target="../embeddings/oleObject19.bin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vmlDrawing" Target="../drawings/vmlDrawing19.vml"/><Relationship Id="rId29" Type="http://schemas.openxmlformats.org/officeDocument/2006/relationships/tags" Target="../tags/tag150.xml"/><Relationship Id="rId41" Type="http://schemas.openxmlformats.org/officeDocument/2006/relationships/tags" Target="../tags/tag16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145.xml"/><Relationship Id="rId32" Type="http://schemas.openxmlformats.org/officeDocument/2006/relationships/tags" Target="../tags/tag153.xml"/><Relationship Id="rId37" Type="http://schemas.openxmlformats.org/officeDocument/2006/relationships/tags" Target="../tags/tag158.xml"/><Relationship Id="rId40" Type="http://schemas.openxmlformats.org/officeDocument/2006/relationships/tags" Target="../tags/tag161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144.xml"/><Relationship Id="rId28" Type="http://schemas.openxmlformats.org/officeDocument/2006/relationships/tags" Target="../tags/tag149.xml"/><Relationship Id="rId36" Type="http://schemas.openxmlformats.org/officeDocument/2006/relationships/tags" Target="../tags/tag157.xml"/><Relationship Id="rId10" Type="http://schemas.openxmlformats.org/officeDocument/2006/relationships/slideLayout" Target="../slideLayouts/slideLayout29.xml"/><Relationship Id="rId19" Type="http://schemas.openxmlformats.org/officeDocument/2006/relationships/theme" Target="../theme/theme2.xml"/><Relationship Id="rId31" Type="http://schemas.openxmlformats.org/officeDocument/2006/relationships/tags" Target="../tags/tag152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143.xml"/><Relationship Id="rId27" Type="http://schemas.openxmlformats.org/officeDocument/2006/relationships/tags" Target="../tags/tag148.xml"/><Relationship Id="rId30" Type="http://schemas.openxmlformats.org/officeDocument/2006/relationships/tags" Target="../tags/tag151.xml"/><Relationship Id="rId35" Type="http://schemas.openxmlformats.org/officeDocument/2006/relationships/tags" Target="../tags/tag156.xml"/><Relationship Id="rId43" Type="http://schemas.openxmlformats.org/officeDocument/2006/relationships/image" Target="../media/image2.emf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tags" Target="../tags/tag146.xml"/><Relationship Id="rId33" Type="http://schemas.openxmlformats.org/officeDocument/2006/relationships/tags" Target="../tags/tag154.xml"/><Relationship Id="rId38" Type="http://schemas.openxmlformats.org/officeDocument/2006/relationships/tags" Target="../tags/tag159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tags" Target="../tags/tag286.xml"/><Relationship Id="rId39" Type="http://schemas.openxmlformats.org/officeDocument/2006/relationships/tags" Target="../tags/tag299.xml"/><Relationship Id="rId21" Type="http://schemas.openxmlformats.org/officeDocument/2006/relationships/theme" Target="../theme/theme3.xml"/><Relationship Id="rId34" Type="http://schemas.openxmlformats.org/officeDocument/2006/relationships/tags" Target="../tags/tag294.xml"/><Relationship Id="rId42" Type="http://schemas.openxmlformats.org/officeDocument/2006/relationships/tags" Target="../tags/tag302.xml"/><Relationship Id="rId47" Type="http://schemas.openxmlformats.org/officeDocument/2006/relationships/image" Target="../media/image4.emf"/><Relationship Id="rId7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9" Type="http://schemas.openxmlformats.org/officeDocument/2006/relationships/tags" Target="../tags/tag28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ags" Target="../tags/tag284.xml"/><Relationship Id="rId32" Type="http://schemas.openxmlformats.org/officeDocument/2006/relationships/tags" Target="../tags/tag292.xml"/><Relationship Id="rId37" Type="http://schemas.openxmlformats.org/officeDocument/2006/relationships/tags" Target="../tags/tag297.xml"/><Relationship Id="rId40" Type="http://schemas.openxmlformats.org/officeDocument/2006/relationships/tags" Target="../tags/tag300.xml"/><Relationship Id="rId45" Type="http://schemas.openxmlformats.org/officeDocument/2006/relationships/tags" Target="../tags/tag305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tags" Target="../tags/tag283.xml"/><Relationship Id="rId28" Type="http://schemas.openxmlformats.org/officeDocument/2006/relationships/tags" Target="../tags/tag288.xml"/><Relationship Id="rId36" Type="http://schemas.openxmlformats.org/officeDocument/2006/relationships/tags" Target="../tags/tag296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tags" Target="../tags/tag291.xml"/><Relationship Id="rId44" Type="http://schemas.openxmlformats.org/officeDocument/2006/relationships/tags" Target="../tags/tag304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vmlDrawing" Target="../drawings/vmlDrawing38.vml"/><Relationship Id="rId27" Type="http://schemas.openxmlformats.org/officeDocument/2006/relationships/tags" Target="../tags/tag287.xml"/><Relationship Id="rId30" Type="http://schemas.openxmlformats.org/officeDocument/2006/relationships/tags" Target="../tags/tag290.xml"/><Relationship Id="rId35" Type="http://schemas.openxmlformats.org/officeDocument/2006/relationships/tags" Target="../tags/tag295.xml"/><Relationship Id="rId43" Type="http://schemas.openxmlformats.org/officeDocument/2006/relationships/tags" Target="../tags/tag303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tags" Target="../tags/tag285.xml"/><Relationship Id="rId33" Type="http://schemas.openxmlformats.org/officeDocument/2006/relationships/tags" Target="../tags/tag293.xml"/><Relationship Id="rId38" Type="http://schemas.openxmlformats.org/officeDocument/2006/relationships/tags" Target="../tags/tag298.xml"/><Relationship Id="rId46" Type="http://schemas.openxmlformats.org/officeDocument/2006/relationships/oleObject" Target="../embeddings/oleObject38.bin"/><Relationship Id="rId20" Type="http://schemas.openxmlformats.org/officeDocument/2006/relationships/slideLayout" Target="../slideLayouts/slideLayout57.xml"/><Relationship Id="rId41" Type="http://schemas.openxmlformats.org/officeDocument/2006/relationships/tags" Target="../tags/tag30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.xml"/><Relationship Id="rId18" Type="http://schemas.openxmlformats.org/officeDocument/2006/relationships/tags" Target="../tags/tag479.xml"/><Relationship Id="rId26" Type="http://schemas.openxmlformats.org/officeDocument/2006/relationships/tags" Target="../tags/tag487.xml"/><Relationship Id="rId39" Type="http://schemas.openxmlformats.org/officeDocument/2006/relationships/tags" Target="../tags/tag500.xml"/><Relationship Id="rId21" Type="http://schemas.openxmlformats.org/officeDocument/2006/relationships/tags" Target="../tags/tag482.xml"/><Relationship Id="rId34" Type="http://schemas.openxmlformats.org/officeDocument/2006/relationships/tags" Target="../tags/tag495.xml"/><Relationship Id="rId42" Type="http://schemas.openxmlformats.org/officeDocument/2006/relationships/tags" Target="../tags/tag503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6" Type="http://schemas.openxmlformats.org/officeDocument/2006/relationships/theme" Target="../theme/theme4.xml"/><Relationship Id="rId29" Type="http://schemas.openxmlformats.org/officeDocument/2006/relationships/tags" Target="../tags/tag490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tags" Target="../tags/tag485.xml"/><Relationship Id="rId32" Type="http://schemas.openxmlformats.org/officeDocument/2006/relationships/tags" Target="../tags/tag493.xml"/><Relationship Id="rId37" Type="http://schemas.openxmlformats.org/officeDocument/2006/relationships/tags" Target="../tags/tag498.xml"/><Relationship Id="rId40" Type="http://schemas.openxmlformats.org/officeDocument/2006/relationships/tags" Target="../tags/tag501.xml"/><Relationship Id="rId45" Type="http://schemas.openxmlformats.org/officeDocument/2006/relationships/tags" Target="../tags/tag506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tags" Target="../tags/tag484.xml"/><Relationship Id="rId28" Type="http://schemas.openxmlformats.org/officeDocument/2006/relationships/tags" Target="../tags/tag489.xml"/><Relationship Id="rId36" Type="http://schemas.openxmlformats.org/officeDocument/2006/relationships/tags" Target="../tags/tag497.xml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480.xml"/><Relationship Id="rId31" Type="http://schemas.openxmlformats.org/officeDocument/2006/relationships/tags" Target="../tags/tag492.xml"/><Relationship Id="rId44" Type="http://schemas.openxmlformats.org/officeDocument/2006/relationships/tags" Target="../tags/tag505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tags" Target="../tags/tag483.xml"/><Relationship Id="rId27" Type="http://schemas.openxmlformats.org/officeDocument/2006/relationships/tags" Target="../tags/tag488.xml"/><Relationship Id="rId30" Type="http://schemas.openxmlformats.org/officeDocument/2006/relationships/tags" Target="../tags/tag491.xml"/><Relationship Id="rId35" Type="http://schemas.openxmlformats.org/officeDocument/2006/relationships/tags" Target="../tags/tag496.xml"/><Relationship Id="rId43" Type="http://schemas.openxmlformats.org/officeDocument/2006/relationships/tags" Target="../tags/tag504.xml"/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9.xml"/><Relationship Id="rId17" Type="http://schemas.openxmlformats.org/officeDocument/2006/relationships/vmlDrawing" Target="../drawings/vmlDrawing58.vml"/><Relationship Id="rId25" Type="http://schemas.openxmlformats.org/officeDocument/2006/relationships/tags" Target="../tags/tag486.xml"/><Relationship Id="rId33" Type="http://schemas.openxmlformats.org/officeDocument/2006/relationships/tags" Target="../tags/tag494.xml"/><Relationship Id="rId38" Type="http://schemas.openxmlformats.org/officeDocument/2006/relationships/tags" Target="../tags/tag499.xml"/><Relationship Id="rId46" Type="http://schemas.openxmlformats.org/officeDocument/2006/relationships/oleObject" Target="../embeddings/oleObject58.bin"/><Relationship Id="rId20" Type="http://schemas.openxmlformats.org/officeDocument/2006/relationships/tags" Target="../tags/tag481.xml"/><Relationship Id="rId41" Type="http://schemas.openxmlformats.org/officeDocument/2006/relationships/tags" Target="../tags/tag502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5.xml"/><Relationship Id="rId18" Type="http://schemas.openxmlformats.org/officeDocument/2006/relationships/theme" Target="../theme/theme5.xml"/><Relationship Id="rId26" Type="http://schemas.openxmlformats.org/officeDocument/2006/relationships/tags" Target="../tags/tag610.xml"/><Relationship Id="rId39" Type="http://schemas.openxmlformats.org/officeDocument/2006/relationships/tags" Target="../tags/tag623.xml"/><Relationship Id="rId21" Type="http://schemas.openxmlformats.org/officeDocument/2006/relationships/tags" Target="../tags/tag605.xml"/><Relationship Id="rId34" Type="http://schemas.openxmlformats.org/officeDocument/2006/relationships/tags" Target="../tags/tag618.xml"/><Relationship Id="rId42" Type="http://schemas.openxmlformats.org/officeDocument/2006/relationships/image" Target="../media/image2.emf"/><Relationship Id="rId7" Type="http://schemas.openxmlformats.org/officeDocument/2006/relationships/slideLayout" Target="../slideLayouts/slideLayout7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ags" Target="../tags/tag604.xml"/><Relationship Id="rId29" Type="http://schemas.openxmlformats.org/officeDocument/2006/relationships/tags" Target="../tags/tag613.xml"/><Relationship Id="rId41" Type="http://schemas.openxmlformats.org/officeDocument/2006/relationships/oleObject" Target="../embeddings/oleObject74.bin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24" Type="http://schemas.openxmlformats.org/officeDocument/2006/relationships/tags" Target="../tags/tag608.xml"/><Relationship Id="rId32" Type="http://schemas.openxmlformats.org/officeDocument/2006/relationships/tags" Target="../tags/tag616.xml"/><Relationship Id="rId37" Type="http://schemas.openxmlformats.org/officeDocument/2006/relationships/tags" Target="../tags/tag621.xml"/><Relationship Id="rId40" Type="http://schemas.openxmlformats.org/officeDocument/2006/relationships/tags" Target="../tags/tag624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23" Type="http://schemas.openxmlformats.org/officeDocument/2006/relationships/tags" Target="../tags/tag607.xml"/><Relationship Id="rId28" Type="http://schemas.openxmlformats.org/officeDocument/2006/relationships/tags" Target="../tags/tag612.xml"/><Relationship Id="rId36" Type="http://schemas.openxmlformats.org/officeDocument/2006/relationships/tags" Target="../tags/tag620.xml"/><Relationship Id="rId10" Type="http://schemas.openxmlformats.org/officeDocument/2006/relationships/slideLayout" Target="../slideLayouts/slideLayout82.xml"/><Relationship Id="rId19" Type="http://schemas.openxmlformats.org/officeDocument/2006/relationships/vmlDrawing" Target="../drawings/vmlDrawing74.vml"/><Relationship Id="rId31" Type="http://schemas.openxmlformats.org/officeDocument/2006/relationships/tags" Target="../tags/tag615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Relationship Id="rId22" Type="http://schemas.openxmlformats.org/officeDocument/2006/relationships/tags" Target="../tags/tag606.xml"/><Relationship Id="rId27" Type="http://schemas.openxmlformats.org/officeDocument/2006/relationships/tags" Target="../tags/tag611.xml"/><Relationship Id="rId30" Type="http://schemas.openxmlformats.org/officeDocument/2006/relationships/tags" Target="../tags/tag614.xml"/><Relationship Id="rId35" Type="http://schemas.openxmlformats.org/officeDocument/2006/relationships/tags" Target="../tags/tag619.xml"/><Relationship Id="rId8" Type="http://schemas.openxmlformats.org/officeDocument/2006/relationships/slideLayout" Target="../slideLayouts/slideLayout80.xml"/><Relationship Id="rId3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5" Type="http://schemas.openxmlformats.org/officeDocument/2006/relationships/tags" Target="../tags/tag609.xml"/><Relationship Id="rId33" Type="http://schemas.openxmlformats.org/officeDocument/2006/relationships/tags" Target="../tags/tag617.xml"/><Relationship Id="rId38" Type="http://schemas.openxmlformats.org/officeDocument/2006/relationships/tags" Target="../tags/tag62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2.xml"/><Relationship Id="rId18" Type="http://schemas.openxmlformats.org/officeDocument/2006/relationships/slideLayout" Target="../slideLayouts/slideLayout107.xml"/><Relationship Id="rId26" Type="http://schemas.openxmlformats.org/officeDocument/2006/relationships/tags" Target="../tags/tag741.xml"/><Relationship Id="rId39" Type="http://schemas.openxmlformats.org/officeDocument/2006/relationships/tags" Target="../tags/tag754.xml"/><Relationship Id="rId21" Type="http://schemas.openxmlformats.org/officeDocument/2006/relationships/theme" Target="../theme/theme6.xml"/><Relationship Id="rId34" Type="http://schemas.openxmlformats.org/officeDocument/2006/relationships/tags" Target="../tags/tag749.xml"/><Relationship Id="rId42" Type="http://schemas.openxmlformats.org/officeDocument/2006/relationships/tags" Target="../tags/tag757.xml"/><Relationship Id="rId47" Type="http://schemas.openxmlformats.org/officeDocument/2006/relationships/tags" Target="../tags/tag762.xml"/><Relationship Id="rId50" Type="http://schemas.openxmlformats.org/officeDocument/2006/relationships/tags" Target="../tags/tag765.xml"/><Relationship Id="rId7" Type="http://schemas.openxmlformats.org/officeDocument/2006/relationships/slideLayout" Target="../slideLayouts/slideLayout96.xml"/><Relationship Id="rId2" Type="http://schemas.openxmlformats.org/officeDocument/2006/relationships/slideLayout" Target="../slideLayouts/slideLayout91.xml"/><Relationship Id="rId16" Type="http://schemas.openxmlformats.org/officeDocument/2006/relationships/slideLayout" Target="../slideLayouts/slideLayout105.xml"/><Relationship Id="rId29" Type="http://schemas.openxmlformats.org/officeDocument/2006/relationships/tags" Target="../tags/tag744.xml"/><Relationship Id="rId11" Type="http://schemas.openxmlformats.org/officeDocument/2006/relationships/slideLayout" Target="../slideLayouts/slideLayout100.xml"/><Relationship Id="rId24" Type="http://schemas.openxmlformats.org/officeDocument/2006/relationships/tags" Target="../tags/tag739.xml"/><Relationship Id="rId32" Type="http://schemas.openxmlformats.org/officeDocument/2006/relationships/tags" Target="../tags/tag747.xml"/><Relationship Id="rId37" Type="http://schemas.openxmlformats.org/officeDocument/2006/relationships/tags" Target="../tags/tag752.xml"/><Relationship Id="rId40" Type="http://schemas.openxmlformats.org/officeDocument/2006/relationships/tags" Target="../tags/tag755.xml"/><Relationship Id="rId45" Type="http://schemas.openxmlformats.org/officeDocument/2006/relationships/tags" Target="../tags/tag76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23" Type="http://schemas.openxmlformats.org/officeDocument/2006/relationships/tags" Target="../tags/tag738.xml"/><Relationship Id="rId28" Type="http://schemas.openxmlformats.org/officeDocument/2006/relationships/tags" Target="../tags/tag743.xml"/><Relationship Id="rId36" Type="http://schemas.openxmlformats.org/officeDocument/2006/relationships/tags" Target="../tags/tag751.xml"/><Relationship Id="rId49" Type="http://schemas.openxmlformats.org/officeDocument/2006/relationships/tags" Target="../tags/tag764.xml"/><Relationship Id="rId10" Type="http://schemas.openxmlformats.org/officeDocument/2006/relationships/slideLayout" Target="../slideLayouts/slideLayout99.xml"/><Relationship Id="rId19" Type="http://schemas.openxmlformats.org/officeDocument/2006/relationships/slideLayout" Target="../slideLayouts/slideLayout108.xml"/><Relationship Id="rId31" Type="http://schemas.openxmlformats.org/officeDocument/2006/relationships/tags" Target="../tags/tag746.xml"/><Relationship Id="rId44" Type="http://schemas.openxmlformats.org/officeDocument/2006/relationships/tags" Target="../tags/tag759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Relationship Id="rId22" Type="http://schemas.openxmlformats.org/officeDocument/2006/relationships/vmlDrawing" Target="../drawings/vmlDrawing92.vml"/><Relationship Id="rId27" Type="http://schemas.openxmlformats.org/officeDocument/2006/relationships/tags" Target="../tags/tag742.xml"/><Relationship Id="rId30" Type="http://schemas.openxmlformats.org/officeDocument/2006/relationships/tags" Target="../tags/tag745.xml"/><Relationship Id="rId35" Type="http://schemas.openxmlformats.org/officeDocument/2006/relationships/tags" Target="../tags/tag750.xml"/><Relationship Id="rId43" Type="http://schemas.openxmlformats.org/officeDocument/2006/relationships/tags" Target="../tags/tag758.xml"/><Relationship Id="rId48" Type="http://schemas.openxmlformats.org/officeDocument/2006/relationships/tags" Target="../tags/tag763.xml"/><Relationship Id="rId8" Type="http://schemas.openxmlformats.org/officeDocument/2006/relationships/slideLayout" Target="../slideLayouts/slideLayout97.xml"/><Relationship Id="rId51" Type="http://schemas.openxmlformats.org/officeDocument/2006/relationships/oleObject" Target="../embeddings/oleObject92.bin"/><Relationship Id="rId3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101.xml"/><Relationship Id="rId17" Type="http://schemas.openxmlformats.org/officeDocument/2006/relationships/slideLayout" Target="../slideLayouts/slideLayout106.xml"/><Relationship Id="rId25" Type="http://schemas.openxmlformats.org/officeDocument/2006/relationships/tags" Target="../tags/tag740.xml"/><Relationship Id="rId33" Type="http://schemas.openxmlformats.org/officeDocument/2006/relationships/tags" Target="../tags/tag748.xml"/><Relationship Id="rId38" Type="http://schemas.openxmlformats.org/officeDocument/2006/relationships/tags" Target="../tags/tag753.xml"/><Relationship Id="rId46" Type="http://schemas.openxmlformats.org/officeDocument/2006/relationships/tags" Target="../tags/tag761.xml"/><Relationship Id="rId20" Type="http://schemas.openxmlformats.org/officeDocument/2006/relationships/slideLayout" Target="../slideLayouts/slideLayout109.xml"/><Relationship Id="rId41" Type="http://schemas.openxmlformats.org/officeDocument/2006/relationships/tags" Target="../tags/tag756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2.xml"/><Relationship Id="rId18" Type="http://schemas.openxmlformats.org/officeDocument/2006/relationships/tags" Target="../tags/tag887.xml"/><Relationship Id="rId26" Type="http://schemas.openxmlformats.org/officeDocument/2006/relationships/tags" Target="../tags/tag895.xml"/><Relationship Id="rId39" Type="http://schemas.openxmlformats.org/officeDocument/2006/relationships/tags" Target="../tags/tag908.xml"/><Relationship Id="rId21" Type="http://schemas.openxmlformats.org/officeDocument/2006/relationships/tags" Target="../tags/tag890.xml"/><Relationship Id="rId34" Type="http://schemas.openxmlformats.org/officeDocument/2006/relationships/tags" Target="../tags/tag903.xml"/><Relationship Id="rId42" Type="http://schemas.openxmlformats.org/officeDocument/2006/relationships/tags" Target="../tags/tag911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116.xml"/><Relationship Id="rId2" Type="http://schemas.openxmlformats.org/officeDocument/2006/relationships/slideLayout" Target="../slideLayouts/slideLayout111.xml"/><Relationship Id="rId16" Type="http://schemas.openxmlformats.org/officeDocument/2006/relationships/theme" Target="../theme/theme7.xml"/><Relationship Id="rId29" Type="http://schemas.openxmlformats.org/officeDocument/2006/relationships/tags" Target="../tags/tag898.xml"/><Relationship Id="rId1" Type="http://schemas.openxmlformats.org/officeDocument/2006/relationships/slideLayout" Target="../slideLayouts/slideLayout110.xml"/><Relationship Id="rId6" Type="http://schemas.openxmlformats.org/officeDocument/2006/relationships/slideLayout" Target="../slideLayouts/slideLayout115.xml"/><Relationship Id="rId11" Type="http://schemas.openxmlformats.org/officeDocument/2006/relationships/slideLayout" Target="../slideLayouts/slideLayout120.xml"/><Relationship Id="rId24" Type="http://schemas.openxmlformats.org/officeDocument/2006/relationships/tags" Target="../tags/tag893.xml"/><Relationship Id="rId32" Type="http://schemas.openxmlformats.org/officeDocument/2006/relationships/tags" Target="../tags/tag901.xml"/><Relationship Id="rId37" Type="http://schemas.openxmlformats.org/officeDocument/2006/relationships/tags" Target="../tags/tag906.xml"/><Relationship Id="rId40" Type="http://schemas.openxmlformats.org/officeDocument/2006/relationships/tags" Target="../tags/tag909.xml"/><Relationship Id="rId45" Type="http://schemas.openxmlformats.org/officeDocument/2006/relationships/tags" Target="../tags/tag914.xml"/><Relationship Id="rId5" Type="http://schemas.openxmlformats.org/officeDocument/2006/relationships/slideLayout" Target="../slideLayouts/slideLayout114.xml"/><Relationship Id="rId15" Type="http://schemas.openxmlformats.org/officeDocument/2006/relationships/slideLayout" Target="../slideLayouts/slideLayout124.xml"/><Relationship Id="rId23" Type="http://schemas.openxmlformats.org/officeDocument/2006/relationships/tags" Target="../tags/tag892.xml"/><Relationship Id="rId28" Type="http://schemas.openxmlformats.org/officeDocument/2006/relationships/tags" Target="../tags/tag897.xml"/><Relationship Id="rId36" Type="http://schemas.openxmlformats.org/officeDocument/2006/relationships/tags" Target="../tags/tag905.xml"/><Relationship Id="rId10" Type="http://schemas.openxmlformats.org/officeDocument/2006/relationships/slideLayout" Target="../slideLayouts/slideLayout119.xml"/><Relationship Id="rId19" Type="http://schemas.openxmlformats.org/officeDocument/2006/relationships/tags" Target="../tags/tag888.xml"/><Relationship Id="rId31" Type="http://schemas.openxmlformats.org/officeDocument/2006/relationships/tags" Target="../tags/tag900.xml"/><Relationship Id="rId44" Type="http://schemas.openxmlformats.org/officeDocument/2006/relationships/tags" Target="../tags/tag913.xml"/><Relationship Id="rId4" Type="http://schemas.openxmlformats.org/officeDocument/2006/relationships/slideLayout" Target="../slideLayouts/slideLayout113.xml"/><Relationship Id="rId9" Type="http://schemas.openxmlformats.org/officeDocument/2006/relationships/slideLayout" Target="../slideLayouts/slideLayout118.xml"/><Relationship Id="rId14" Type="http://schemas.openxmlformats.org/officeDocument/2006/relationships/slideLayout" Target="../slideLayouts/slideLayout123.xml"/><Relationship Id="rId22" Type="http://schemas.openxmlformats.org/officeDocument/2006/relationships/tags" Target="../tags/tag891.xml"/><Relationship Id="rId27" Type="http://schemas.openxmlformats.org/officeDocument/2006/relationships/tags" Target="../tags/tag896.xml"/><Relationship Id="rId30" Type="http://schemas.openxmlformats.org/officeDocument/2006/relationships/tags" Target="../tags/tag899.xml"/><Relationship Id="rId35" Type="http://schemas.openxmlformats.org/officeDocument/2006/relationships/tags" Target="../tags/tag904.xml"/><Relationship Id="rId43" Type="http://schemas.openxmlformats.org/officeDocument/2006/relationships/tags" Target="../tags/tag912.xml"/><Relationship Id="rId8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21.xml"/><Relationship Id="rId17" Type="http://schemas.openxmlformats.org/officeDocument/2006/relationships/vmlDrawing" Target="../drawings/vmlDrawing112.vml"/><Relationship Id="rId25" Type="http://schemas.openxmlformats.org/officeDocument/2006/relationships/tags" Target="../tags/tag894.xml"/><Relationship Id="rId33" Type="http://schemas.openxmlformats.org/officeDocument/2006/relationships/tags" Target="../tags/tag902.xml"/><Relationship Id="rId38" Type="http://schemas.openxmlformats.org/officeDocument/2006/relationships/tags" Target="../tags/tag907.xml"/><Relationship Id="rId46" Type="http://schemas.openxmlformats.org/officeDocument/2006/relationships/oleObject" Target="../embeddings/oleObject112.bin"/><Relationship Id="rId20" Type="http://schemas.openxmlformats.org/officeDocument/2006/relationships/tags" Target="../tags/tag889.xml"/><Relationship Id="rId41" Type="http://schemas.openxmlformats.org/officeDocument/2006/relationships/tags" Target="../tags/tag91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7.xml"/><Relationship Id="rId18" Type="http://schemas.openxmlformats.org/officeDocument/2006/relationships/slideLayout" Target="../slideLayouts/slideLayout142.xml"/><Relationship Id="rId26" Type="http://schemas.openxmlformats.org/officeDocument/2006/relationships/tags" Target="../tags/tag1013.xml"/><Relationship Id="rId39" Type="http://schemas.openxmlformats.org/officeDocument/2006/relationships/tags" Target="../tags/tag1026.xml"/><Relationship Id="rId21" Type="http://schemas.openxmlformats.org/officeDocument/2006/relationships/theme" Target="../theme/theme8.xml"/><Relationship Id="rId34" Type="http://schemas.openxmlformats.org/officeDocument/2006/relationships/tags" Target="../tags/tag1021.xml"/><Relationship Id="rId42" Type="http://schemas.openxmlformats.org/officeDocument/2006/relationships/tags" Target="../tags/tag1029.xml"/><Relationship Id="rId47" Type="http://schemas.openxmlformats.org/officeDocument/2006/relationships/tags" Target="../tags/tag1034.xml"/><Relationship Id="rId50" Type="http://schemas.openxmlformats.org/officeDocument/2006/relationships/tags" Target="../tags/tag1037.xml"/><Relationship Id="rId7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6.xml"/><Relationship Id="rId16" Type="http://schemas.openxmlformats.org/officeDocument/2006/relationships/slideLayout" Target="../slideLayouts/slideLayout140.xml"/><Relationship Id="rId29" Type="http://schemas.openxmlformats.org/officeDocument/2006/relationships/tags" Target="../tags/tag1016.xml"/><Relationship Id="rId11" Type="http://schemas.openxmlformats.org/officeDocument/2006/relationships/slideLayout" Target="../slideLayouts/slideLayout135.xml"/><Relationship Id="rId24" Type="http://schemas.openxmlformats.org/officeDocument/2006/relationships/tags" Target="../tags/tag1011.xml"/><Relationship Id="rId32" Type="http://schemas.openxmlformats.org/officeDocument/2006/relationships/tags" Target="../tags/tag1019.xml"/><Relationship Id="rId37" Type="http://schemas.openxmlformats.org/officeDocument/2006/relationships/tags" Target="../tags/tag1024.xml"/><Relationship Id="rId40" Type="http://schemas.openxmlformats.org/officeDocument/2006/relationships/tags" Target="../tags/tag1027.xml"/><Relationship Id="rId45" Type="http://schemas.openxmlformats.org/officeDocument/2006/relationships/tags" Target="../tags/tag1032.xml"/><Relationship Id="rId5" Type="http://schemas.openxmlformats.org/officeDocument/2006/relationships/slideLayout" Target="../slideLayouts/slideLayout129.xml"/><Relationship Id="rId15" Type="http://schemas.openxmlformats.org/officeDocument/2006/relationships/slideLayout" Target="../slideLayouts/slideLayout139.xml"/><Relationship Id="rId23" Type="http://schemas.openxmlformats.org/officeDocument/2006/relationships/tags" Target="../tags/tag1010.xml"/><Relationship Id="rId28" Type="http://schemas.openxmlformats.org/officeDocument/2006/relationships/tags" Target="../tags/tag1015.xml"/><Relationship Id="rId36" Type="http://schemas.openxmlformats.org/officeDocument/2006/relationships/tags" Target="../tags/tag1023.xml"/><Relationship Id="rId49" Type="http://schemas.openxmlformats.org/officeDocument/2006/relationships/tags" Target="../tags/tag1036.xml"/><Relationship Id="rId10" Type="http://schemas.openxmlformats.org/officeDocument/2006/relationships/slideLayout" Target="../slideLayouts/slideLayout134.xml"/><Relationship Id="rId19" Type="http://schemas.openxmlformats.org/officeDocument/2006/relationships/slideLayout" Target="../slideLayouts/slideLayout143.xml"/><Relationship Id="rId31" Type="http://schemas.openxmlformats.org/officeDocument/2006/relationships/tags" Target="../tags/tag1018.xml"/><Relationship Id="rId44" Type="http://schemas.openxmlformats.org/officeDocument/2006/relationships/tags" Target="../tags/tag1031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128.xml"/><Relationship Id="rId9" Type="http://schemas.openxmlformats.org/officeDocument/2006/relationships/slideLayout" Target="../slideLayouts/slideLayout133.xml"/><Relationship Id="rId14" Type="http://schemas.openxmlformats.org/officeDocument/2006/relationships/slideLayout" Target="../slideLayouts/slideLayout138.xml"/><Relationship Id="rId22" Type="http://schemas.openxmlformats.org/officeDocument/2006/relationships/vmlDrawing" Target="../drawings/vmlDrawing128.vml"/><Relationship Id="rId27" Type="http://schemas.openxmlformats.org/officeDocument/2006/relationships/tags" Target="../tags/tag1014.xml"/><Relationship Id="rId30" Type="http://schemas.openxmlformats.org/officeDocument/2006/relationships/tags" Target="../tags/tag1017.xml"/><Relationship Id="rId35" Type="http://schemas.openxmlformats.org/officeDocument/2006/relationships/tags" Target="../tags/tag1022.xml"/><Relationship Id="rId43" Type="http://schemas.openxmlformats.org/officeDocument/2006/relationships/tags" Target="../tags/tag1030.xml"/><Relationship Id="rId48" Type="http://schemas.openxmlformats.org/officeDocument/2006/relationships/tags" Target="../tags/tag1035.xml"/><Relationship Id="rId8" Type="http://schemas.openxmlformats.org/officeDocument/2006/relationships/slideLayout" Target="../slideLayouts/slideLayout132.xml"/><Relationship Id="rId51" Type="http://schemas.openxmlformats.org/officeDocument/2006/relationships/oleObject" Target="../embeddings/oleObject128.bin"/><Relationship Id="rId3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6.xml"/><Relationship Id="rId17" Type="http://schemas.openxmlformats.org/officeDocument/2006/relationships/slideLayout" Target="../slideLayouts/slideLayout141.xml"/><Relationship Id="rId25" Type="http://schemas.openxmlformats.org/officeDocument/2006/relationships/tags" Target="../tags/tag1012.xml"/><Relationship Id="rId33" Type="http://schemas.openxmlformats.org/officeDocument/2006/relationships/tags" Target="../tags/tag1020.xml"/><Relationship Id="rId38" Type="http://schemas.openxmlformats.org/officeDocument/2006/relationships/tags" Target="../tags/tag1025.xml"/><Relationship Id="rId46" Type="http://schemas.openxmlformats.org/officeDocument/2006/relationships/tags" Target="../tags/tag1033.xml"/><Relationship Id="rId20" Type="http://schemas.openxmlformats.org/officeDocument/2006/relationships/slideLayout" Target="../slideLayouts/slideLayout144.xml"/><Relationship Id="rId41" Type="http://schemas.openxmlformats.org/officeDocument/2006/relationships/tags" Target="../tags/tag1028.xml"/><Relationship Id="rId1" Type="http://schemas.openxmlformats.org/officeDocument/2006/relationships/slideLayout" Target="../slideLayouts/slideLayout125.xml"/><Relationship Id="rId6" Type="http://schemas.openxmlformats.org/officeDocument/2006/relationships/slideLayout" Target="../slideLayouts/slideLayout130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57.xml"/><Relationship Id="rId18" Type="http://schemas.openxmlformats.org/officeDocument/2006/relationships/theme" Target="../theme/theme9.xml"/><Relationship Id="rId26" Type="http://schemas.openxmlformats.org/officeDocument/2006/relationships/tags" Target="../tags/tag1164.xml"/><Relationship Id="rId39" Type="http://schemas.openxmlformats.org/officeDocument/2006/relationships/tags" Target="../tags/tag1177.xml"/><Relationship Id="rId21" Type="http://schemas.openxmlformats.org/officeDocument/2006/relationships/tags" Target="../tags/tag1159.xml"/><Relationship Id="rId34" Type="http://schemas.openxmlformats.org/officeDocument/2006/relationships/tags" Target="../tags/tag1172.xml"/><Relationship Id="rId42" Type="http://schemas.openxmlformats.org/officeDocument/2006/relationships/tags" Target="../tags/tag1180.xml"/><Relationship Id="rId47" Type="http://schemas.openxmlformats.org/officeDocument/2006/relationships/tags" Target="../tags/tag1185.xml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6" Type="http://schemas.openxmlformats.org/officeDocument/2006/relationships/slideLayout" Target="../slideLayouts/slideLayout160.xml"/><Relationship Id="rId29" Type="http://schemas.openxmlformats.org/officeDocument/2006/relationships/tags" Target="../tags/tag1167.xml"/><Relationship Id="rId11" Type="http://schemas.openxmlformats.org/officeDocument/2006/relationships/slideLayout" Target="../slideLayouts/slideLayout155.xml"/><Relationship Id="rId24" Type="http://schemas.openxmlformats.org/officeDocument/2006/relationships/tags" Target="../tags/tag1162.xml"/><Relationship Id="rId32" Type="http://schemas.openxmlformats.org/officeDocument/2006/relationships/tags" Target="../tags/tag1170.xml"/><Relationship Id="rId37" Type="http://schemas.openxmlformats.org/officeDocument/2006/relationships/tags" Target="../tags/tag1175.xml"/><Relationship Id="rId40" Type="http://schemas.openxmlformats.org/officeDocument/2006/relationships/tags" Target="../tags/tag1178.xml"/><Relationship Id="rId45" Type="http://schemas.openxmlformats.org/officeDocument/2006/relationships/tags" Target="../tags/tag1183.xml"/><Relationship Id="rId5" Type="http://schemas.openxmlformats.org/officeDocument/2006/relationships/slideLayout" Target="../slideLayouts/slideLayout149.xml"/><Relationship Id="rId15" Type="http://schemas.openxmlformats.org/officeDocument/2006/relationships/slideLayout" Target="../slideLayouts/slideLayout159.xml"/><Relationship Id="rId23" Type="http://schemas.openxmlformats.org/officeDocument/2006/relationships/tags" Target="../tags/tag1161.xml"/><Relationship Id="rId28" Type="http://schemas.openxmlformats.org/officeDocument/2006/relationships/tags" Target="../tags/tag1166.xml"/><Relationship Id="rId36" Type="http://schemas.openxmlformats.org/officeDocument/2006/relationships/tags" Target="../tags/tag1174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54.xml"/><Relationship Id="rId19" Type="http://schemas.openxmlformats.org/officeDocument/2006/relationships/vmlDrawing" Target="../drawings/vmlDrawing149.vml"/><Relationship Id="rId31" Type="http://schemas.openxmlformats.org/officeDocument/2006/relationships/tags" Target="../tags/tag1169.xml"/><Relationship Id="rId44" Type="http://schemas.openxmlformats.org/officeDocument/2006/relationships/tags" Target="../tags/tag1182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slideLayout" Target="../slideLayouts/slideLayout158.xml"/><Relationship Id="rId22" Type="http://schemas.openxmlformats.org/officeDocument/2006/relationships/tags" Target="../tags/tag1160.xml"/><Relationship Id="rId27" Type="http://schemas.openxmlformats.org/officeDocument/2006/relationships/tags" Target="../tags/tag1165.xml"/><Relationship Id="rId30" Type="http://schemas.openxmlformats.org/officeDocument/2006/relationships/tags" Target="../tags/tag1168.xml"/><Relationship Id="rId35" Type="http://schemas.openxmlformats.org/officeDocument/2006/relationships/tags" Target="../tags/tag1173.xml"/><Relationship Id="rId43" Type="http://schemas.openxmlformats.org/officeDocument/2006/relationships/tags" Target="../tags/tag1181.xml"/><Relationship Id="rId48" Type="http://schemas.openxmlformats.org/officeDocument/2006/relationships/oleObject" Target="../embeddings/oleObject149.bin"/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6.xml"/><Relationship Id="rId17" Type="http://schemas.openxmlformats.org/officeDocument/2006/relationships/slideLayout" Target="../slideLayouts/slideLayout161.xml"/><Relationship Id="rId25" Type="http://schemas.openxmlformats.org/officeDocument/2006/relationships/tags" Target="../tags/tag1163.xml"/><Relationship Id="rId33" Type="http://schemas.openxmlformats.org/officeDocument/2006/relationships/tags" Target="../tags/tag1171.xml"/><Relationship Id="rId38" Type="http://schemas.openxmlformats.org/officeDocument/2006/relationships/tags" Target="../tags/tag1176.xml"/><Relationship Id="rId46" Type="http://schemas.openxmlformats.org/officeDocument/2006/relationships/tags" Target="../tags/tag1184.xml"/><Relationship Id="rId20" Type="http://schemas.openxmlformats.org/officeDocument/2006/relationships/tags" Target="../tags/tag1158.xml"/><Relationship Id="rId41" Type="http://schemas.openxmlformats.org/officeDocument/2006/relationships/tags" Target="../tags/tag1179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620681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50" imgW="413" imgH="416" progId="TCLayout.ActiveDocument.1">
                  <p:embed/>
                </p:oleObj>
              </mc:Choice>
              <mc:Fallback>
                <p:oleObj name="think-cell Slide" r:id="rId5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Над диаграммой Название выставки</a:t>
            </a:r>
            <a:br>
              <a:rPr lang="en-US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de-DE" sz="1400" b="1">
                  <a:solidFill>
                    <a:schemeClr val="tx2"/>
                  </a:solidFill>
                </a:rPr>
                <a:t>Callout title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de-DE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48543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  <p:sldLayoutId id="2147483911" r:id="rId12"/>
    <p:sldLayoutId id="2147483912" r:id="rId13"/>
    <p:sldLayoutId id="2147483913" r:id="rId14"/>
    <p:sldLayoutId id="2147483914" r:id="rId15"/>
    <p:sldLayoutId id="2147483915" r:id="rId16"/>
    <p:sldLayoutId id="2147483917" r:id="rId17"/>
    <p:sldLayoutId id="2147483918" r:id="rId18"/>
    <p:sldLayoutId id="2147483919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46325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1" name="think-cell Slide" r:id="rId49" imgW="413" imgH="416" progId="TCLayout.ActiveDocument.1">
                  <p:embed/>
                </p:oleObj>
              </mc:Choice>
              <mc:Fallback>
                <p:oleObj name="think-cell Slide" r:id="rId4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 rt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Над диаграммой Название выставки</a:t>
            </a:r>
            <a:br>
              <a:rPr lang="ru-RU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ru-RU" sz="1400" b="1">
                  <a:solidFill>
                    <a:schemeClr val="tx2"/>
                  </a:solidFill>
                </a:rPr>
                <a:t>Callout title</a:t>
              </a:r>
            </a:p>
            <a:p>
              <a:pPr rtl="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ru-RU" sz="140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516458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6" r:id="rId1"/>
    <p:sldLayoutId id="2147484097" r:id="rId2"/>
    <p:sldLayoutId id="2147484098" r:id="rId3"/>
    <p:sldLayoutId id="2147484099" r:id="rId4"/>
    <p:sldLayoutId id="2147484100" r:id="rId5"/>
    <p:sldLayoutId id="2147484101" r:id="rId6"/>
    <p:sldLayoutId id="2147484102" r:id="rId7"/>
    <p:sldLayoutId id="2147484103" r:id="rId8"/>
    <p:sldLayoutId id="2147484104" r:id="rId9"/>
    <p:sldLayoutId id="2147484105" r:id="rId10"/>
    <p:sldLayoutId id="2147484106" r:id="rId11"/>
    <p:sldLayoutId id="2147484107" r:id="rId12"/>
    <p:sldLayoutId id="2147484108" r:id="rId13"/>
    <p:sldLayoutId id="2147484109" r:id="rId14"/>
    <p:sldLayoutId id="2147484110" r:id="rId15"/>
    <p:sldLayoutId id="2147484111" r:id="rId16"/>
    <p:sldLayoutId id="2147484112" r:id="rId17"/>
    <p:sldLayoutId id="2147484113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855344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7"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 rt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Над диаграммой Название выставки</a:t>
            </a:r>
            <a:br>
              <a:rPr lang="ru-RU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/>
              <a:t>Second </a:t>
            </a:r>
            <a:r>
              <a:rPr lang="ru-RU" dirty="0" err="1"/>
              <a:t>level</a:t>
            </a:r>
            <a:endParaRPr lang="ru-RU" dirty="0"/>
          </a:p>
          <a:p>
            <a:pPr lvl="2"/>
            <a:r>
              <a:rPr lang="ru-RU" dirty="0" err="1"/>
              <a:t>Thir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3"/>
            <a:r>
              <a:rPr lang="ru-RU" dirty="0" err="1"/>
              <a:t>Four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4"/>
            <a:r>
              <a:rPr lang="ru-RU" dirty="0" err="1"/>
              <a:t>Fif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ru-RU" sz="1400" b="1" dirty="0" err="1">
                  <a:solidFill>
                    <a:schemeClr val="tx2"/>
                  </a:solidFill>
                </a:rPr>
                <a:t>Callout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  <a:r>
                <a:rPr lang="ru-RU" sz="1400" b="1" dirty="0" err="1">
                  <a:solidFill>
                    <a:schemeClr val="tx2"/>
                  </a:solidFill>
                </a:rPr>
                <a:t>title</a:t>
              </a:r>
              <a:endParaRPr lang="ru-RU" sz="1400" b="1" dirty="0">
                <a:solidFill>
                  <a:schemeClr val="tx2"/>
                </a:solidFill>
              </a:endParaRPr>
            </a:p>
            <a:p>
              <a:pPr rtl="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ru-RU" sz="1400" dirty="0" err="1">
                  <a:solidFill>
                    <a:schemeClr val="tx2"/>
                  </a:solidFill>
                </a:rPr>
                <a:t>Supporting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text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goes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here</a:t>
              </a:r>
              <a:r>
                <a:rPr lang="ru-RU" sz="1400" dirty="0">
                  <a:solidFill>
                    <a:schemeClr val="tx2"/>
                  </a:solidFill>
                </a:rPr>
                <a:t>. Box </a:t>
              </a:r>
              <a:r>
                <a:rPr lang="ru-RU" sz="1400" dirty="0" err="1">
                  <a:solidFill>
                    <a:schemeClr val="tx2"/>
                  </a:solidFill>
                </a:rPr>
                <a:t>will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automatically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adjust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to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content</a:t>
              </a:r>
              <a:r>
                <a:rPr lang="ru-RU" sz="1400" dirty="0">
                  <a:solidFill>
                    <a:schemeClr val="tx2"/>
                  </a:solidFill>
                </a:rPr>
                <a:t>, </a:t>
              </a:r>
              <a:r>
                <a:rPr lang="ru-RU" sz="1400" dirty="0" err="1">
                  <a:solidFill>
                    <a:schemeClr val="tx2"/>
                  </a:solidFill>
                </a:rPr>
                <a:t>adjust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type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size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as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needed</a:t>
              </a:r>
              <a:r>
                <a:rPr lang="ru-RU" sz="1400" dirty="0">
                  <a:solidFill>
                    <a:schemeClr val="tx2"/>
                  </a:solidFill>
                </a:rPr>
                <a:t>.</a:t>
              </a: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4207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5" r:id="rId1"/>
    <p:sldLayoutId id="2147484116" r:id="rId2"/>
    <p:sldLayoutId id="2147484117" r:id="rId3"/>
    <p:sldLayoutId id="2147484118" r:id="rId4"/>
    <p:sldLayoutId id="2147484119" r:id="rId5"/>
    <p:sldLayoutId id="2147484120" r:id="rId6"/>
    <p:sldLayoutId id="2147484121" r:id="rId7"/>
    <p:sldLayoutId id="2147484122" r:id="rId8"/>
    <p:sldLayoutId id="2147484123" r:id="rId9"/>
    <p:sldLayoutId id="2147484124" r:id="rId10"/>
    <p:sldLayoutId id="2147484125" r:id="rId11"/>
    <p:sldLayoutId id="2147484126" r:id="rId12"/>
    <p:sldLayoutId id="2147484127" r:id="rId13"/>
    <p:sldLayoutId id="2147484128" r:id="rId14"/>
    <p:sldLayoutId id="2147484129" r:id="rId15"/>
    <p:sldLayoutId id="2147484130" r:id="rId16"/>
    <p:sldLayoutId id="2147484131" r:id="rId17"/>
    <p:sldLayoutId id="2147484132" r:id="rId18"/>
    <p:sldLayoutId id="2147484133" r:id="rId19"/>
    <p:sldLayoutId id="2147484134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20681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01"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Над диаграммой Название выставки</a:t>
            </a:r>
            <a:br>
              <a:rPr lang="en-US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de-DE" sz="1400" b="1">
                  <a:solidFill>
                    <a:schemeClr val="tx2"/>
                  </a:solidFill>
                </a:rPr>
                <a:t>Callout title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de-DE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911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6" r:id="rId1"/>
    <p:sldLayoutId id="2147484137" r:id="rId2"/>
    <p:sldLayoutId id="2147484138" r:id="rId3"/>
    <p:sldLayoutId id="2147484139" r:id="rId4"/>
    <p:sldLayoutId id="2147484140" r:id="rId5"/>
    <p:sldLayoutId id="2147484141" r:id="rId6"/>
    <p:sldLayoutId id="2147484142" r:id="rId7"/>
    <p:sldLayoutId id="2147484143" r:id="rId8"/>
    <p:sldLayoutId id="2147484144" r:id="rId9"/>
    <p:sldLayoutId id="2147484145" r:id="rId10"/>
    <p:sldLayoutId id="2147484146" r:id="rId11"/>
    <p:sldLayoutId id="2147484147" r:id="rId12"/>
    <p:sldLayoutId id="2147484148" r:id="rId13"/>
    <p:sldLayoutId id="2147484149" r:id="rId14"/>
    <p:sldLayoutId id="2147484150" r:id="rId15"/>
    <p:sldLayoutId id="2147484151" r:id="rId16"/>
    <p:sldLayoutId id="2147484152" r:id="rId17"/>
    <p:sldLayoutId id="2147484153" r:id="rId18"/>
    <p:sldLayoutId id="2147484154" r:id="rId19"/>
    <p:sldLayoutId id="2147484155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421118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57" name="think-cell Slide" r:id="rId52" imgW="413" imgH="416" progId="TCLayout.ActiveDocument.1">
                  <p:embed/>
                </p:oleObj>
              </mc:Choice>
              <mc:Fallback>
                <p:oleObj name="think-cell Slide" r:id="rId52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 rt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Над диаграммой Название выставки</a:t>
            </a:r>
            <a:br>
              <a:rPr lang="ru-RU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ext</a:t>
            </a:r>
            <a:r>
              <a:rPr lang="ru-RU" dirty="0"/>
              <a:t> </a:t>
            </a:r>
            <a:r>
              <a:rPr lang="ru-RU" dirty="0" err="1"/>
              <a:t>styles</a:t>
            </a:r>
            <a:endParaRPr lang="ru-RU" dirty="0"/>
          </a:p>
          <a:p>
            <a:pPr lvl="1"/>
            <a:r>
              <a:rPr lang="ru-RU" dirty="0"/>
              <a:t>Second </a:t>
            </a:r>
            <a:r>
              <a:rPr lang="ru-RU" dirty="0" err="1"/>
              <a:t>level</a:t>
            </a:r>
            <a:endParaRPr lang="ru-RU" dirty="0"/>
          </a:p>
          <a:p>
            <a:pPr lvl="2"/>
            <a:r>
              <a:rPr lang="ru-RU" dirty="0" err="1"/>
              <a:t>Third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3"/>
            <a:r>
              <a:rPr lang="ru-RU" dirty="0" err="1"/>
              <a:t>Four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  <a:p>
            <a:pPr lvl="4"/>
            <a:r>
              <a:rPr lang="ru-RU" dirty="0" err="1"/>
              <a:t>Fifth</a:t>
            </a:r>
            <a:r>
              <a:rPr lang="ru-RU" dirty="0"/>
              <a:t> </a:t>
            </a:r>
            <a:r>
              <a:rPr lang="ru-RU" dirty="0" err="1"/>
              <a:t>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5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4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ru-RU" sz="1400" b="1" dirty="0" err="1">
                  <a:solidFill>
                    <a:schemeClr val="tx2"/>
                  </a:solidFill>
                </a:rPr>
                <a:t>Callout</a:t>
              </a:r>
              <a:r>
                <a:rPr lang="ru-RU" sz="1400" b="1" dirty="0">
                  <a:solidFill>
                    <a:schemeClr val="tx2"/>
                  </a:solidFill>
                </a:rPr>
                <a:t> </a:t>
              </a:r>
              <a:r>
                <a:rPr lang="ru-RU" sz="1400" b="1" dirty="0" err="1">
                  <a:solidFill>
                    <a:schemeClr val="tx2"/>
                  </a:solidFill>
                </a:rPr>
                <a:t>title</a:t>
              </a:r>
              <a:endParaRPr lang="ru-RU" sz="1400" b="1" dirty="0">
                <a:solidFill>
                  <a:schemeClr val="tx2"/>
                </a:solidFill>
              </a:endParaRPr>
            </a:p>
            <a:p>
              <a:pPr rtl="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ru-RU" sz="1400" dirty="0" err="1">
                  <a:solidFill>
                    <a:schemeClr val="tx2"/>
                  </a:solidFill>
                </a:rPr>
                <a:t>Supporting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text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goes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here</a:t>
              </a:r>
              <a:r>
                <a:rPr lang="ru-RU" sz="1400" dirty="0">
                  <a:solidFill>
                    <a:schemeClr val="tx2"/>
                  </a:solidFill>
                </a:rPr>
                <a:t>. Box </a:t>
              </a:r>
              <a:r>
                <a:rPr lang="ru-RU" sz="1400" dirty="0" err="1">
                  <a:solidFill>
                    <a:schemeClr val="tx2"/>
                  </a:solidFill>
                </a:rPr>
                <a:t>will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automatically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adjust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to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content</a:t>
              </a:r>
              <a:r>
                <a:rPr lang="ru-RU" sz="1400" dirty="0">
                  <a:solidFill>
                    <a:schemeClr val="tx2"/>
                  </a:solidFill>
                </a:rPr>
                <a:t>, </a:t>
              </a:r>
              <a:r>
                <a:rPr lang="ru-RU" sz="1400" dirty="0" err="1">
                  <a:solidFill>
                    <a:schemeClr val="tx2"/>
                  </a:solidFill>
                </a:rPr>
                <a:t>adjust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type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size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as</a:t>
              </a:r>
              <a:r>
                <a:rPr lang="ru-RU" sz="1400" dirty="0">
                  <a:solidFill>
                    <a:schemeClr val="tx2"/>
                  </a:solidFill>
                </a:rPr>
                <a:t> </a:t>
              </a:r>
              <a:r>
                <a:rPr lang="ru-RU" sz="1400" dirty="0" err="1">
                  <a:solidFill>
                    <a:schemeClr val="tx2"/>
                  </a:solidFill>
                </a:rPr>
                <a:t>needed</a:t>
              </a:r>
              <a:r>
                <a:rPr lang="ru-RU" sz="1400" dirty="0">
                  <a:solidFill>
                    <a:schemeClr val="tx2"/>
                  </a:solidFill>
                </a:rPr>
                <a:t>.</a:t>
              </a: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30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6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8411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7" r:id="rId1"/>
    <p:sldLayoutId id="2147484158" r:id="rId2"/>
    <p:sldLayoutId id="2147484159" r:id="rId3"/>
    <p:sldLayoutId id="2147484160" r:id="rId4"/>
    <p:sldLayoutId id="2147484161" r:id="rId5"/>
    <p:sldLayoutId id="2147484162" r:id="rId6"/>
    <p:sldLayoutId id="2147484163" r:id="rId7"/>
    <p:sldLayoutId id="2147484164" r:id="rId8"/>
    <p:sldLayoutId id="2147484165" r:id="rId9"/>
    <p:sldLayoutId id="2147484166" r:id="rId10"/>
    <p:sldLayoutId id="2147484167" r:id="rId11"/>
    <p:sldLayoutId id="2147484168" r:id="rId12"/>
    <p:sldLayoutId id="2147484169" r:id="rId13"/>
    <p:sldLayoutId id="2147484170" r:id="rId14"/>
    <p:sldLayoutId id="2147484171" r:id="rId15"/>
    <p:sldLayoutId id="2147484172" r:id="rId16"/>
    <p:sldLayoutId id="2147484173" r:id="rId17"/>
    <p:sldLayoutId id="2147484174" r:id="rId18"/>
    <p:sldLayoutId id="2147484175" r:id="rId19"/>
    <p:sldLayoutId id="2147484176" r:id="rId20"/>
    <p:sldLayoutId id="2147484177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6914002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985" name="think-cell Slide" r:id="rId50" imgW="413" imgH="416" progId="TCLayout.ActiveDocument.1">
                  <p:embed/>
                </p:oleObj>
              </mc:Choice>
              <mc:Fallback>
                <p:oleObj name="think-cell Slide" r:id="rId5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Над диаграммой Название выставки</a:t>
            </a:r>
            <a:br>
              <a:rPr lang="en-US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de-DE" sz="1400" b="1">
                  <a:solidFill>
                    <a:schemeClr val="tx2"/>
                  </a:solidFill>
                </a:rPr>
                <a:t>Callout title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de-DE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3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4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24272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9" r:id="rId1"/>
    <p:sldLayoutId id="2147484180" r:id="rId2"/>
    <p:sldLayoutId id="2147484181" r:id="rId3"/>
    <p:sldLayoutId id="2147484182" r:id="rId4"/>
    <p:sldLayoutId id="2147484183" r:id="rId5"/>
    <p:sldLayoutId id="2147484184" r:id="rId6"/>
    <p:sldLayoutId id="2147484185" r:id="rId7"/>
    <p:sldLayoutId id="2147484186" r:id="rId8"/>
    <p:sldLayoutId id="2147484187" r:id="rId9"/>
    <p:sldLayoutId id="2147484188" r:id="rId10"/>
    <p:sldLayoutId id="2147484189" r:id="rId11"/>
    <p:sldLayoutId id="2147484190" r:id="rId12"/>
    <p:sldLayoutId id="2147484191" r:id="rId13"/>
    <p:sldLayoutId id="2147484192" r:id="rId14"/>
    <p:sldLayoutId id="2147484193" r:id="rId15"/>
    <p:sldLayoutId id="2147484194" r:id="rId16"/>
    <p:sldLayoutId id="2147484195" r:id="rId17"/>
    <p:sldLayoutId id="2147484196" r:id="rId18"/>
    <p:sldLayoutId id="2147484197" r:id="rId19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5485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9" name="think-cell Slide" r:id="rId42" imgW="592" imgH="591" progId="TCLayout.ActiveDocument.1">
                  <p:embed/>
                </p:oleObj>
              </mc:Choice>
              <mc:Fallback>
                <p:oleObj name="think-cell Slide" r:id="rId42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Background">
            <a:extLst>
              <a:ext uri="{FF2B5EF4-FFF2-40B4-BE49-F238E27FC236}">
                <a16:creationId xmlns:a16="http://schemas.microsoft.com/office/drawing/2014/main" id="{29A56A74-9BD4-4D03-B64C-0E9FD4B049F4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0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rgbClr val="00F8F9"/>
              </a:gs>
              <a:gs pos="100000">
                <a:srgbClr val="3D4AFB"/>
              </a:gs>
              <a:gs pos="66000">
                <a:srgbClr val="3A7FEF"/>
              </a:gs>
              <a:gs pos="33000">
                <a:schemeClr val="accent3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rtl="0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 rtl="0"/>
            <a:r>
              <a:rPr lang="ru-RU" dirty="0"/>
              <a:t>Сноски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ru-RU" dirty="0"/>
              <a:t>СТИКЕР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987738" y="2170799"/>
            <a:ext cx="327403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Над диаграммой </a:t>
            </a:r>
            <a:r>
              <a:rPr lang="ru-RU" sz="1400" b="0" dirty="0"/>
              <a:t>выставкиЕдин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Нажмите, чтобы отредактировать стили основного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B6FDC341-401A-4CE5-AA13-F0C9029767E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554770" y="4322824"/>
            <a:chExt cx="960935" cy="1717282"/>
          </a:xfrm>
        </p:grpSpPr>
        <p:sp>
          <p:nvSpPr>
            <p:cNvPr id="147" name="RectangleLegend1">
              <a:extLst>
                <a:ext uri="{FF2B5EF4-FFF2-40B4-BE49-F238E27FC236}">
                  <a16:creationId xmlns:a16="http://schemas.microsoft.com/office/drawing/2014/main" id="{EBC57562-4C00-47D5-B058-B1642E02C1CF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>
              <a:extLst>
                <a:ext uri="{FF2B5EF4-FFF2-40B4-BE49-F238E27FC236}">
                  <a16:creationId xmlns:a16="http://schemas.microsoft.com/office/drawing/2014/main" id="{F83709D1-4FD9-4B95-924F-D0FD30F07C55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>
              <a:extLst>
                <a:ext uri="{FF2B5EF4-FFF2-40B4-BE49-F238E27FC236}">
                  <a16:creationId xmlns:a16="http://schemas.microsoft.com/office/drawing/2014/main" id="{839D97C8-BA3B-499D-8D30-0FCBD382ADFD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>
              <a:extLst>
                <a:ext uri="{FF2B5EF4-FFF2-40B4-BE49-F238E27FC236}">
                  <a16:creationId xmlns:a16="http://schemas.microsoft.com/office/drawing/2014/main" id="{CE2E1E71-EEE4-49D5-8B6C-7E87BF6D7D5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>
              <a:extLst>
                <a:ext uri="{FF2B5EF4-FFF2-40B4-BE49-F238E27FC236}">
                  <a16:creationId xmlns:a16="http://schemas.microsoft.com/office/drawing/2014/main" id="{B1C71CC6-6766-4000-9C0B-D426C9120EFF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Legend1">
              <a:extLst>
                <a:ext uri="{FF2B5EF4-FFF2-40B4-BE49-F238E27FC236}">
                  <a16:creationId xmlns:a16="http://schemas.microsoft.com/office/drawing/2014/main" id="{D9077A36-3927-4B6F-B1FC-1E52A49A7F4F}"/>
                </a:ext>
              </a:extLst>
            </p:cNvPr>
            <p:cNvSpPr txBox="1"/>
            <p:nvPr/>
          </p:nvSpPr>
          <p:spPr>
            <a:xfrm>
              <a:off x="1088091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3" name="Legend2">
              <a:extLst>
                <a:ext uri="{FF2B5EF4-FFF2-40B4-BE49-F238E27FC236}">
                  <a16:creationId xmlns:a16="http://schemas.microsoft.com/office/drawing/2014/main" id="{7E2B6B46-36FD-4A9E-BB45-62E4EFFA7C4D}"/>
                </a:ext>
              </a:extLst>
            </p:cNvPr>
            <p:cNvSpPr txBox="1"/>
            <p:nvPr/>
          </p:nvSpPr>
          <p:spPr>
            <a:xfrm>
              <a:off x="1088091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4" name="Legend3">
              <a:extLst>
                <a:ext uri="{FF2B5EF4-FFF2-40B4-BE49-F238E27FC236}">
                  <a16:creationId xmlns:a16="http://schemas.microsoft.com/office/drawing/2014/main" id="{EFD20821-0E19-4995-B7C2-7B28ECFB4C6D}"/>
                </a:ext>
              </a:extLst>
            </p:cNvPr>
            <p:cNvSpPr txBox="1"/>
            <p:nvPr/>
          </p:nvSpPr>
          <p:spPr>
            <a:xfrm>
              <a:off x="1088091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5" name="Legend4">
              <a:extLst>
                <a:ext uri="{FF2B5EF4-FFF2-40B4-BE49-F238E27FC236}">
                  <a16:creationId xmlns:a16="http://schemas.microsoft.com/office/drawing/2014/main" id="{3EB8DC12-752F-45E5-953E-7912476CF679}"/>
                </a:ext>
              </a:extLst>
            </p:cNvPr>
            <p:cNvSpPr txBox="1"/>
            <p:nvPr/>
          </p:nvSpPr>
          <p:spPr>
            <a:xfrm>
              <a:off x="1088091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6" name="Legend5">
              <a:extLst>
                <a:ext uri="{FF2B5EF4-FFF2-40B4-BE49-F238E27FC236}">
                  <a16:creationId xmlns:a16="http://schemas.microsoft.com/office/drawing/2014/main" id="{5D30F20F-EA36-4ED9-A1D7-762A0B6D12CC}"/>
                </a:ext>
              </a:extLst>
            </p:cNvPr>
            <p:cNvSpPr txBox="1"/>
            <p:nvPr/>
          </p:nvSpPr>
          <p:spPr>
            <a:xfrm>
              <a:off x="1088091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FE73DDBB-00CB-4931-81D5-9FD3AE2541D9}"/>
              </a:ext>
            </a:extLst>
          </p:cNvPr>
          <p:cNvGrpSpPr/>
          <p:nvPr userDrawn="1"/>
        </p:nvGrpSpPr>
        <p:grpSpPr>
          <a:xfrm>
            <a:off x="10278831" y="3150831"/>
            <a:ext cx="1358432" cy="958286"/>
            <a:chOff x="10162879" y="3243772"/>
            <a:chExt cx="1358432" cy="958286"/>
          </a:xfrm>
        </p:grpSpPr>
        <p:sp>
          <p:nvSpPr>
            <p:cNvPr id="158" name="Legend1">
              <a:extLst>
                <a:ext uri="{FF2B5EF4-FFF2-40B4-BE49-F238E27FC236}">
                  <a16:creationId xmlns:a16="http://schemas.microsoft.com/office/drawing/2014/main" id="{CE5F7809-C099-4E69-A947-C54916A152B3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9" name="Legend2">
              <a:extLst>
                <a:ext uri="{FF2B5EF4-FFF2-40B4-BE49-F238E27FC236}">
                  <a16:creationId xmlns:a16="http://schemas.microsoft.com/office/drawing/2014/main" id="{B68C4E97-A8B1-47CE-8FA7-601084DE4515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0" name="Legend3">
              <a:extLst>
                <a:ext uri="{FF2B5EF4-FFF2-40B4-BE49-F238E27FC236}">
                  <a16:creationId xmlns:a16="http://schemas.microsoft.com/office/drawing/2014/main" id="{26460341-321F-4BF5-9337-3DF6EFD01AC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1" name="LineLegend3">
              <a:extLst>
                <a:ext uri="{FF2B5EF4-FFF2-40B4-BE49-F238E27FC236}">
                  <a16:creationId xmlns:a16="http://schemas.microsoft.com/office/drawing/2014/main" id="{22D7050B-98E8-4655-9037-D16EF90D9D2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>
              <a:extLst>
                <a:ext uri="{FF2B5EF4-FFF2-40B4-BE49-F238E27FC236}">
                  <a16:creationId xmlns:a16="http://schemas.microsoft.com/office/drawing/2014/main" id="{7D376BE0-43A6-4C8D-9035-88A82711E8A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>
              <a:extLst>
                <a:ext uri="{FF2B5EF4-FFF2-40B4-BE49-F238E27FC236}">
                  <a16:creationId xmlns:a16="http://schemas.microsoft.com/office/drawing/2014/main" id="{4A346D3F-74A3-443C-87B3-8EFADBCD43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DB05479F-F2E4-46D7-9405-742B918AA966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16535" y="2630582"/>
            <a:chExt cx="987421" cy="1731859"/>
          </a:xfrm>
        </p:grpSpPr>
        <p:sp>
          <p:nvSpPr>
            <p:cNvPr id="165" name="Legend1">
              <a:extLst>
                <a:ext uri="{FF2B5EF4-FFF2-40B4-BE49-F238E27FC236}">
                  <a16:creationId xmlns:a16="http://schemas.microsoft.com/office/drawing/2014/main" id="{6412FE27-06CA-43AD-9032-D45FDDF859C7}"/>
                </a:ext>
              </a:extLst>
            </p:cNvPr>
            <p:cNvSpPr txBox="1"/>
            <p:nvPr/>
          </p:nvSpPr>
          <p:spPr>
            <a:xfrm>
              <a:off x="8069167" y="26379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6" name="Legend2">
              <a:extLst>
                <a:ext uri="{FF2B5EF4-FFF2-40B4-BE49-F238E27FC236}">
                  <a16:creationId xmlns:a16="http://schemas.microsoft.com/office/drawing/2014/main" id="{FFB3045B-FF7D-4247-A525-D0411FFF8DDD}"/>
                </a:ext>
              </a:extLst>
            </p:cNvPr>
            <p:cNvSpPr txBox="1"/>
            <p:nvPr/>
          </p:nvSpPr>
          <p:spPr>
            <a:xfrm>
              <a:off x="8069167" y="301340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7" name="Legend3">
              <a:extLst>
                <a:ext uri="{FF2B5EF4-FFF2-40B4-BE49-F238E27FC236}">
                  <a16:creationId xmlns:a16="http://schemas.microsoft.com/office/drawing/2014/main" id="{22A68A92-F69B-4E36-945B-BC1817D14716}"/>
                </a:ext>
              </a:extLst>
            </p:cNvPr>
            <p:cNvSpPr txBox="1"/>
            <p:nvPr/>
          </p:nvSpPr>
          <p:spPr>
            <a:xfrm>
              <a:off x="8069167" y="3388859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08" name="Legend4">
              <a:extLst>
                <a:ext uri="{FF2B5EF4-FFF2-40B4-BE49-F238E27FC236}">
                  <a16:creationId xmlns:a16="http://schemas.microsoft.com/office/drawing/2014/main" id="{5098D30A-5F7F-4CFE-BD37-AF6DFF9A6A8E}"/>
                </a:ext>
              </a:extLst>
            </p:cNvPr>
            <p:cNvSpPr txBox="1"/>
            <p:nvPr/>
          </p:nvSpPr>
          <p:spPr>
            <a:xfrm>
              <a:off x="8069167" y="3764318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09" name="Legend5">
              <a:extLst>
                <a:ext uri="{FF2B5EF4-FFF2-40B4-BE49-F238E27FC236}">
                  <a16:creationId xmlns:a16="http://schemas.microsoft.com/office/drawing/2014/main" id="{5227AFCA-D48D-46C2-B91F-5E14202594E8}"/>
                </a:ext>
              </a:extLst>
            </p:cNvPr>
            <p:cNvSpPr txBox="1"/>
            <p:nvPr/>
          </p:nvSpPr>
          <p:spPr>
            <a:xfrm>
              <a:off x="8069167" y="4139779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grpSp>
          <p:nvGrpSpPr>
            <p:cNvPr id="210" name="MoonLegend1">
              <a:extLst>
                <a:ext uri="{FF2B5EF4-FFF2-40B4-BE49-F238E27FC236}">
                  <a16:creationId xmlns:a16="http://schemas.microsoft.com/office/drawing/2014/main" id="{5906DA52-E31F-45A8-B7F9-F4DA85300E56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8C279EAF-20F9-4EDB-86EC-901EB215F004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>
                <a:extLst>
                  <a:ext uri="{FF2B5EF4-FFF2-40B4-BE49-F238E27FC236}">
                    <a16:creationId xmlns:a16="http://schemas.microsoft.com/office/drawing/2014/main" id="{57FC4A06-8A13-494D-82E5-7C36D794B9E5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11" name="MoonLegend2">
              <a:extLst>
                <a:ext uri="{FF2B5EF4-FFF2-40B4-BE49-F238E27FC236}">
                  <a16:creationId xmlns:a16="http://schemas.microsoft.com/office/drawing/2014/main" id="{136ABE36-0A9C-44B2-86A0-7D94AD599E47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BD0C0BA9-E215-48A5-B920-1EFA227BE3B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>
                <a:extLst>
                  <a:ext uri="{FF2B5EF4-FFF2-40B4-BE49-F238E27FC236}">
                    <a16:creationId xmlns:a16="http://schemas.microsoft.com/office/drawing/2014/main" id="{825B96CC-50CA-40D1-A17F-68E14702885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12" name="MoonLegend3">
              <a:extLst>
                <a:ext uri="{FF2B5EF4-FFF2-40B4-BE49-F238E27FC236}">
                  <a16:creationId xmlns:a16="http://schemas.microsoft.com/office/drawing/2014/main" id="{A3B0985F-247F-4E27-85DA-0E143DDEB68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E314225F-27C5-426B-97E4-39C5FA5B1FB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D9585DA4-4D0D-4EAC-A42E-A88BD1177FC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13" name="MoonLegend4">
              <a:extLst>
                <a:ext uri="{FF2B5EF4-FFF2-40B4-BE49-F238E27FC236}">
                  <a16:creationId xmlns:a16="http://schemas.microsoft.com/office/drawing/2014/main" id="{44371FD4-5842-4D5A-ACDB-21E1881D5C73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5FB2D89-7F49-4453-9714-0B0AEF25AFF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1CB93CF8-8D9B-4773-8BA8-2A1B03BEC7A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14" name="MoonLegend5">
              <a:extLst>
                <a:ext uri="{FF2B5EF4-FFF2-40B4-BE49-F238E27FC236}">
                  <a16:creationId xmlns:a16="http://schemas.microsoft.com/office/drawing/2014/main" id="{5E91C7D4-1481-4F1D-8DB2-D29D181031D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C67DF01-35BD-430B-95C2-4EB050702ED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795AE1A9-CECA-4C30-91E2-585855C2F184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034872EB-666E-4F93-9419-08AB1822700B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A179EBCA-B0F1-4A59-ABA5-CAE138E96871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BDD87CCD-FAA8-49FF-A4AA-FF7B677CE874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597E5AE3-A079-4512-BA20-765D1F70EF6A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 rtl="0"/>
              <a:endParaRPr lang="ru-RU" dirty="0"/>
            </a:p>
          </p:txBody>
        </p:sp>
      </p:grpSp>
      <p:sp>
        <p:nvSpPr>
          <p:cNvPr id="206" name="2. Slide Title">
            <a:extLst>
              <a:ext uri="{FF2B5EF4-FFF2-40B4-BE49-F238E27FC236}">
                <a16:creationId xmlns:a16="http://schemas.microsoft.com/office/drawing/2014/main" id="{8978655B-E10F-4CD9-BF90-1CA49BEF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Нажмите, чтобы отредактировать стиль основной версии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841790B-2F4D-435A-A7DF-4B2FD3A2748D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AF57AE77-9CDA-4954-AB38-46C543F1A237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FC088B05-AAC3-4038-A7DC-742CEE0FD7F7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AE94629C-762B-4813-8B8E-95D4C8FD0859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0F4C5B29-4978-4C07-8E79-552ABB6CB125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AF0956FC-D667-4D18-9D9A-83C0BE6EBE3F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A503B851-70B2-4F60-8CDC-7B5C120256E4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8F7FFAF2-B287-450A-9396-672C993615C3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85B637BA-493C-4FBF-B988-EA9380ABCC69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240B24E6-B5FB-4348-971A-013DC5959DC1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C6934DED-3129-41F9-A76B-EE507D9D23EE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38C76BB9-3D48-4A19-AEAA-C58BBABCE866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271521D4-4583-4C42-A82C-8AC332110F94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3EAD1B98-C63A-4A1D-AB32-C70DA728099A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AA6E7BBC-5DF2-4392-A669-B25F0D1DF4E0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F24402CC-1CFE-40A8-828E-51CE2DD3E97C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F5AEDF6E-763A-44A0-807B-699F9D410A0D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C4084FBF-F1C1-431E-BE7A-FCC58863D474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F29CF874-8766-47BA-9CC0-238756514492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3FDB7BF8-1EFD-4E9A-BF52-800D0CA9E2D2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3CCA8434-7933-4F6A-B57F-CDF71AAF0DA1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CD25AA-69F2-4370-AFA9-0A6C50DC80E6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7D3A9AD6-7497-4448-85BA-539338D70F9F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8911F41A-9829-4606-A3B2-3E1795396DEC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AB74B18F-6682-4274-B323-971D891E8651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990D1922-11D4-4CED-B05F-BFF931C8745A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BD2DD719-DA4B-4690-ADF9-A6BD4C02DBF1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DFDD055B-C280-4DB6-AA17-88AE70B6140E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23FD985E-E354-461C-B095-7DFDDDE06B00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7C4D14C3-F74C-4705-87A8-E50C5B563B55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E15EA04E-E663-4F3A-AD30-E85B2BA27CE6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EE4C736-7EF4-4987-9BAA-928F493B02FD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9C7B3C9D-58EA-45D5-A6AA-2EE686038EA5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8B0C6122-F9DF-4A95-822A-673F56774E36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756E84E5-6CC0-4016-812E-1EB9BB2CCA3B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74F953B7-2BD0-4948-AA8D-9871FB4C2229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48CB9492-F012-4423-B7BD-AAD14970FECB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104C7359-F8CF-42FF-9D13-BF6AD1578BB8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ED302CE4-A666-4634-8545-003CD57A5E72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2DB2122B-E031-44A9-AC76-1893AAE52EFE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01318196-B0BC-468F-AF16-ED8572A7314A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4CF4467D-DEA1-477D-B22B-18148D099A79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DDC715A4-2BF6-4FC9-B2D6-C2F50C4E7D7E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AED981F9-AFA7-4CC0-8850-A2C00F4AA7B5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5CDE407B-8774-4788-B651-E9D37FA56B1B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FF5FE8BE-F8D7-4842-998E-38850578AA5B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40E786B9-4D05-47AE-94CC-EE1B3C554A77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EBBFA60B-C3C1-4DA5-A58A-A88AB5BE1C12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059DA044-1CBA-49E8-84E5-28526ED3B5A7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912B9121-1AB5-493C-B45F-D83A09AC87AA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C165D012-50C0-40E7-B209-24B7CBB1C064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  <p:grpSp>
          <p:nvGrpSpPr>
            <p:cNvPr id="275" name="Group 274">
              <a:extLst>
                <a:ext uri="{FF2B5EF4-FFF2-40B4-BE49-F238E27FC236}">
                  <a16:creationId xmlns:a16="http://schemas.microsoft.com/office/drawing/2014/main" id="{CC7B3ADF-1414-40D4-9CE1-9B8EEF790A04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D390A489-6320-4C8C-9063-FD1A0FB21B97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AC55313-71A7-4A87-9758-9668BA4AC977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F24B7016-F5D5-4E3A-AB00-EC551250B55E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606C57BE-5DDF-4F95-9046-FBCAA51CC1BF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7D708EEB-E883-4AEE-9CB4-F4162C8AE8A9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4A117810-9157-439C-8C0E-7664AFBB1FFD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10139B69-0701-4A57-AC47-DC0E4CB4CABD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50A90005-B4F2-4EEA-A5B7-29F38CF997C6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022730D7-E280-4B9F-9D26-F422F24BEA4D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C0D98433-53F3-4910-A4D8-F95F803D83A2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40343C80-20F0-4029-A3FB-1D811F0453A0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9FA13838-9C05-4D68-90BD-C9FD267F0368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92D4F8E8-4BBA-4883-BD19-0FD92544261A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22CFAC81-1365-4D2B-A7F0-8F216AE2E87D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0FAD6E23-5D8D-4074-89CF-413E6D41E1AF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07EAE805-496F-460A-96E2-A4A03C3C589B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F6E01AFE-6E2F-4B1C-8414-D423FD6C34D3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E892035F-89E5-494F-8CE7-C9A7C0C3C4E6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49A09DA1-F3D2-4600-8669-9E4AFDAF468A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61D18D60-154C-425E-832C-362A981B5150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1C3E678A-6AF9-411B-9976-9B4D41A0CE14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0445C76E-5F31-4242-ABAA-CA2E4E7BD38A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82510900-A496-49F3-BC1A-598B4FB4ADB6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AF021FD3-E967-477C-8CBA-8BB1EF6F43E3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7BCFBF2E-E609-4AD4-B67C-B224720777B0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7569D32A-D514-4451-B167-6DEC5602A79C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25D788DC-61C2-4B20-98AF-78F22A789332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406424A7-EE38-408C-92E3-74D9D5567B0A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114A9670-C3A6-4D62-BCF4-3F630D64D0AB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7ADEB084-4872-4AEF-B540-51CD583A2A60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2A07035D-5121-4E4E-9B16-692ACFB416B7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1BA5279C-24BF-4C6D-911B-9927F10AF784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2D876D41-0667-4076-9FFD-7AD412C7A605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6B113748-5DE9-49BF-976E-E2BC2767AD05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5FB314CA-801F-4C45-9FEB-DE73668CE40C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584CC12D-FC5E-403D-92A9-1E7E867E29E2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F6A7A342-AF1D-483E-83EC-F6EB6E9B6D4E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A4D88AD8-C710-4690-8C13-DB2A0B98EBC3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0E6D7BAB-7FA8-492A-BA77-932D2BCE4237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2F643191-B0D7-48F9-AD9F-791E4C8FBE79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AE739381-2F2C-42A6-9103-02ECE022199E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601C5101-FFF8-445F-A172-3F53A162EDE4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B8D731A4-DFD7-4E98-8E13-D937F72C6D51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7823D491-1011-494B-9FDF-5C25640912B4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D249F16B-0674-479B-AF0B-68886C557D74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E53B399D-9A1D-4233-AA36-5760B507A7A8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447EC625-E605-425D-8BF0-3A0C5EB2DCC8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0FC692DE-D2D7-496A-BE71-4EF9A005E2C8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554D53D0-2E98-4DB4-863F-9DDBC5520974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rtl="0"/>
                <a:endParaRPr lang="ru-RU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7282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2" r:id="rId1"/>
    <p:sldLayoutId id="2147483923" r:id="rId2"/>
    <p:sldLayoutId id="2147483924" r:id="rId3"/>
    <p:sldLayoutId id="2147483925" r:id="rId4"/>
    <p:sldLayoutId id="2147483926" r:id="rId5"/>
    <p:sldLayoutId id="2147483927" r:id="rId6"/>
    <p:sldLayoutId id="2147483928" r:id="rId7"/>
    <p:sldLayoutId id="2147483929" r:id="rId8"/>
    <p:sldLayoutId id="2147483930" r:id="rId9"/>
    <p:sldLayoutId id="2147483931" r:id="rId10"/>
    <p:sldLayoutId id="2147483932" r:id="rId11"/>
    <p:sldLayoutId id="2147483933" r:id="rId12"/>
    <p:sldLayoutId id="2147483934" r:id="rId13"/>
    <p:sldLayoutId id="2147483935" r:id="rId14"/>
    <p:sldLayoutId id="2147483936" r:id="rId15"/>
    <p:sldLayoutId id="2147483937" r:id="rId16"/>
    <p:sldLayoutId id="2147483938" r:id="rId17"/>
    <p:sldLayoutId id="2147483939" r:id="rId1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2492181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Slide" r:id="rId46" imgW="344" imgH="344" progId="TCLayout.ActiveDocument.1">
                  <p:embed/>
                </p:oleObj>
              </mc:Choice>
              <mc:Fallback>
                <p:oleObj name="think-cell Slide" r:id="rId4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2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2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3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dirty="0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dirty="0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dirty="0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dirty="0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rtl="0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 rtl="0"/>
                <a:endParaRPr lang="en-US" dirty="0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 rtl="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rtl="0"/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908180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3952" r:id="rId12"/>
    <p:sldLayoutId id="2147483953" r:id="rId13"/>
    <p:sldLayoutId id="2147483954" r:id="rId14"/>
    <p:sldLayoutId id="2147483955" r:id="rId15"/>
    <p:sldLayoutId id="2147483956" r:id="rId16"/>
    <p:sldLayoutId id="2147483957" r:id="rId17"/>
    <p:sldLayoutId id="2147483958" r:id="rId18"/>
    <p:sldLayoutId id="2147483959" r:id="rId19"/>
    <p:sldLayoutId id="2147483960" r:id="rId20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20681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5"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Над диаграммой Название выставки</a:t>
            </a:r>
            <a:br>
              <a:rPr lang="en-US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de-DE" sz="1400" b="1">
                  <a:solidFill>
                    <a:schemeClr val="tx2"/>
                  </a:solidFill>
                </a:rPr>
                <a:t>Callout title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de-DE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15053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  <p:sldLayoutId id="2147483973" r:id="rId12"/>
    <p:sldLayoutId id="2147483974" r:id="rId13"/>
    <p:sldLayoutId id="2147483975" r:id="rId14"/>
    <p:sldLayoutId id="2147483976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46513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9" name="think-cell Slide" r:id="rId41" imgW="592" imgH="591" progId="TCLayout.ActiveDocument.1">
                  <p:embed/>
                </p:oleObj>
              </mc:Choice>
              <mc:Fallback>
                <p:oleObj name="think-cell Slide" r:id="rId4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4" name="Background">
            <a:extLst>
              <a:ext uri="{FF2B5EF4-FFF2-40B4-BE49-F238E27FC236}">
                <a16:creationId xmlns:a16="http://schemas.microsoft.com/office/drawing/2014/main" id="{29A56A74-9BD4-4D03-B64C-0E9FD4B049F4}"/>
              </a:ext>
            </a:extLst>
          </p:cNvPr>
          <p:cNvSpPr>
            <a:spLocks/>
          </p:cNvSpPr>
          <p:nvPr userDrawn="1"/>
        </p:nvSpPr>
        <p:spPr bwMode="ltGray">
          <a:xfrm flipH="1" flipV="1">
            <a:off x="0" y="0"/>
            <a:ext cx="12192000" cy="6858928"/>
          </a:xfrm>
          <a:prstGeom prst="rect">
            <a:avLst/>
          </a:prstGeom>
          <a:gradFill flip="none" rotWithShape="1">
            <a:gsLst>
              <a:gs pos="6000">
                <a:srgbClr val="00F8F9"/>
              </a:gs>
              <a:gs pos="100000">
                <a:srgbClr val="3D4AFB"/>
              </a:gs>
              <a:gs pos="66000">
                <a:srgbClr val="3A7FEF"/>
              </a:gs>
              <a:gs pos="33000">
                <a:schemeClr val="accent3"/>
              </a:gs>
            </a:gsLst>
            <a:lin ang="13500000" scaled="1"/>
            <a:tileRect/>
          </a:gra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Bef>
                <a:spcPts val="300"/>
              </a:spcBef>
              <a:spcAft>
                <a:spcPts val="300"/>
              </a:spcAft>
            </a:pP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B3399E7-290D-4CE6-AA08-2DA0CF307E1C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2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id="{F05F3D84-B1F2-4969-91DD-7BB0F78A4159}"/>
              </a:ext>
            </a:extLst>
          </p:cNvPr>
          <p:cNvSpPr txBox="1"/>
          <p:nvPr userDrawn="1"/>
        </p:nvSpPr>
        <p:spPr>
          <a:xfrm>
            <a:off x="554736" y="1289273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ru-RU" dirty="0"/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id="{9C1AB688-8E46-4BED-871D-3FE073C183F2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8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Над диаграммой Название выставки</a:t>
            </a:r>
            <a:br>
              <a:rPr lang="en-US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Click to edit Master text styles</a:t>
            </a:r>
          </a:p>
          <a:p>
            <a:pPr lvl="1"/>
            <a:r>
              <a:rPr lang="ru-RU" dirty="0"/>
              <a:t>Second level</a:t>
            </a:r>
          </a:p>
          <a:p>
            <a:pPr lvl="2"/>
            <a:r>
              <a:rPr lang="ru-RU" dirty="0"/>
              <a:t>Third level</a:t>
            </a:r>
          </a:p>
          <a:p>
            <a:pPr lvl="3"/>
            <a:r>
              <a:rPr lang="ru-RU" dirty="0"/>
              <a:t>Fourth level</a:t>
            </a:r>
          </a:p>
          <a:p>
            <a:pPr lvl="4"/>
            <a:r>
              <a:rPr lang="ru-RU" dirty="0"/>
              <a:t>Fifth level</a:t>
            </a:r>
          </a:p>
        </p:txBody>
      </p:sp>
      <p:grpSp>
        <p:nvGrpSpPr>
          <p:cNvPr id="146" name="LegendBoxes" hidden="1">
            <a:extLst>
              <a:ext uri="{FF2B5EF4-FFF2-40B4-BE49-F238E27FC236}">
                <a16:creationId xmlns:a16="http://schemas.microsoft.com/office/drawing/2014/main" id="{B6FDC341-401A-4CE5-AA13-F0C9029767E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554770" y="4322824"/>
            <a:chExt cx="960935" cy="1717282"/>
          </a:xfrm>
        </p:grpSpPr>
        <p:sp>
          <p:nvSpPr>
            <p:cNvPr id="147" name="RectangleLegend1">
              <a:extLst>
                <a:ext uri="{FF2B5EF4-FFF2-40B4-BE49-F238E27FC236}">
                  <a16:creationId xmlns:a16="http://schemas.microsoft.com/office/drawing/2014/main" id="{EBC57562-4C00-47D5-B058-B1642E02C1CF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Legend2">
              <a:extLst>
                <a:ext uri="{FF2B5EF4-FFF2-40B4-BE49-F238E27FC236}">
                  <a16:creationId xmlns:a16="http://schemas.microsoft.com/office/drawing/2014/main" id="{F83709D1-4FD9-4B95-924F-D0FD30F07C55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49" name="RectangleLegend3">
              <a:extLst>
                <a:ext uri="{FF2B5EF4-FFF2-40B4-BE49-F238E27FC236}">
                  <a16:creationId xmlns:a16="http://schemas.microsoft.com/office/drawing/2014/main" id="{839D97C8-BA3B-499D-8D30-0FCBD382ADFD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50" name="RectangleLegend4">
              <a:extLst>
                <a:ext uri="{FF2B5EF4-FFF2-40B4-BE49-F238E27FC236}">
                  <a16:creationId xmlns:a16="http://schemas.microsoft.com/office/drawing/2014/main" id="{CE2E1E71-EEE4-49D5-8B6C-7E87BF6D7D5F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51" name="RectangleLegend5">
              <a:extLst>
                <a:ext uri="{FF2B5EF4-FFF2-40B4-BE49-F238E27FC236}">
                  <a16:creationId xmlns:a16="http://schemas.microsoft.com/office/drawing/2014/main" id="{B1C71CC6-6766-4000-9C0B-D426C9120EFF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152" name="Legend1">
              <a:extLst>
                <a:ext uri="{FF2B5EF4-FFF2-40B4-BE49-F238E27FC236}">
                  <a16:creationId xmlns:a16="http://schemas.microsoft.com/office/drawing/2014/main" id="{D9077A36-3927-4B6F-B1FC-1E52A49A7F4F}"/>
                </a:ext>
              </a:extLst>
            </p:cNvPr>
            <p:cNvSpPr txBox="1"/>
            <p:nvPr/>
          </p:nvSpPr>
          <p:spPr>
            <a:xfrm>
              <a:off x="1088091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3" name="Legend2">
              <a:extLst>
                <a:ext uri="{FF2B5EF4-FFF2-40B4-BE49-F238E27FC236}">
                  <a16:creationId xmlns:a16="http://schemas.microsoft.com/office/drawing/2014/main" id="{7E2B6B46-36FD-4A9E-BB45-62E4EFFA7C4D}"/>
                </a:ext>
              </a:extLst>
            </p:cNvPr>
            <p:cNvSpPr txBox="1"/>
            <p:nvPr/>
          </p:nvSpPr>
          <p:spPr>
            <a:xfrm>
              <a:off x="1088091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4" name="Legend3">
              <a:extLst>
                <a:ext uri="{FF2B5EF4-FFF2-40B4-BE49-F238E27FC236}">
                  <a16:creationId xmlns:a16="http://schemas.microsoft.com/office/drawing/2014/main" id="{EFD20821-0E19-4995-B7C2-7B28ECFB4C6D}"/>
                </a:ext>
              </a:extLst>
            </p:cNvPr>
            <p:cNvSpPr txBox="1"/>
            <p:nvPr/>
          </p:nvSpPr>
          <p:spPr>
            <a:xfrm>
              <a:off x="1088091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5" name="Legend4">
              <a:extLst>
                <a:ext uri="{FF2B5EF4-FFF2-40B4-BE49-F238E27FC236}">
                  <a16:creationId xmlns:a16="http://schemas.microsoft.com/office/drawing/2014/main" id="{3EB8DC12-752F-45E5-953E-7912476CF679}"/>
                </a:ext>
              </a:extLst>
            </p:cNvPr>
            <p:cNvSpPr txBox="1"/>
            <p:nvPr/>
          </p:nvSpPr>
          <p:spPr>
            <a:xfrm>
              <a:off x="1088091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6" name="Legend5">
              <a:extLst>
                <a:ext uri="{FF2B5EF4-FFF2-40B4-BE49-F238E27FC236}">
                  <a16:creationId xmlns:a16="http://schemas.microsoft.com/office/drawing/2014/main" id="{5D30F20F-EA36-4ED9-A1D7-762A0B6D12CC}"/>
                </a:ext>
              </a:extLst>
            </p:cNvPr>
            <p:cNvSpPr txBox="1"/>
            <p:nvPr/>
          </p:nvSpPr>
          <p:spPr>
            <a:xfrm>
              <a:off x="1088091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</p:grpSp>
      <p:grpSp>
        <p:nvGrpSpPr>
          <p:cNvPr id="157" name="LegendLines" hidden="1">
            <a:extLst>
              <a:ext uri="{FF2B5EF4-FFF2-40B4-BE49-F238E27FC236}">
                <a16:creationId xmlns:a16="http://schemas.microsoft.com/office/drawing/2014/main" id="{FE73DDBB-00CB-4931-81D5-9FD3AE2541D9}"/>
              </a:ext>
            </a:extLst>
          </p:cNvPr>
          <p:cNvGrpSpPr/>
          <p:nvPr userDrawn="1"/>
        </p:nvGrpSpPr>
        <p:grpSpPr>
          <a:xfrm>
            <a:off x="10278831" y="3150831"/>
            <a:ext cx="1358432" cy="958286"/>
            <a:chOff x="10162879" y="3243772"/>
            <a:chExt cx="1358432" cy="958286"/>
          </a:xfrm>
        </p:grpSpPr>
        <p:sp>
          <p:nvSpPr>
            <p:cNvPr id="158" name="Legend1">
              <a:extLst>
                <a:ext uri="{FF2B5EF4-FFF2-40B4-BE49-F238E27FC236}">
                  <a16:creationId xmlns:a16="http://schemas.microsoft.com/office/drawing/2014/main" id="{CE5F7809-C099-4E69-A947-C54916A152B3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59" name="Legend2">
              <a:extLst>
                <a:ext uri="{FF2B5EF4-FFF2-40B4-BE49-F238E27FC236}">
                  <a16:creationId xmlns:a16="http://schemas.microsoft.com/office/drawing/2014/main" id="{B68C4E97-A8B1-47CE-8FA7-601084DE4515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0" name="Legend3">
              <a:extLst>
                <a:ext uri="{FF2B5EF4-FFF2-40B4-BE49-F238E27FC236}">
                  <a16:creationId xmlns:a16="http://schemas.microsoft.com/office/drawing/2014/main" id="{26460341-321F-4BF5-9337-3DF6EFD01AC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1" name="LineLegend3">
              <a:extLst>
                <a:ext uri="{FF2B5EF4-FFF2-40B4-BE49-F238E27FC236}">
                  <a16:creationId xmlns:a16="http://schemas.microsoft.com/office/drawing/2014/main" id="{22D7050B-98E8-4655-9037-D16EF90D9D26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400" baseline="0" dirty="0">
                <a:latin typeface="+mn-lt"/>
                <a:ea typeface="+mn-ea"/>
              </a:endParaRPr>
            </a:p>
          </p:txBody>
        </p:sp>
        <p:sp>
          <p:nvSpPr>
            <p:cNvPr id="162" name="LineLegend2">
              <a:extLst>
                <a:ext uri="{FF2B5EF4-FFF2-40B4-BE49-F238E27FC236}">
                  <a16:creationId xmlns:a16="http://schemas.microsoft.com/office/drawing/2014/main" id="{7D376BE0-43A6-4C8D-9035-88A82711E8A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400" baseline="0" dirty="0">
                <a:latin typeface="+mn-lt"/>
                <a:ea typeface="+mn-ea"/>
              </a:endParaRPr>
            </a:p>
          </p:txBody>
        </p:sp>
        <p:sp>
          <p:nvSpPr>
            <p:cNvPr id="163" name="LineLegend1">
              <a:extLst>
                <a:ext uri="{FF2B5EF4-FFF2-40B4-BE49-F238E27FC236}">
                  <a16:creationId xmlns:a16="http://schemas.microsoft.com/office/drawing/2014/main" id="{4A346D3F-74A3-443C-87B3-8EFADBCD43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1400" baseline="0" dirty="0">
                <a:latin typeface="+mn-lt"/>
                <a:ea typeface="+mn-ea"/>
              </a:endParaRPr>
            </a:p>
          </p:txBody>
        </p:sp>
      </p:grpSp>
      <p:grpSp>
        <p:nvGrpSpPr>
          <p:cNvPr id="164" name="LegendMoons" hidden="1">
            <a:extLst>
              <a:ext uri="{FF2B5EF4-FFF2-40B4-BE49-F238E27FC236}">
                <a16:creationId xmlns:a16="http://schemas.microsoft.com/office/drawing/2014/main" id="{DB05479F-F2E4-46D7-9405-742B918AA966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16535" y="2630582"/>
            <a:chExt cx="987421" cy="1731859"/>
          </a:xfrm>
        </p:grpSpPr>
        <p:sp>
          <p:nvSpPr>
            <p:cNvPr id="165" name="Legend1">
              <a:extLst>
                <a:ext uri="{FF2B5EF4-FFF2-40B4-BE49-F238E27FC236}">
                  <a16:creationId xmlns:a16="http://schemas.microsoft.com/office/drawing/2014/main" id="{6412FE27-06CA-43AD-9032-D45FDDF859C7}"/>
                </a:ext>
              </a:extLst>
            </p:cNvPr>
            <p:cNvSpPr txBox="1"/>
            <p:nvPr/>
          </p:nvSpPr>
          <p:spPr>
            <a:xfrm>
              <a:off x="8069167" y="26379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6" name="Legend2">
              <a:extLst>
                <a:ext uri="{FF2B5EF4-FFF2-40B4-BE49-F238E27FC236}">
                  <a16:creationId xmlns:a16="http://schemas.microsoft.com/office/drawing/2014/main" id="{FFB3045B-FF7D-4247-A525-D0411FFF8DDD}"/>
                </a:ext>
              </a:extLst>
            </p:cNvPr>
            <p:cNvSpPr txBox="1"/>
            <p:nvPr/>
          </p:nvSpPr>
          <p:spPr>
            <a:xfrm>
              <a:off x="8069167" y="301340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67" name="Legend3">
              <a:extLst>
                <a:ext uri="{FF2B5EF4-FFF2-40B4-BE49-F238E27FC236}">
                  <a16:creationId xmlns:a16="http://schemas.microsoft.com/office/drawing/2014/main" id="{22A68A92-F69B-4E36-945B-BC1817D14716}"/>
                </a:ext>
              </a:extLst>
            </p:cNvPr>
            <p:cNvSpPr txBox="1"/>
            <p:nvPr/>
          </p:nvSpPr>
          <p:spPr>
            <a:xfrm>
              <a:off x="8069167" y="3388859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08" name="Legend4">
              <a:extLst>
                <a:ext uri="{FF2B5EF4-FFF2-40B4-BE49-F238E27FC236}">
                  <a16:creationId xmlns:a16="http://schemas.microsoft.com/office/drawing/2014/main" id="{5098D30A-5F7F-4CFE-BD37-AF6DFF9A6A8E}"/>
                </a:ext>
              </a:extLst>
            </p:cNvPr>
            <p:cNvSpPr txBox="1"/>
            <p:nvPr/>
          </p:nvSpPr>
          <p:spPr>
            <a:xfrm>
              <a:off x="8069167" y="3764318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09" name="Legend5">
              <a:extLst>
                <a:ext uri="{FF2B5EF4-FFF2-40B4-BE49-F238E27FC236}">
                  <a16:creationId xmlns:a16="http://schemas.microsoft.com/office/drawing/2014/main" id="{5227AFCA-D48D-46C2-B91F-5E14202594E8}"/>
                </a:ext>
              </a:extLst>
            </p:cNvPr>
            <p:cNvSpPr txBox="1"/>
            <p:nvPr/>
          </p:nvSpPr>
          <p:spPr>
            <a:xfrm>
              <a:off x="8069167" y="4139779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grpSp>
          <p:nvGrpSpPr>
            <p:cNvPr id="210" name="MoonLegend1">
              <a:extLst>
                <a:ext uri="{FF2B5EF4-FFF2-40B4-BE49-F238E27FC236}">
                  <a16:creationId xmlns:a16="http://schemas.microsoft.com/office/drawing/2014/main" id="{5906DA52-E31F-45A8-B7F9-F4DA85300E56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23" name="Oval 222">
                <a:extLst>
                  <a:ext uri="{FF2B5EF4-FFF2-40B4-BE49-F238E27FC236}">
                    <a16:creationId xmlns:a16="http://schemas.microsoft.com/office/drawing/2014/main" id="{8C279EAF-20F9-4EDB-86EC-901EB215F004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4" name="Arc 223">
                <a:extLst>
                  <a:ext uri="{FF2B5EF4-FFF2-40B4-BE49-F238E27FC236}">
                    <a16:creationId xmlns:a16="http://schemas.microsoft.com/office/drawing/2014/main" id="{57FC4A06-8A13-494D-82E5-7C36D794B9E5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/>
              </a:p>
            </p:txBody>
          </p:sp>
        </p:grpSp>
        <p:grpSp>
          <p:nvGrpSpPr>
            <p:cNvPr id="211" name="MoonLegend2">
              <a:extLst>
                <a:ext uri="{FF2B5EF4-FFF2-40B4-BE49-F238E27FC236}">
                  <a16:creationId xmlns:a16="http://schemas.microsoft.com/office/drawing/2014/main" id="{136ABE36-0A9C-44B2-86A0-7D94AD599E47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21" name="Oval 220">
                <a:extLst>
                  <a:ext uri="{FF2B5EF4-FFF2-40B4-BE49-F238E27FC236}">
                    <a16:creationId xmlns:a16="http://schemas.microsoft.com/office/drawing/2014/main" id="{BD0C0BA9-E215-48A5-B920-1EFA227BE3B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2" name="Arc 221">
                <a:extLst>
                  <a:ext uri="{FF2B5EF4-FFF2-40B4-BE49-F238E27FC236}">
                    <a16:creationId xmlns:a16="http://schemas.microsoft.com/office/drawing/2014/main" id="{825B96CC-50CA-40D1-A17F-68E14702885D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/>
              </a:p>
            </p:txBody>
          </p:sp>
        </p:grpSp>
        <p:grpSp>
          <p:nvGrpSpPr>
            <p:cNvPr id="212" name="MoonLegend3">
              <a:extLst>
                <a:ext uri="{FF2B5EF4-FFF2-40B4-BE49-F238E27FC236}">
                  <a16:creationId xmlns:a16="http://schemas.microsoft.com/office/drawing/2014/main" id="{A3B0985F-247F-4E27-85DA-0E143DDEB682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19" name="Oval 218">
                <a:extLst>
                  <a:ext uri="{FF2B5EF4-FFF2-40B4-BE49-F238E27FC236}">
                    <a16:creationId xmlns:a16="http://schemas.microsoft.com/office/drawing/2014/main" id="{E314225F-27C5-426B-97E4-39C5FA5B1FBF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20" name="Arc 219">
                <a:extLst>
                  <a:ext uri="{FF2B5EF4-FFF2-40B4-BE49-F238E27FC236}">
                    <a16:creationId xmlns:a16="http://schemas.microsoft.com/office/drawing/2014/main" id="{D9585DA4-4D0D-4EAC-A42E-A88BD1177FC2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/>
              </a:p>
            </p:txBody>
          </p:sp>
        </p:grpSp>
        <p:grpSp>
          <p:nvGrpSpPr>
            <p:cNvPr id="213" name="MoonLegend4">
              <a:extLst>
                <a:ext uri="{FF2B5EF4-FFF2-40B4-BE49-F238E27FC236}">
                  <a16:creationId xmlns:a16="http://schemas.microsoft.com/office/drawing/2014/main" id="{44371FD4-5842-4D5A-ACDB-21E1881D5C7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217" name="Oval 216">
                <a:extLst>
                  <a:ext uri="{FF2B5EF4-FFF2-40B4-BE49-F238E27FC236}">
                    <a16:creationId xmlns:a16="http://schemas.microsoft.com/office/drawing/2014/main" id="{45FB2D89-7F49-4453-9714-0B0AEF25AFF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8" name="Arc 217">
                <a:extLst>
                  <a:ext uri="{FF2B5EF4-FFF2-40B4-BE49-F238E27FC236}">
                    <a16:creationId xmlns:a16="http://schemas.microsoft.com/office/drawing/2014/main" id="{1CB93CF8-8D9B-4773-8BA8-2A1B03BEC7AD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/>
              </a:p>
            </p:txBody>
          </p:sp>
        </p:grpSp>
        <p:grpSp>
          <p:nvGrpSpPr>
            <p:cNvPr id="214" name="MoonLegend5">
              <a:extLst>
                <a:ext uri="{FF2B5EF4-FFF2-40B4-BE49-F238E27FC236}">
                  <a16:creationId xmlns:a16="http://schemas.microsoft.com/office/drawing/2014/main" id="{5E91C7D4-1481-4F1D-8DB2-D29D181031D6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215" name="Oval 214">
                <a:extLst>
                  <a:ext uri="{FF2B5EF4-FFF2-40B4-BE49-F238E27FC236}">
                    <a16:creationId xmlns:a16="http://schemas.microsoft.com/office/drawing/2014/main" id="{0C67DF01-35BD-430B-95C2-4EB050702ED6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6" name="Arc 215">
                <a:extLst>
                  <a:ext uri="{FF2B5EF4-FFF2-40B4-BE49-F238E27FC236}">
                    <a16:creationId xmlns:a16="http://schemas.microsoft.com/office/drawing/2014/main" id="{795AE1A9-CECA-4C30-91E2-585855C2F184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ru-RU" sz="1400" dirty="0"/>
              </a:p>
            </p:txBody>
          </p:sp>
        </p:grpSp>
      </p:grpSp>
      <p:grpSp>
        <p:nvGrpSpPr>
          <p:cNvPr id="173" name="Group 172">
            <a:extLst>
              <a:ext uri="{FF2B5EF4-FFF2-40B4-BE49-F238E27FC236}">
                <a16:creationId xmlns:a16="http://schemas.microsoft.com/office/drawing/2014/main" id="{034872EB-666E-4F93-9419-08AB1822700B}"/>
              </a:ext>
            </a:extLst>
          </p:cNvPr>
          <p:cNvGrpSpPr>
            <a:grpSpLocks/>
          </p:cNvGrpSpPr>
          <p:nvPr userDrawn="1"/>
        </p:nvGrpSpPr>
        <p:grpSpPr>
          <a:xfrm>
            <a:off x="11342770" y="226624"/>
            <a:ext cx="294493" cy="686633"/>
            <a:chOff x="4078575" y="896125"/>
            <a:chExt cx="223314" cy="520674"/>
          </a:xfrm>
        </p:grpSpPr>
        <p:sp>
          <p:nvSpPr>
            <p:cNvPr id="198" name="Freeform: Shape 197">
              <a:extLst>
                <a:ext uri="{FF2B5EF4-FFF2-40B4-BE49-F238E27FC236}">
                  <a16:creationId xmlns:a16="http://schemas.microsoft.com/office/drawing/2014/main" id="{A179EBCA-B0F1-4A59-ABA5-CAE138E96871}"/>
                </a:ext>
              </a:extLst>
            </p:cNvPr>
            <p:cNvSpPr/>
            <p:nvPr/>
          </p:nvSpPr>
          <p:spPr>
            <a:xfrm>
              <a:off x="4078575" y="1161360"/>
              <a:ext cx="155273" cy="255439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99" name="Freeform: Shape 198">
              <a:extLst>
                <a:ext uri="{FF2B5EF4-FFF2-40B4-BE49-F238E27FC236}">
                  <a16:creationId xmlns:a16="http://schemas.microsoft.com/office/drawing/2014/main" id="{BDD87CCD-FAA8-49FF-A4AA-FF7B677CE874}"/>
                </a:ext>
              </a:extLst>
            </p:cNvPr>
            <p:cNvSpPr/>
            <p:nvPr/>
          </p:nvSpPr>
          <p:spPr>
            <a:xfrm>
              <a:off x="4088784" y="896125"/>
              <a:ext cx="213105" cy="367147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  <p:sp>
          <p:nvSpPr>
            <p:cNvPr id="200" name="Freeform: Shape 199">
              <a:extLst>
                <a:ext uri="{FF2B5EF4-FFF2-40B4-BE49-F238E27FC236}">
                  <a16:creationId xmlns:a16="http://schemas.microsoft.com/office/drawing/2014/main" id="{597E5AE3-A079-4512-BA20-765D1F70EF6A}"/>
                </a:ext>
              </a:extLst>
            </p:cNvPr>
            <p:cNvSpPr/>
            <p:nvPr/>
          </p:nvSpPr>
          <p:spPr>
            <a:xfrm>
              <a:off x="4120077" y="1161360"/>
              <a:ext cx="118854" cy="106389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solidFill>
              <a:srgbClr val="90E7F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ru-RU"/>
            </a:p>
          </p:txBody>
        </p:sp>
      </p:grpSp>
      <p:sp>
        <p:nvSpPr>
          <p:cNvPr id="206" name="2. Slide Title">
            <a:extLst>
              <a:ext uri="{FF2B5EF4-FFF2-40B4-BE49-F238E27FC236}">
                <a16:creationId xmlns:a16="http://schemas.microsoft.com/office/drawing/2014/main" id="{8978655B-E10F-4CD9-BF90-1CA49BEF9FBA}"/>
              </a:ext>
            </a:extLst>
          </p:cNvPr>
          <p:cNvSpPr>
            <a:spLocks noGrp="1"/>
          </p:cNvSpPr>
          <p:nvPr>
            <p:ph type="title"/>
            <p:custDataLst>
              <p:tags r:id="rId25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to edit Master title sty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841790B-2F4D-435A-A7DF-4B2FD3A2748D}"/>
              </a:ext>
            </a:extLst>
          </p:cNvPr>
          <p:cNvGrpSpPr/>
          <p:nvPr userDrawn="1"/>
        </p:nvGrpSpPr>
        <p:grpSpPr>
          <a:xfrm>
            <a:off x="53849" y="1879956"/>
            <a:ext cx="12206472" cy="4978044"/>
            <a:chOff x="53849" y="1879956"/>
            <a:chExt cx="12206472" cy="4978044"/>
          </a:xfrm>
        </p:grpSpPr>
        <p:grpSp>
          <p:nvGrpSpPr>
            <p:cNvPr id="225" name="Group 224">
              <a:extLst>
                <a:ext uri="{FF2B5EF4-FFF2-40B4-BE49-F238E27FC236}">
                  <a16:creationId xmlns:a16="http://schemas.microsoft.com/office/drawing/2014/main" id="{AF57AE77-9CDA-4954-AB38-46C543F1A237}"/>
                </a:ext>
              </a:extLst>
            </p:cNvPr>
            <p:cNvGrpSpPr/>
            <p:nvPr userDrawn="1"/>
          </p:nvGrpSpPr>
          <p:grpSpPr>
            <a:xfrm>
              <a:off x="53849" y="1929744"/>
              <a:ext cx="12084394" cy="4928256"/>
              <a:chOff x="53849" y="1915463"/>
              <a:chExt cx="12084394" cy="4928256"/>
            </a:xfrm>
            <a:gradFill>
              <a:gsLst>
                <a:gs pos="0">
                  <a:schemeClr val="accent2">
                    <a:alpha val="0"/>
                  </a:schemeClr>
                </a:gs>
                <a:gs pos="100000">
                  <a:srgbClr val="3D4AFB">
                    <a:alpha val="0"/>
                  </a:srgbClr>
                </a:gs>
                <a:gs pos="23000">
                  <a:schemeClr val="accent3">
                    <a:alpha val="10000"/>
                  </a:schemeClr>
                </a:gs>
              </a:gsLst>
              <a:lin ang="15000000" scaled="0"/>
            </a:gradFill>
          </p:grpSpPr>
          <p:sp>
            <p:nvSpPr>
              <p:cNvPr id="226" name="Freeform: Shape 225">
                <a:extLst>
                  <a:ext uri="{FF2B5EF4-FFF2-40B4-BE49-F238E27FC236}">
                    <a16:creationId xmlns:a16="http://schemas.microsoft.com/office/drawing/2014/main" id="{FC088B05-AAC3-4038-A7DC-742CEE0FD7F7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7" name="Freeform: Shape 226">
                <a:extLst>
                  <a:ext uri="{FF2B5EF4-FFF2-40B4-BE49-F238E27FC236}">
                    <a16:creationId xmlns:a16="http://schemas.microsoft.com/office/drawing/2014/main" id="{AE94629C-762B-4813-8B8E-95D4C8FD0859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8" name="Freeform: Shape 227">
                <a:extLst>
                  <a:ext uri="{FF2B5EF4-FFF2-40B4-BE49-F238E27FC236}">
                    <a16:creationId xmlns:a16="http://schemas.microsoft.com/office/drawing/2014/main" id="{0F4C5B29-4978-4C07-8E79-552ABB6CB125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29" name="Freeform: Shape 228">
                <a:extLst>
                  <a:ext uri="{FF2B5EF4-FFF2-40B4-BE49-F238E27FC236}">
                    <a16:creationId xmlns:a16="http://schemas.microsoft.com/office/drawing/2014/main" id="{AF0956FC-D667-4D18-9D9A-83C0BE6EBE3F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0" name="Freeform: Shape 229">
                <a:extLst>
                  <a:ext uri="{FF2B5EF4-FFF2-40B4-BE49-F238E27FC236}">
                    <a16:creationId xmlns:a16="http://schemas.microsoft.com/office/drawing/2014/main" id="{A503B851-70B2-4F60-8CDC-7B5C120256E4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1" name="Freeform: Shape 230">
                <a:extLst>
                  <a:ext uri="{FF2B5EF4-FFF2-40B4-BE49-F238E27FC236}">
                    <a16:creationId xmlns:a16="http://schemas.microsoft.com/office/drawing/2014/main" id="{8F7FFAF2-B287-450A-9396-672C993615C3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2" name="Freeform: Shape 231">
                <a:extLst>
                  <a:ext uri="{FF2B5EF4-FFF2-40B4-BE49-F238E27FC236}">
                    <a16:creationId xmlns:a16="http://schemas.microsoft.com/office/drawing/2014/main" id="{85B637BA-493C-4FBF-B988-EA9380ABCC69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3" name="Freeform: Shape 232">
                <a:extLst>
                  <a:ext uri="{FF2B5EF4-FFF2-40B4-BE49-F238E27FC236}">
                    <a16:creationId xmlns:a16="http://schemas.microsoft.com/office/drawing/2014/main" id="{240B24E6-B5FB-4348-971A-013DC5959DC1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4" name="Freeform: Shape 233">
                <a:extLst>
                  <a:ext uri="{FF2B5EF4-FFF2-40B4-BE49-F238E27FC236}">
                    <a16:creationId xmlns:a16="http://schemas.microsoft.com/office/drawing/2014/main" id="{C6934DED-3129-41F9-A76B-EE507D9D23EE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5" name="Freeform: Shape 234">
                <a:extLst>
                  <a:ext uri="{FF2B5EF4-FFF2-40B4-BE49-F238E27FC236}">
                    <a16:creationId xmlns:a16="http://schemas.microsoft.com/office/drawing/2014/main" id="{38C76BB9-3D48-4A19-AEAA-C58BBABCE866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6" name="Freeform: Shape 235">
                <a:extLst>
                  <a:ext uri="{FF2B5EF4-FFF2-40B4-BE49-F238E27FC236}">
                    <a16:creationId xmlns:a16="http://schemas.microsoft.com/office/drawing/2014/main" id="{271521D4-4583-4C42-A82C-8AC332110F94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7" name="Freeform: Shape 236">
                <a:extLst>
                  <a:ext uri="{FF2B5EF4-FFF2-40B4-BE49-F238E27FC236}">
                    <a16:creationId xmlns:a16="http://schemas.microsoft.com/office/drawing/2014/main" id="{3EAD1B98-C63A-4A1D-AB32-C70DA728099A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8" name="Freeform: Shape 237">
                <a:extLst>
                  <a:ext uri="{FF2B5EF4-FFF2-40B4-BE49-F238E27FC236}">
                    <a16:creationId xmlns:a16="http://schemas.microsoft.com/office/drawing/2014/main" id="{AA6E7BBC-5DF2-4392-A669-B25F0D1DF4E0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39" name="Freeform: Shape 238">
                <a:extLst>
                  <a:ext uri="{FF2B5EF4-FFF2-40B4-BE49-F238E27FC236}">
                    <a16:creationId xmlns:a16="http://schemas.microsoft.com/office/drawing/2014/main" id="{F24402CC-1CFE-40A8-828E-51CE2DD3E97C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0" name="Freeform: Shape 239">
                <a:extLst>
                  <a:ext uri="{FF2B5EF4-FFF2-40B4-BE49-F238E27FC236}">
                    <a16:creationId xmlns:a16="http://schemas.microsoft.com/office/drawing/2014/main" id="{F5AEDF6E-763A-44A0-807B-699F9D410A0D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1" name="Freeform: Shape 240">
                <a:extLst>
                  <a:ext uri="{FF2B5EF4-FFF2-40B4-BE49-F238E27FC236}">
                    <a16:creationId xmlns:a16="http://schemas.microsoft.com/office/drawing/2014/main" id="{C4084FBF-F1C1-431E-BE7A-FCC58863D474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2" name="Freeform: Shape 241">
                <a:extLst>
                  <a:ext uri="{FF2B5EF4-FFF2-40B4-BE49-F238E27FC236}">
                    <a16:creationId xmlns:a16="http://schemas.microsoft.com/office/drawing/2014/main" id="{F29CF874-8766-47BA-9CC0-238756514492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3" name="Freeform: Shape 242">
                <a:extLst>
                  <a:ext uri="{FF2B5EF4-FFF2-40B4-BE49-F238E27FC236}">
                    <a16:creationId xmlns:a16="http://schemas.microsoft.com/office/drawing/2014/main" id="{3FDB7BF8-1EFD-4E9A-BF52-800D0CA9E2D2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4" name="Freeform: Shape 243">
                <a:extLst>
                  <a:ext uri="{FF2B5EF4-FFF2-40B4-BE49-F238E27FC236}">
                    <a16:creationId xmlns:a16="http://schemas.microsoft.com/office/drawing/2014/main" id="{3CCA8434-7933-4F6A-B57F-CDF71AAF0DA1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5" name="Freeform: Shape 244">
                <a:extLst>
                  <a:ext uri="{FF2B5EF4-FFF2-40B4-BE49-F238E27FC236}">
                    <a16:creationId xmlns:a16="http://schemas.microsoft.com/office/drawing/2014/main" id="{53CD25AA-69F2-4370-AFA9-0A6C50DC80E6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6" name="Freeform: Shape 245">
                <a:extLst>
                  <a:ext uri="{FF2B5EF4-FFF2-40B4-BE49-F238E27FC236}">
                    <a16:creationId xmlns:a16="http://schemas.microsoft.com/office/drawing/2014/main" id="{7D3A9AD6-7497-4448-85BA-539338D70F9F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7" name="Freeform: Shape 246">
                <a:extLst>
                  <a:ext uri="{FF2B5EF4-FFF2-40B4-BE49-F238E27FC236}">
                    <a16:creationId xmlns:a16="http://schemas.microsoft.com/office/drawing/2014/main" id="{8911F41A-9829-4606-A3B2-3E1795396DEC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8" name="Freeform: Shape 247">
                <a:extLst>
                  <a:ext uri="{FF2B5EF4-FFF2-40B4-BE49-F238E27FC236}">
                    <a16:creationId xmlns:a16="http://schemas.microsoft.com/office/drawing/2014/main" id="{AB74B18F-6682-4274-B323-971D891E8651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49" name="Freeform: Shape 248">
                <a:extLst>
                  <a:ext uri="{FF2B5EF4-FFF2-40B4-BE49-F238E27FC236}">
                    <a16:creationId xmlns:a16="http://schemas.microsoft.com/office/drawing/2014/main" id="{990D1922-11D4-4CED-B05F-BFF931C8745A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0" name="Freeform: Shape 249">
                <a:extLst>
                  <a:ext uri="{FF2B5EF4-FFF2-40B4-BE49-F238E27FC236}">
                    <a16:creationId xmlns:a16="http://schemas.microsoft.com/office/drawing/2014/main" id="{BD2DD719-DA4B-4690-ADF9-A6BD4C02DBF1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1" name="Freeform: Shape 250">
                <a:extLst>
                  <a:ext uri="{FF2B5EF4-FFF2-40B4-BE49-F238E27FC236}">
                    <a16:creationId xmlns:a16="http://schemas.microsoft.com/office/drawing/2014/main" id="{DFDD055B-C280-4DB6-AA17-88AE70B6140E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2" name="Freeform: Shape 251">
                <a:extLst>
                  <a:ext uri="{FF2B5EF4-FFF2-40B4-BE49-F238E27FC236}">
                    <a16:creationId xmlns:a16="http://schemas.microsoft.com/office/drawing/2014/main" id="{23FD985E-E354-461C-B095-7DFDDDE06B00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3" name="Freeform: Shape 252">
                <a:extLst>
                  <a:ext uri="{FF2B5EF4-FFF2-40B4-BE49-F238E27FC236}">
                    <a16:creationId xmlns:a16="http://schemas.microsoft.com/office/drawing/2014/main" id="{7C4D14C3-F74C-4705-87A8-E50C5B563B55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4" name="Freeform: Shape 253">
                <a:extLst>
                  <a:ext uri="{FF2B5EF4-FFF2-40B4-BE49-F238E27FC236}">
                    <a16:creationId xmlns:a16="http://schemas.microsoft.com/office/drawing/2014/main" id="{E15EA04E-E663-4F3A-AD30-E85B2BA27CE6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5" name="Freeform: Shape 254">
                <a:extLst>
                  <a:ext uri="{FF2B5EF4-FFF2-40B4-BE49-F238E27FC236}">
                    <a16:creationId xmlns:a16="http://schemas.microsoft.com/office/drawing/2014/main" id="{1EE4C736-7EF4-4987-9BAA-928F493B02FD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6" name="Freeform: Shape 255">
                <a:extLst>
                  <a:ext uri="{FF2B5EF4-FFF2-40B4-BE49-F238E27FC236}">
                    <a16:creationId xmlns:a16="http://schemas.microsoft.com/office/drawing/2014/main" id="{9C7B3C9D-58EA-45D5-A6AA-2EE686038EA5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7" name="Freeform: Shape 256">
                <a:extLst>
                  <a:ext uri="{FF2B5EF4-FFF2-40B4-BE49-F238E27FC236}">
                    <a16:creationId xmlns:a16="http://schemas.microsoft.com/office/drawing/2014/main" id="{8B0C6122-F9DF-4A95-822A-673F56774E36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8" name="Freeform: Shape 257">
                <a:extLst>
                  <a:ext uri="{FF2B5EF4-FFF2-40B4-BE49-F238E27FC236}">
                    <a16:creationId xmlns:a16="http://schemas.microsoft.com/office/drawing/2014/main" id="{756E84E5-6CC0-4016-812E-1EB9BB2CCA3B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59" name="Freeform: Shape 258">
                <a:extLst>
                  <a:ext uri="{FF2B5EF4-FFF2-40B4-BE49-F238E27FC236}">
                    <a16:creationId xmlns:a16="http://schemas.microsoft.com/office/drawing/2014/main" id="{74F953B7-2BD0-4948-AA8D-9871FB4C2229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0" name="Freeform: Shape 259">
                <a:extLst>
                  <a:ext uri="{FF2B5EF4-FFF2-40B4-BE49-F238E27FC236}">
                    <a16:creationId xmlns:a16="http://schemas.microsoft.com/office/drawing/2014/main" id="{48CB9492-F012-4423-B7BD-AAD14970FECB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1" name="Freeform: Shape 260">
                <a:extLst>
                  <a:ext uri="{FF2B5EF4-FFF2-40B4-BE49-F238E27FC236}">
                    <a16:creationId xmlns:a16="http://schemas.microsoft.com/office/drawing/2014/main" id="{104C7359-F8CF-42FF-9D13-BF6AD1578BB8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2" name="Freeform: Shape 261">
                <a:extLst>
                  <a:ext uri="{FF2B5EF4-FFF2-40B4-BE49-F238E27FC236}">
                    <a16:creationId xmlns:a16="http://schemas.microsoft.com/office/drawing/2014/main" id="{ED302CE4-A666-4634-8545-003CD57A5E72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3" name="Freeform: Shape 262">
                <a:extLst>
                  <a:ext uri="{FF2B5EF4-FFF2-40B4-BE49-F238E27FC236}">
                    <a16:creationId xmlns:a16="http://schemas.microsoft.com/office/drawing/2014/main" id="{2DB2122B-E031-44A9-AC76-1893AAE52EFE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4" name="Freeform: Shape 263">
                <a:extLst>
                  <a:ext uri="{FF2B5EF4-FFF2-40B4-BE49-F238E27FC236}">
                    <a16:creationId xmlns:a16="http://schemas.microsoft.com/office/drawing/2014/main" id="{01318196-B0BC-468F-AF16-ED8572A7314A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5" name="Freeform: Shape 264">
                <a:extLst>
                  <a:ext uri="{FF2B5EF4-FFF2-40B4-BE49-F238E27FC236}">
                    <a16:creationId xmlns:a16="http://schemas.microsoft.com/office/drawing/2014/main" id="{4CF4467D-DEA1-477D-B22B-18148D099A79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6" name="Freeform: Shape 265">
                <a:extLst>
                  <a:ext uri="{FF2B5EF4-FFF2-40B4-BE49-F238E27FC236}">
                    <a16:creationId xmlns:a16="http://schemas.microsoft.com/office/drawing/2014/main" id="{DDC715A4-2BF6-4FC9-B2D6-C2F50C4E7D7E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7" name="Freeform: Shape 266">
                <a:extLst>
                  <a:ext uri="{FF2B5EF4-FFF2-40B4-BE49-F238E27FC236}">
                    <a16:creationId xmlns:a16="http://schemas.microsoft.com/office/drawing/2014/main" id="{AED981F9-AFA7-4CC0-8850-A2C00F4AA7B5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8" name="Freeform: Shape 267">
                <a:extLst>
                  <a:ext uri="{FF2B5EF4-FFF2-40B4-BE49-F238E27FC236}">
                    <a16:creationId xmlns:a16="http://schemas.microsoft.com/office/drawing/2014/main" id="{5CDE407B-8774-4788-B651-E9D37FA56B1B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69" name="Freeform: Shape 268">
                <a:extLst>
                  <a:ext uri="{FF2B5EF4-FFF2-40B4-BE49-F238E27FC236}">
                    <a16:creationId xmlns:a16="http://schemas.microsoft.com/office/drawing/2014/main" id="{FF5FE8BE-F8D7-4842-998E-38850578AA5B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0" name="Freeform: Shape 269">
                <a:extLst>
                  <a:ext uri="{FF2B5EF4-FFF2-40B4-BE49-F238E27FC236}">
                    <a16:creationId xmlns:a16="http://schemas.microsoft.com/office/drawing/2014/main" id="{40E786B9-4D05-47AE-94CC-EE1B3C554A77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1" name="Freeform: Shape 270">
                <a:extLst>
                  <a:ext uri="{FF2B5EF4-FFF2-40B4-BE49-F238E27FC236}">
                    <a16:creationId xmlns:a16="http://schemas.microsoft.com/office/drawing/2014/main" id="{EBBFA60B-C3C1-4DA5-A58A-A88AB5BE1C12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2" name="Freeform: Shape 271">
                <a:extLst>
                  <a:ext uri="{FF2B5EF4-FFF2-40B4-BE49-F238E27FC236}">
                    <a16:creationId xmlns:a16="http://schemas.microsoft.com/office/drawing/2014/main" id="{059DA044-1CBA-49E8-84E5-28526ED3B5A7}"/>
                  </a:ext>
                </a:extLst>
              </p:cNvPr>
              <p:cNvSpPr/>
              <p:nvPr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3" name="Freeform: Shape 272">
                <a:extLst>
                  <a:ext uri="{FF2B5EF4-FFF2-40B4-BE49-F238E27FC236}">
                    <a16:creationId xmlns:a16="http://schemas.microsoft.com/office/drawing/2014/main" id="{912B9121-1AB5-493C-B45F-D83A09AC87AA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4" name="Freeform: Shape 273">
                <a:extLst>
                  <a:ext uri="{FF2B5EF4-FFF2-40B4-BE49-F238E27FC236}">
                    <a16:creationId xmlns:a16="http://schemas.microsoft.com/office/drawing/2014/main" id="{C165D012-50C0-40E7-B209-24B7CBB1C064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grpSp>
          <p:nvGrpSpPr>
            <p:cNvPr id="275" name="Group 274">
              <a:extLst>
                <a:ext uri="{FF2B5EF4-FFF2-40B4-BE49-F238E27FC236}">
                  <a16:creationId xmlns:a16="http://schemas.microsoft.com/office/drawing/2014/main" id="{CC7B3ADF-1414-40D4-9CE1-9B8EEF790A04}"/>
                </a:ext>
              </a:extLst>
            </p:cNvPr>
            <p:cNvGrpSpPr>
              <a:grpSpLocks/>
            </p:cNvGrpSpPr>
            <p:nvPr userDrawn="1"/>
          </p:nvGrpSpPr>
          <p:grpSpPr>
            <a:xfrm>
              <a:off x="53849" y="1879956"/>
              <a:ext cx="12206472" cy="4978041"/>
              <a:chOff x="53849" y="1915463"/>
              <a:chExt cx="12084394" cy="4928256"/>
            </a:xfrm>
            <a:gradFill flip="none" rotWithShape="1">
              <a:gsLst>
                <a:gs pos="12000">
                  <a:schemeClr val="bg1">
                    <a:alpha val="0"/>
                  </a:schemeClr>
                </a:gs>
                <a:gs pos="24000">
                  <a:schemeClr val="accent2">
                    <a:alpha val="15000"/>
                  </a:schemeClr>
                </a:gs>
                <a:gs pos="40000">
                  <a:schemeClr val="bg1">
                    <a:alpha val="0"/>
                  </a:schemeClr>
                </a:gs>
              </a:gsLst>
              <a:lin ang="18600000" scaled="0"/>
              <a:tileRect/>
            </a:gradFill>
          </p:grpSpPr>
          <p:sp>
            <p:nvSpPr>
              <p:cNvPr id="276" name="Freeform: Shape 275">
                <a:extLst>
                  <a:ext uri="{FF2B5EF4-FFF2-40B4-BE49-F238E27FC236}">
                    <a16:creationId xmlns:a16="http://schemas.microsoft.com/office/drawing/2014/main" id="{D390A489-6320-4C8C-9063-FD1A0FB21B97}"/>
                  </a:ext>
                </a:extLst>
              </p:cNvPr>
              <p:cNvSpPr/>
              <p:nvPr/>
            </p:nvSpPr>
            <p:spPr>
              <a:xfrm>
                <a:off x="187598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7" name="Freeform: Shape 276">
                <a:extLst>
                  <a:ext uri="{FF2B5EF4-FFF2-40B4-BE49-F238E27FC236}">
                    <a16:creationId xmlns:a16="http://schemas.microsoft.com/office/drawing/2014/main" id="{1AC55313-71A7-4A87-9758-9668BA4AC977}"/>
                  </a:ext>
                </a:extLst>
              </p:cNvPr>
              <p:cNvSpPr/>
              <p:nvPr/>
            </p:nvSpPr>
            <p:spPr>
              <a:xfrm>
                <a:off x="201765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8" name="Freeform: Shape 277">
                <a:extLst>
                  <a:ext uri="{FF2B5EF4-FFF2-40B4-BE49-F238E27FC236}">
                    <a16:creationId xmlns:a16="http://schemas.microsoft.com/office/drawing/2014/main" id="{F24B7016-F5D5-4E3A-AB00-EC551250B55E}"/>
                  </a:ext>
                </a:extLst>
              </p:cNvPr>
              <p:cNvSpPr/>
              <p:nvPr/>
            </p:nvSpPr>
            <p:spPr>
              <a:xfrm>
                <a:off x="69966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79" name="Freeform: Shape 278">
                <a:extLst>
                  <a:ext uri="{FF2B5EF4-FFF2-40B4-BE49-F238E27FC236}">
                    <a16:creationId xmlns:a16="http://schemas.microsoft.com/office/drawing/2014/main" id="{606C57BE-5DDF-4F95-9046-FBCAA51CC1BF}"/>
                  </a:ext>
                </a:extLst>
              </p:cNvPr>
              <p:cNvSpPr/>
              <p:nvPr/>
            </p:nvSpPr>
            <p:spPr>
              <a:xfrm>
                <a:off x="71383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0" name="Freeform: Shape 279">
                <a:extLst>
                  <a:ext uri="{FF2B5EF4-FFF2-40B4-BE49-F238E27FC236}">
                    <a16:creationId xmlns:a16="http://schemas.microsoft.com/office/drawing/2014/main" id="{7D708EEB-E883-4AEE-9CB4-F4162C8AE8A9}"/>
                  </a:ext>
                </a:extLst>
              </p:cNvPr>
              <p:cNvSpPr/>
              <p:nvPr/>
            </p:nvSpPr>
            <p:spPr>
              <a:xfrm>
                <a:off x="121154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1" name="Freeform: Shape 280">
                <a:extLst>
                  <a:ext uri="{FF2B5EF4-FFF2-40B4-BE49-F238E27FC236}">
                    <a16:creationId xmlns:a16="http://schemas.microsoft.com/office/drawing/2014/main" id="{4A117810-9157-439C-8C0E-7664AFBB1FFD}"/>
                  </a:ext>
                </a:extLst>
              </p:cNvPr>
              <p:cNvSpPr/>
              <p:nvPr/>
            </p:nvSpPr>
            <p:spPr>
              <a:xfrm>
                <a:off x="122570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2" name="Freeform: Shape 281">
                <a:extLst>
                  <a:ext uri="{FF2B5EF4-FFF2-40B4-BE49-F238E27FC236}">
                    <a16:creationId xmlns:a16="http://schemas.microsoft.com/office/drawing/2014/main" id="{10139B69-0701-4A57-AC47-DC0E4CB4CABD}"/>
                  </a:ext>
                </a:extLst>
              </p:cNvPr>
              <p:cNvSpPr/>
              <p:nvPr/>
            </p:nvSpPr>
            <p:spPr>
              <a:xfrm>
                <a:off x="172360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3" name="Freeform: Shape 282">
                <a:extLst>
                  <a:ext uri="{FF2B5EF4-FFF2-40B4-BE49-F238E27FC236}">
                    <a16:creationId xmlns:a16="http://schemas.microsoft.com/office/drawing/2014/main" id="{50A90005-B4F2-4EEA-A5B7-29F38CF997C6}"/>
                  </a:ext>
                </a:extLst>
              </p:cNvPr>
              <p:cNvSpPr/>
              <p:nvPr/>
            </p:nvSpPr>
            <p:spPr>
              <a:xfrm>
                <a:off x="173777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4" name="Freeform: Shape 283">
                <a:extLst>
                  <a:ext uri="{FF2B5EF4-FFF2-40B4-BE49-F238E27FC236}">
                    <a16:creationId xmlns:a16="http://schemas.microsoft.com/office/drawing/2014/main" id="{022730D7-E280-4B9F-9D26-F422F24BEA4D}"/>
                  </a:ext>
                </a:extLst>
              </p:cNvPr>
              <p:cNvSpPr/>
              <p:nvPr/>
            </p:nvSpPr>
            <p:spPr>
              <a:xfrm>
                <a:off x="223548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5" name="Freeform: Shape 284">
                <a:extLst>
                  <a:ext uri="{FF2B5EF4-FFF2-40B4-BE49-F238E27FC236}">
                    <a16:creationId xmlns:a16="http://schemas.microsoft.com/office/drawing/2014/main" id="{C0D98433-53F3-4910-A4D8-F95F803D83A2}"/>
                  </a:ext>
                </a:extLst>
              </p:cNvPr>
              <p:cNvSpPr/>
              <p:nvPr/>
            </p:nvSpPr>
            <p:spPr>
              <a:xfrm>
                <a:off x="224965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6" name="Freeform: Shape 285">
                <a:extLst>
                  <a:ext uri="{FF2B5EF4-FFF2-40B4-BE49-F238E27FC236}">
                    <a16:creationId xmlns:a16="http://schemas.microsoft.com/office/drawing/2014/main" id="{40343C80-20F0-4029-A3FB-1D811F0453A0}"/>
                  </a:ext>
                </a:extLst>
              </p:cNvPr>
              <p:cNvSpPr/>
              <p:nvPr/>
            </p:nvSpPr>
            <p:spPr>
              <a:xfrm>
                <a:off x="2747550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7" name="Freeform: Shape 286">
                <a:extLst>
                  <a:ext uri="{FF2B5EF4-FFF2-40B4-BE49-F238E27FC236}">
                    <a16:creationId xmlns:a16="http://schemas.microsoft.com/office/drawing/2014/main" id="{9FA13838-9C05-4D68-90BD-C9FD267F0368}"/>
                  </a:ext>
                </a:extLst>
              </p:cNvPr>
              <p:cNvSpPr/>
              <p:nvPr/>
            </p:nvSpPr>
            <p:spPr>
              <a:xfrm>
                <a:off x="276171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8" name="Freeform: Shape 287">
                <a:extLst>
                  <a:ext uri="{FF2B5EF4-FFF2-40B4-BE49-F238E27FC236}">
                    <a16:creationId xmlns:a16="http://schemas.microsoft.com/office/drawing/2014/main" id="{92D4F8E8-4BBA-4883-BD19-0FD92544261A}"/>
                  </a:ext>
                </a:extLst>
              </p:cNvPr>
              <p:cNvSpPr/>
              <p:nvPr/>
            </p:nvSpPr>
            <p:spPr>
              <a:xfrm>
                <a:off x="32594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89" name="Freeform: Shape 288">
                <a:extLst>
                  <a:ext uri="{FF2B5EF4-FFF2-40B4-BE49-F238E27FC236}">
                    <a16:creationId xmlns:a16="http://schemas.microsoft.com/office/drawing/2014/main" id="{22CFAC81-1365-4D2B-A7F0-8F216AE2E87D}"/>
                  </a:ext>
                </a:extLst>
              </p:cNvPr>
              <p:cNvSpPr/>
              <p:nvPr/>
            </p:nvSpPr>
            <p:spPr>
              <a:xfrm>
                <a:off x="327359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0" name="Freeform: Shape 289">
                <a:extLst>
                  <a:ext uri="{FF2B5EF4-FFF2-40B4-BE49-F238E27FC236}">
                    <a16:creationId xmlns:a16="http://schemas.microsoft.com/office/drawing/2014/main" id="{0FAD6E23-5D8D-4074-89CF-413E6D41E1AF}"/>
                  </a:ext>
                </a:extLst>
              </p:cNvPr>
              <p:cNvSpPr/>
              <p:nvPr/>
            </p:nvSpPr>
            <p:spPr>
              <a:xfrm>
                <a:off x="377149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1" name="Freeform: Shape 290">
                <a:extLst>
                  <a:ext uri="{FF2B5EF4-FFF2-40B4-BE49-F238E27FC236}">
                    <a16:creationId xmlns:a16="http://schemas.microsoft.com/office/drawing/2014/main" id="{07EAE805-496F-460A-96E2-A4A03C3C589B}"/>
                  </a:ext>
                </a:extLst>
              </p:cNvPr>
              <p:cNvSpPr/>
              <p:nvPr/>
            </p:nvSpPr>
            <p:spPr>
              <a:xfrm>
                <a:off x="378566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2" name="Freeform: Shape 291">
                <a:extLst>
                  <a:ext uri="{FF2B5EF4-FFF2-40B4-BE49-F238E27FC236}">
                    <a16:creationId xmlns:a16="http://schemas.microsoft.com/office/drawing/2014/main" id="{F6E01AFE-6E2F-4B1C-8414-D423FD6C34D3}"/>
                  </a:ext>
                </a:extLst>
              </p:cNvPr>
              <p:cNvSpPr/>
              <p:nvPr/>
            </p:nvSpPr>
            <p:spPr>
              <a:xfrm>
                <a:off x="4283559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3" name="Freeform: Shape 292">
                <a:extLst>
                  <a:ext uri="{FF2B5EF4-FFF2-40B4-BE49-F238E27FC236}">
                    <a16:creationId xmlns:a16="http://schemas.microsoft.com/office/drawing/2014/main" id="{E892035F-89E5-494F-8CE7-C9A7C0C3C4E6}"/>
                  </a:ext>
                </a:extLst>
              </p:cNvPr>
              <p:cNvSpPr/>
              <p:nvPr/>
            </p:nvSpPr>
            <p:spPr>
              <a:xfrm>
                <a:off x="429772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4" name="Freeform: Shape 293">
                <a:extLst>
                  <a:ext uri="{FF2B5EF4-FFF2-40B4-BE49-F238E27FC236}">
                    <a16:creationId xmlns:a16="http://schemas.microsoft.com/office/drawing/2014/main" id="{49A09DA1-F3D2-4600-8669-9E4AFDAF468A}"/>
                  </a:ext>
                </a:extLst>
              </p:cNvPr>
              <p:cNvSpPr/>
              <p:nvPr/>
            </p:nvSpPr>
            <p:spPr>
              <a:xfrm>
                <a:off x="4795436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9 w 41176"/>
                  <a:gd name="connsiteY1" fmla="*/ 41177 h 41176"/>
                  <a:gd name="connsiteX2" fmla="*/ 0 w 41176"/>
                  <a:gd name="connsiteY2" fmla="*/ 20588 h 41176"/>
                  <a:gd name="connsiteX3" fmla="*/ 20589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9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9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5" name="Freeform: Shape 294">
                <a:extLst>
                  <a:ext uri="{FF2B5EF4-FFF2-40B4-BE49-F238E27FC236}">
                    <a16:creationId xmlns:a16="http://schemas.microsoft.com/office/drawing/2014/main" id="{61D18D60-154C-425E-832C-362A981B5150}"/>
                  </a:ext>
                </a:extLst>
              </p:cNvPr>
              <p:cNvSpPr/>
              <p:nvPr/>
            </p:nvSpPr>
            <p:spPr>
              <a:xfrm>
                <a:off x="480960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6" y="12844"/>
                      <a:pt x="0" y="9969"/>
                      <a:pt x="0" y="6422"/>
                    </a:cubicBezTo>
                    <a:cubicBezTo>
                      <a:pt x="0" y="2875"/>
                      <a:pt x="2876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6" name="Freeform: Shape 295">
                <a:extLst>
                  <a:ext uri="{FF2B5EF4-FFF2-40B4-BE49-F238E27FC236}">
                    <a16:creationId xmlns:a16="http://schemas.microsoft.com/office/drawing/2014/main" id="{1C3E678A-6AF9-411B-9976-9B4D41A0CE14}"/>
                  </a:ext>
                </a:extLst>
              </p:cNvPr>
              <p:cNvSpPr/>
              <p:nvPr/>
            </p:nvSpPr>
            <p:spPr>
              <a:xfrm>
                <a:off x="5307502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59"/>
                      <a:pt x="31959" y="41177"/>
                      <a:pt x="20588" y="41177"/>
                    </a:cubicBezTo>
                    <a:cubicBezTo>
                      <a:pt x="9218" y="41177"/>
                      <a:pt x="0" y="31959"/>
                      <a:pt x="0" y="20588"/>
                    </a:cubicBezTo>
                    <a:cubicBezTo>
                      <a:pt x="0" y="9218"/>
                      <a:pt x="9218" y="0"/>
                      <a:pt x="20588" y="0"/>
                    </a:cubicBezTo>
                    <a:cubicBezTo>
                      <a:pt x="31959" y="0"/>
                      <a:pt x="41177" y="9218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7" name="Freeform: Shape 296">
                <a:extLst>
                  <a:ext uri="{FF2B5EF4-FFF2-40B4-BE49-F238E27FC236}">
                    <a16:creationId xmlns:a16="http://schemas.microsoft.com/office/drawing/2014/main" id="{0445C76E-5F31-4242-ABAA-CA2E4E7BD38A}"/>
                  </a:ext>
                </a:extLst>
              </p:cNvPr>
              <p:cNvSpPr/>
              <p:nvPr/>
            </p:nvSpPr>
            <p:spPr>
              <a:xfrm>
                <a:off x="532166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2" y="12844"/>
                    </a:cubicBezTo>
                    <a:cubicBezTo>
                      <a:pt x="2875" y="12844"/>
                      <a:pt x="0" y="9969"/>
                      <a:pt x="0" y="6422"/>
                    </a:cubicBezTo>
                    <a:cubicBezTo>
                      <a:pt x="0" y="2875"/>
                      <a:pt x="2875" y="0"/>
                      <a:pt x="6422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8" name="Freeform: Shape 297">
                <a:extLst>
                  <a:ext uri="{FF2B5EF4-FFF2-40B4-BE49-F238E27FC236}">
                    <a16:creationId xmlns:a16="http://schemas.microsoft.com/office/drawing/2014/main" id="{82510900-A496-49F3-BC1A-598B4FB4ADB6}"/>
                  </a:ext>
                </a:extLst>
              </p:cNvPr>
              <p:cNvSpPr/>
              <p:nvPr/>
            </p:nvSpPr>
            <p:spPr>
              <a:xfrm>
                <a:off x="581956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8 w 41177"/>
                  <a:gd name="connsiteY1" fmla="*/ 41177 h 41176"/>
                  <a:gd name="connsiteX2" fmla="*/ 0 w 41177"/>
                  <a:gd name="connsiteY2" fmla="*/ 20588 h 41176"/>
                  <a:gd name="connsiteX3" fmla="*/ 20588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299" name="Freeform: Shape 298">
                <a:extLst>
                  <a:ext uri="{FF2B5EF4-FFF2-40B4-BE49-F238E27FC236}">
                    <a16:creationId xmlns:a16="http://schemas.microsoft.com/office/drawing/2014/main" id="{AF021FD3-E967-477C-8CBA-8BB1EF6F43E3}"/>
                  </a:ext>
                </a:extLst>
              </p:cNvPr>
              <p:cNvSpPr/>
              <p:nvPr/>
            </p:nvSpPr>
            <p:spPr>
              <a:xfrm>
                <a:off x="583354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0" name="Freeform: Shape 299">
                <a:extLst>
                  <a:ext uri="{FF2B5EF4-FFF2-40B4-BE49-F238E27FC236}">
                    <a16:creationId xmlns:a16="http://schemas.microsoft.com/office/drawing/2014/main" id="{7BCFBF2E-E609-4AD4-B67C-B224720777B0}"/>
                  </a:ext>
                </a:extLst>
              </p:cNvPr>
              <p:cNvSpPr/>
              <p:nvPr/>
            </p:nvSpPr>
            <p:spPr>
              <a:xfrm>
                <a:off x="6331445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1" name="Freeform: Shape 300">
                <a:extLst>
                  <a:ext uri="{FF2B5EF4-FFF2-40B4-BE49-F238E27FC236}">
                    <a16:creationId xmlns:a16="http://schemas.microsoft.com/office/drawing/2014/main" id="{7569D32A-D514-4451-B167-6DEC5602A79C}"/>
                  </a:ext>
                </a:extLst>
              </p:cNvPr>
              <p:cNvSpPr/>
              <p:nvPr/>
            </p:nvSpPr>
            <p:spPr>
              <a:xfrm>
                <a:off x="634561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2" name="Freeform: Shape 301">
                <a:extLst>
                  <a:ext uri="{FF2B5EF4-FFF2-40B4-BE49-F238E27FC236}">
                    <a16:creationId xmlns:a16="http://schemas.microsoft.com/office/drawing/2014/main" id="{25D788DC-61C2-4B20-98AF-78F22A789332}"/>
                  </a:ext>
                </a:extLst>
              </p:cNvPr>
              <p:cNvSpPr/>
              <p:nvPr/>
            </p:nvSpPr>
            <p:spPr>
              <a:xfrm>
                <a:off x="684351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3" name="Freeform: Shape 302">
                <a:extLst>
                  <a:ext uri="{FF2B5EF4-FFF2-40B4-BE49-F238E27FC236}">
                    <a16:creationId xmlns:a16="http://schemas.microsoft.com/office/drawing/2014/main" id="{406424A7-EE38-408C-92E3-74D9D5567B0A}"/>
                  </a:ext>
                </a:extLst>
              </p:cNvPr>
              <p:cNvSpPr/>
              <p:nvPr/>
            </p:nvSpPr>
            <p:spPr>
              <a:xfrm>
                <a:off x="6857489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4" name="Freeform: Shape 303">
                <a:extLst>
                  <a:ext uri="{FF2B5EF4-FFF2-40B4-BE49-F238E27FC236}">
                    <a16:creationId xmlns:a16="http://schemas.microsoft.com/office/drawing/2014/main" id="{114A9670-C3A6-4D62-BCF4-3F630D64D0AB}"/>
                  </a:ext>
                </a:extLst>
              </p:cNvPr>
              <p:cNvSpPr/>
              <p:nvPr/>
            </p:nvSpPr>
            <p:spPr>
              <a:xfrm>
                <a:off x="7355388" y="2355186"/>
                <a:ext cx="41177" cy="41176"/>
              </a:xfrm>
              <a:custGeom>
                <a:avLst/>
                <a:gdLst>
                  <a:gd name="connsiteX0" fmla="*/ 41177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7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5" name="Freeform: Shape 304">
                <a:extLst>
                  <a:ext uri="{FF2B5EF4-FFF2-40B4-BE49-F238E27FC236}">
                    <a16:creationId xmlns:a16="http://schemas.microsoft.com/office/drawing/2014/main" id="{7ADEB084-4872-4AEF-B540-51CD583A2A60}"/>
                  </a:ext>
                </a:extLst>
              </p:cNvPr>
              <p:cNvSpPr/>
              <p:nvPr/>
            </p:nvSpPr>
            <p:spPr>
              <a:xfrm>
                <a:off x="7369554" y="1915463"/>
                <a:ext cx="12844" cy="12844"/>
              </a:xfrm>
              <a:custGeom>
                <a:avLst/>
                <a:gdLst>
                  <a:gd name="connsiteX0" fmla="*/ 12845 w 12844"/>
                  <a:gd name="connsiteY0" fmla="*/ 6422 h 12844"/>
                  <a:gd name="connsiteX1" fmla="*/ 6423 w 12844"/>
                  <a:gd name="connsiteY1" fmla="*/ 12844 h 12844"/>
                  <a:gd name="connsiteX2" fmla="*/ 0 w 12844"/>
                  <a:gd name="connsiteY2" fmla="*/ 6422 h 12844"/>
                  <a:gd name="connsiteX3" fmla="*/ 6423 w 12844"/>
                  <a:gd name="connsiteY3" fmla="*/ 0 h 12844"/>
                  <a:gd name="connsiteX4" fmla="*/ 12845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5" y="6422"/>
                    </a:moveTo>
                    <a:cubicBezTo>
                      <a:pt x="12845" y="10011"/>
                      <a:pt x="10011" y="12844"/>
                      <a:pt x="6423" y="12844"/>
                    </a:cubicBezTo>
                    <a:cubicBezTo>
                      <a:pt x="2834" y="12844"/>
                      <a:pt x="0" y="10011"/>
                      <a:pt x="0" y="6422"/>
                    </a:cubicBezTo>
                    <a:cubicBezTo>
                      <a:pt x="0" y="2833"/>
                      <a:pt x="2834" y="0"/>
                      <a:pt x="6423" y="0"/>
                    </a:cubicBezTo>
                    <a:cubicBezTo>
                      <a:pt x="10011" y="0"/>
                      <a:pt x="12845" y="2833"/>
                      <a:pt x="12845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6" name="Freeform: Shape 305">
                <a:extLst>
                  <a:ext uri="{FF2B5EF4-FFF2-40B4-BE49-F238E27FC236}">
                    <a16:creationId xmlns:a16="http://schemas.microsoft.com/office/drawing/2014/main" id="{2A07035D-5121-4E4E-9B16-692ACFB416B7}"/>
                  </a:ext>
                </a:extLst>
              </p:cNvPr>
              <p:cNvSpPr/>
              <p:nvPr/>
            </p:nvSpPr>
            <p:spPr>
              <a:xfrm>
                <a:off x="7867454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7" name="Freeform: Shape 306">
                <a:extLst>
                  <a:ext uri="{FF2B5EF4-FFF2-40B4-BE49-F238E27FC236}">
                    <a16:creationId xmlns:a16="http://schemas.microsoft.com/office/drawing/2014/main" id="{1BA5279C-24BF-4C6D-911B-9927F10AF784}"/>
                  </a:ext>
                </a:extLst>
              </p:cNvPr>
              <p:cNvSpPr/>
              <p:nvPr/>
            </p:nvSpPr>
            <p:spPr>
              <a:xfrm>
                <a:off x="7881432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8" name="Freeform: Shape 307">
                <a:extLst>
                  <a:ext uri="{FF2B5EF4-FFF2-40B4-BE49-F238E27FC236}">
                    <a16:creationId xmlns:a16="http://schemas.microsoft.com/office/drawing/2014/main" id="{2D876D41-0667-4076-9FFD-7AD412C7A605}"/>
                  </a:ext>
                </a:extLst>
              </p:cNvPr>
              <p:cNvSpPr/>
              <p:nvPr/>
            </p:nvSpPr>
            <p:spPr>
              <a:xfrm>
                <a:off x="8379331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09" name="Freeform: Shape 308">
                <a:extLst>
                  <a:ext uri="{FF2B5EF4-FFF2-40B4-BE49-F238E27FC236}">
                    <a16:creationId xmlns:a16="http://schemas.microsoft.com/office/drawing/2014/main" id="{6B113748-5DE9-49BF-976E-E2BC2767AD05}"/>
                  </a:ext>
                </a:extLst>
              </p:cNvPr>
              <p:cNvSpPr/>
              <p:nvPr/>
            </p:nvSpPr>
            <p:spPr>
              <a:xfrm>
                <a:off x="8393498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0" name="Freeform: Shape 309">
                <a:extLst>
                  <a:ext uri="{FF2B5EF4-FFF2-40B4-BE49-F238E27FC236}">
                    <a16:creationId xmlns:a16="http://schemas.microsoft.com/office/drawing/2014/main" id="{5FB314CA-801F-4C45-9FEB-DE73668CE40C}"/>
                  </a:ext>
                </a:extLst>
              </p:cNvPr>
              <p:cNvSpPr/>
              <p:nvPr/>
            </p:nvSpPr>
            <p:spPr>
              <a:xfrm>
                <a:off x="889139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1" name="Freeform: Shape 310">
                <a:extLst>
                  <a:ext uri="{FF2B5EF4-FFF2-40B4-BE49-F238E27FC236}">
                    <a16:creationId xmlns:a16="http://schemas.microsoft.com/office/drawing/2014/main" id="{584CC12D-FC5E-403D-92A9-1E7E867E29E2}"/>
                  </a:ext>
                </a:extLst>
              </p:cNvPr>
              <p:cNvSpPr/>
              <p:nvPr/>
            </p:nvSpPr>
            <p:spPr>
              <a:xfrm>
                <a:off x="890556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2" name="Freeform: Shape 311">
                <a:extLst>
                  <a:ext uri="{FF2B5EF4-FFF2-40B4-BE49-F238E27FC236}">
                    <a16:creationId xmlns:a16="http://schemas.microsoft.com/office/drawing/2014/main" id="{F6A7A342-AF1D-483E-83EC-F6EB6E9B6D4E}"/>
                  </a:ext>
                </a:extLst>
              </p:cNvPr>
              <p:cNvSpPr/>
              <p:nvPr/>
            </p:nvSpPr>
            <p:spPr>
              <a:xfrm>
                <a:off x="940346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3" name="Freeform: Shape 312">
                <a:extLst>
                  <a:ext uri="{FF2B5EF4-FFF2-40B4-BE49-F238E27FC236}">
                    <a16:creationId xmlns:a16="http://schemas.microsoft.com/office/drawing/2014/main" id="{A4D88AD8-C710-4690-8C13-DB2A0B98EBC3}"/>
                  </a:ext>
                </a:extLst>
              </p:cNvPr>
              <p:cNvSpPr/>
              <p:nvPr/>
            </p:nvSpPr>
            <p:spPr>
              <a:xfrm>
                <a:off x="9417441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2 w 12844"/>
                  <a:gd name="connsiteY1" fmla="*/ 12844 h 12844"/>
                  <a:gd name="connsiteX2" fmla="*/ 0 w 12844"/>
                  <a:gd name="connsiteY2" fmla="*/ 6422 h 12844"/>
                  <a:gd name="connsiteX3" fmla="*/ 6422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1" y="12844"/>
                      <a:pt x="6422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2" y="0"/>
                    </a:cubicBezTo>
                    <a:cubicBezTo>
                      <a:pt x="10011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4" name="Freeform: Shape 313">
                <a:extLst>
                  <a:ext uri="{FF2B5EF4-FFF2-40B4-BE49-F238E27FC236}">
                    <a16:creationId xmlns:a16="http://schemas.microsoft.com/office/drawing/2014/main" id="{0E6D7BAB-7FA8-492A-BA77-932D2BCE4237}"/>
                  </a:ext>
                </a:extLst>
              </p:cNvPr>
              <p:cNvSpPr/>
              <p:nvPr/>
            </p:nvSpPr>
            <p:spPr>
              <a:xfrm>
                <a:off x="991534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5" name="Freeform: Shape 314">
                <a:extLst>
                  <a:ext uri="{FF2B5EF4-FFF2-40B4-BE49-F238E27FC236}">
                    <a16:creationId xmlns:a16="http://schemas.microsoft.com/office/drawing/2014/main" id="{2F643191-B0D7-48F9-AD9F-791E4C8FBE79}"/>
                  </a:ext>
                </a:extLst>
              </p:cNvPr>
              <p:cNvSpPr/>
              <p:nvPr/>
            </p:nvSpPr>
            <p:spPr>
              <a:xfrm>
                <a:off x="9929506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9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9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6" name="Freeform: Shape 315">
                <a:extLst>
                  <a:ext uri="{FF2B5EF4-FFF2-40B4-BE49-F238E27FC236}">
                    <a16:creationId xmlns:a16="http://schemas.microsoft.com/office/drawing/2014/main" id="{AE739381-2F2C-42A6-9103-02ECE022199E}"/>
                  </a:ext>
                </a:extLst>
              </p:cNvPr>
              <p:cNvSpPr/>
              <p:nvPr/>
            </p:nvSpPr>
            <p:spPr>
              <a:xfrm>
                <a:off x="10427406" y="2355186"/>
                <a:ext cx="41177" cy="41176"/>
              </a:xfrm>
              <a:custGeom>
                <a:avLst/>
                <a:gdLst>
                  <a:gd name="connsiteX0" fmla="*/ 41178 w 41177"/>
                  <a:gd name="connsiteY0" fmla="*/ 20588 h 41176"/>
                  <a:gd name="connsiteX1" fmla="*/ 20589 w 41177"/>
                  <a:gd name="connsiteY1" fmla="*/ 41177 h 41176"/>
                  <a:gd name="connsiteX2" fmla="*/ 0 w 41177"/>
                  <a:gd name="connsiteY2" fmla="*/ 20588 h 41176"/>
                  <a:gd name="connsiteX3" fmla="*/ 20589 w 41177"/>
                  <a:gd name="connsiteY3" fmla="*/ 0 h 41176"/>
                  <a:gd name="connsiteX4" fmla="*/ 41178 w 41177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7" h="41176">
                    <a:moveTo>
                      <a:pt x="41178" y="20588"/>
                    </a:moveTo>
                    <a:cubicBezTo>
                      <a:pt x="41178" y="31921"/>
                      <a:pt x="31922" y="41177"/>
                      <a:pt x="20589" y="41177"/>
                    </a:cubicBezTo>
                    <a:cubicBezTo>
                      <a:pt x="9256" y="41177"/>
                      <a:pt x="0" y="31921"/>
                      <a:pt x="0" y="20588"/>
                    </a:cubicBezTo>
                    <a:cubicBezTo>
                      <a:pt x="0" y="9255"/>
                      <a:pt x="9256" y="0"/>
                      <a:pt x="20589" y="0"/>
                    </a:cubicBezTo>
                    <a:cubicBezTo>
                      <a:pt x="31922" y="0"/>
                      <a:pt x="41178" y="9255"/>
                      <a:pt x="41178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7" name="Freeform: Shape 316">
                <a:extLst>
                  <a:ext uri="{FF2B5EF4-FFF2-40B4-BE49-F238E27FC236}">
                    <a16:creationId xmlns:a16="http://schemas.microsoft.com/office/drawing/2014/main" id="{601C5101-FFF8-445F-A172-3F53A162EDE4}"/>
                  </a:ext>
                </a:extLst>
              </p:cNvPr>
              <p:cNvSpPr/>
              <p:nvPr/>
            </p:nvSpPr>
            <p:spPr>
              <a:xfrm>
                <a:off x="10441384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8" name="Freeform: Shape 317">
                <a:extLst>
                  <a:ext uri="{FF2B5EF4-FFF2-40B4-BE49-F238E27FC236}">
                    <a16:creationId xmlns:a16="http://schemas.microsoft.com/office/drawing/2014/main" id="{B8D731A4-DFD7-4E98-8E13-D937F72C6D51}"/>
                  </a:ext>
                </a:extLst>
              </p:cNvPr>
              <p:cNvSpPr/>
              <p:nvPr/>
            </p:nvSpPr>
            <p:spPr>
              <a:xfrm>
                <a:off x="10939283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2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2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19" name="Freeform: Shape 318">
                <a:extLst>
                  <a:ext uri="{FF2B5EF4-FFF2-40B4-BE49-F238E27FC236}">
                    <a16:creationId xmlns:a16="http://schemas.microsoft.com/office/drawing/2014/main" id="{7823D491-1011-494B-9FDF-5C25640912B4}"/>
                  </a:ext>
                </a:extLst>
              </p:cNvPr>
              <p:cNvSpPr/>
              <p:nvPr/>
            </p:nvSpPr>
            <p:spPr>
              <a:xfrm>
                <a:off x="10953450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0" name="Freeform: Shape 319">
                <a:extLst>
                  <a:ext uri="{FF2B5EF4-FFF2-40B4-BE49-F238E27FC236}">
                    <a16:creationId xmlns:a16="http://schemas.microsoft.com/office/drawing/2014/main" id="{D249F16B-0674-479B-AF0B-68886C557D74}"/>
                  </a:ext>
                </a:extLst>
              </p:cNvPr>
              <p:cNvSpPr/>
              <p:nvPr/>
            </p:nvSpPr>
            <p:spPr>
              <a:xfrm>
                <a:off x="11451160" y="2355186"/>
                <a:ext cx="41176" cy="41176"/>
              </a:xfrm>
              <a:custGeom>
                <a:avLst/>
                <a:gdLst>
                  <a:gd name="connsiteX0" fmla="*/ 41176 w 41176"/>
                  <a:gd name="connsiteY0" fmla="*/ 20588 h 41176"/>
                  <a:gd name="connsiteX1" fmla="*/ 20587 w 41176"/>
                  <a:gd name="connsiteY1" fmla="*/ 41177 h 41176"/>
                  <a:gd name="connsiteX2" fmla="*/ -1 w 41176"/>
                  <a:gd name="connsiteY2" fmla="*/ 20588 h 41176"/>
                  <a:gd name="connsiteX3" fmla="*/ 20587 w 41176"/>
                  <a:gd name="connsiteY3" fmla="*/ 0 h 41176"/>
                  <a:gd name="connsiteX4" fmla="*/ 41176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6" y="20588"/>
                    </a:moveTo>
                    <a:cubicBezTo>
                      <a:pt x="41176" y="31959"/>
                      <a:pt x="31958" y="41177"/>
                      <a:pt x="20587" y="41177"/>
                    </a:cubicBezTo>
                    <a:cubicBezTo>
                      <a:pt x="9217" y="41177"/>
                      <a:pt x="-1" y="31959"/>
                      <a:pt x="-1" y="20588"/>
                    </a:cubicBezTo>
                    <a:cubicBezTo>
                      <a:pt x="-1" y="9218"/>
                      <a:pt x="9217" y="0"/>
                      <a:pt x="20587" y="0"/>
                    </a:cubicBezTo>
                    <a:cubicBezTo>
                      <a:pt x="31958" y="0"/>
                      <a:pt x="41176" y="9218"/>
                      <a:pt x="41176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1" name="Freeform: Shape 320">
                <a:extLst>
                  <a:ext uri="{FF2B5EF4-FFF2-40B4-BE49-F238E27FC236}">
                    <a16:creationId xmlns:a16="http://schemas.microsoft.com/office/drawing/2014/main" id="{E53B399D-9A1D-4233-AA36-5760B507A7A8}"/>
                  </a:ext>
                </a:extLst>
              </p:cNvPr>
              <p:cNvSpPr/>
              <p:nvPr/>
            </p:nvSpPr>
            <p:spPr>
              <a:xfrm>
                <a:off x="11465327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-1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9969"/>
                      <a:pt x="9968" y="12844"/>
                      <a:pt x="6421" y="12844"/>
                    </a:cubicBezTo>
                    <a:cubicBezTo>
                      <a:pt x="2874" y="12844"/>
                      <a:pt x="-1" y="9969"/>
                      <a:pt x="-1" y="6422"/>
                    </a:cubicBezTo>
                    <a:cubicBezTo>
                      <a:pt x="-1" y="2875"/>
                      <a:pt x="2874" y="0"/>
                      <a:pt x="6421" y="0"/>
                    </a:cubicBezTo>
                    <a:cubicBezTo>
                      <a:pt x="9968" y="0"/>
                      <a:pt x="12844" y="2875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2" name="Freeform: Shape 321">
                <a:extLst>
                  <a:ext uri="{FF2B5EF4-FFF2-40B4-BE49-F238E27FC236}">
                    <a16:creationId xmlns:a16="http://schemas.microsoft.com/office/drawing/2014/main" id="{447EC625-E605-425D-8BF0-3A0C5EB2DCC8}"/>
                  </a:ext>
                </a:extLst>
              </p:cNvPr>
              <p:cNvSpPr/>
              <p:nvPr userDrawn="1"/>
            </p:nvSpPr>
            <p:spPr>
              <a:xfrm flipH="1">
                <a:off x="53849" y="2765879"/>
                <a:ext cx="12084394" cy="4077840"/>
              </a:xfrm>
              <a:custGeom>
                <a:avLst/>
                <a:gdLst>
                  <a:gd name="connsiteX0" fmla="*/ 11929965 w 12084394"/>
                  <a:gd name="connsiteY0" fmla="*/ 3958074 h 4077840"/>
                  <a:gd name="connsiteX1" fmla="*/ 12080337 w 12084394"/>
                  <a:gd name="connsiteY1" fmla="*/ 4057748 h 4077840"/>
                  <a:gd name="connsiteX2" fmla="*/ 12084394 w 12084394"/>
                  <a:gd name="connsiteY2" fmla="*/ 4077840 h 4077840"/>
                  <a:gd name="connsiteX3" fmla="*/ 11775537 w 12084394"/>
                  <a:gd name="connsiteY3" fmla="*/ 4077840 h 4077840"/>
                  <a:gd name="connsiteX4" fmla="*/ 11779594 w 12084394"/>
                  <a:gd name="connsiteY4" fmla="*/ 4057748 h 4077840"/>
                  <a:gd name="connsiteX5" fmla="*/ 11929965 w 12084394"/>
                  <a:gd name="connsiteY5" fmla="*/ 3958074 h 4077840"/>
                  <a:gd name="connsiteX6" fmla="*/ 11417899 w 12084394"/>
                  <a:gd name="connsiteY6" fmla="*/ 3958074 h 4077840"/>
                  <a:gd name="connsiteX7" fmla="*/ 11568271 w 12084394"/>
                  <a:gd name="connsiteY7" fmla="*/ 4057748 h 4077840"/>
                  <a:gd name="connsiteX8" fmla="*/ 11572328 w 12084394"/>
                  <a:gd name="connsiteY8" fmla="*/ 4077840 h 4077840"/>
                  <a:gd name="connsiteX9" fmla="*/ 11263471 w 12084394"/>
                  <a:gd name="connsiteY9" fmla="*/ 4077840 h 4077840"/>
                  <a:gd name="connsiteX10" fmla="*/ 11267528 w 12084394"/>
                  <a:gd name="connsiteY10" fmla="*/ 4057748 h 4077840"/>
                  <a:gd name="connsiteX11" fmla="*/ 11417899 w 12084394"/>
                  <a:gd name="connsiteY11" fmla="*/ 3958074 h 4077840"/>
                  <a:gd name="connsiteX12" fmla="*/ 10906022 w 12084394"/>
                  <a:gd name="connsiteY12" fmla="*/ 3958074 h 4077840"/>
                  <a:gd name="connsiteX13" fmla="*/ 11056393 w 12084394"/>
                  <a:gd name="connsiteY13" fmla="*/ 4057748 h 4077840"/>
                  <a:gd name="connsiteX14" fmla="*/ 11060450 w 12084394"/>
                  <a:gd name="connsiteY14" fmla="*/ 4077840 h 4077840"/>
                  <a:gd name="connsiteX15" fmla="*/ 10751593 w 12084394"/>
                  <a:gd name="connsiteY15" fmla="*/ 4077840 h 4077840"/>
                  <a:gd name="connsiteX16" fmla="*/ 10755650 w 12084394"/>
                  <a:gd name="connsiteY16" fmla="*/ 4057748 h 4077840"/>
                  <a:gd name="connsiteX17" fmla="*/ 10906022 w 12084394"/>
                  <a:gd name="connsiteY17" fmla="*/ 3958074 h 4077840"/>
                  <a:gd name="connsiteX18" fmla="*/ 10393956 w 12084394"/>
                  <a:gd name="connsiteY18" fmla="*/ 3958074 h 4077840"/>
                  <a:gd name="connsiteX19" fmla="*/ 10544328 w 12084394"/>
                  <a:gd name="connsiteY19" fmla="*/ 4057748 h 4077840"/>
                  <a:gd name="connsiteX20" fmla="*/ 10548385 w 12084394"/>
                  <a:gd name="connsiteY20" fmla="*/ 4077840 h 4077840"/>
                  <a:gd name="connsiteX21" fmla="*/ 10239527 w 12084394"/>
                  <a:gd name="connsiteY21" fmla="*/ 4077840 h 4077840"/>
                  <a:gd name="connsiteX22" fmla="*/ 10243584 w 12084394"/>
                  <a:gd name="connsiteY22" fmla="*/ 4057748 h 4077840"/>
                  <a:gd name="connsiteX23" fmla="*/ 10393956 w 12084394"/>
                  <a:gd name="connsiteY23" fmla="*/ 3958074 h 4077840"/>
                  <a:gd name="connsiteX24" fmla="*/ 9882079 w 12084394"/>
                  <a:gd name="connsiteY24" fmla="*/ 3958074 h 4077840"/>
                  <a:gd name="connsiteX25" fmla="*/ 10032451 w 12084394"/>
                  <a:gd name="connsiteY25" fmla="*/ 4057748 h 4077840"/>
                  <a:gd name="connsiteX26" fmla="*/ 10036508 w 12084394"/>
                  <a:gd name="connsiteY26" fmla="*/ 4077840 h 4077840"/>
                  <a:gd name="connsiteX27" fmla="*/ 9727651 w 12084394"/>
                  <a:gd name="connsiteY27" fmla="*/ 4077840 h 4077840"/>
                  <a:gd name="connsiteX28" fmla="*/ 9731708 w 12084394"/>
                  <a:gd name="connsiteY28" fmla="*/ 4057748 h 4077840"/>
                  <a:gd name="connsiteX29" fmla="*/ 9882079 w 12084394"/>
                  <a:gd name="connsiteY29" fmla="*/ 3958074 h 4077840"/>
                  <a:gd name="connsiteX30" fmla="*/ 9370013 w 12084394"/>
                  <a:gd name="connsiteY30" fmla="*/ 3958074 h 4077840"/>
                  <a:gd name="connsiteX31" fmla="*/ 9520384 w 12084394"/>
                  <a:gd name="connsiteY31" fmla="*/ 4057748 h 4077840"/>
                  <a:gd name="connsiteX32" fmla="*/ 9524441 w 12084394"/>
                  <a:gd name="connsiteY32" fmla="*/ 4077840 h 4077840"/>
                  <a:gd name="connsiteX33" fmla="*/ 9215584 w 12084394"/>
                  <a:gd name="connsiteY33" fmla="*/ 4077840 h 4077840"/>
                  <a:gd name="connsiteX34" fmla="*/ 9219641 w 12084394"/>
                  <a:gd name="connsiteY34" fmla="*/ 4057748 h 4077840"/>
                  <a:gd name="connsiteX35" fmla="*/ 9370013 w 12084394"/>
                  <a:gd name="connsiteY35" fmla="*/ 3958074 h 4077840"/>
                  <a:gd name="connsiteX36" fmla="*/ 8858136 w 12084394"/>
                  <a:gd name="connsiteY36" fmla="*/ 3958074 h 4077840"/>
                  <a:gd name="connsiteX37" fmla="*/ 9008508 w 12084394"/>
                  <a:gd name="connsiteY37" fmla="*/ 4057748 h 4077840"/>
                  <a:gd name="connsiteX38" fmla="*/ 9012565 w 12084394"/>
                  <a:gd name="connsiteY38" fmla="*/ 4077840 h 4077840"/>
                  <a:gd name="connsiteX39" fmla="*/ 8703708 w 12084394"/>
                  <a:gd name="connsiteY39" fmla="*/ 4077840 h 4077840"/>
                  <a:gd name="connsiteX40" fmla="*/ 8707765 w 12084394"/>
                  <a:gd name="connsiteY40" fmla="*/ 4057748 h 4077840"/>
                  <a:gd name="connsiteX41" fmla="*/ 8858136 w 12084394"/>
                  <a:gd name="connsiteY41" fmla="*/ 3958074 h 4077840"/>
                  <a:gd name="connsiteX42" fmla="*/ 8346070 w 12084394"/>
                  <a:gd name="connsiteY42" fmla="*/ 3958074 h 4077840"/>
                  <a:gd name="connsiteX43" fmla="*/ 8496441 w 12084394"/>
                  <a:gd name="connsiteY43" fmla="*/ 4057748 h 4077840"/>
                  <a:gd name="connsiteX44" fmla="*/ 8500498 w 12084394"/>
                  <a:gd name="connsiteY44" fmla="*/ 4077840 h 4077840"/>
                  <a:gd name="connsiteX45" fmla="*/ 8191642 w 12084394"/>
                  <a:gd name="connsiteY45" fmla="*/ 4077840 h 4077840"/>
                  <a:gd name="connsiteX46" fmla="*/ 8195698 w 12084394"/>
                  <a:gd name="connsiteY46" fmla="*/ 4057748 h 4077840"/>
                  <a:gd name="connsiteX47" fmla="*/ 8346070 w 12084394"/>
                  <a:gd name="connsiteY47" fmla="*/ 3958074 h 4077840"/>
                  <a:gd name="connsiteX48" fmla="*/ 7834193 w 12084394"/>
                  <a:gd name="connsiteY48" fmla="*/ 3958074 h 4077840"/>
                  <a:gd name="connsiteX49" fmla="*/ 7984565 w 12084394"/>
                  <a:gd name="connsiteY49" fmla="*/ 4057748 h 4077840"/>
                  <a:gd name="connsiteX50" fmla="*/ 7988622 w 12084394"/>
                  <a:gd name="connsiteY50" fmla="*/ 4077840 h 4077840"/>
                  <a:gd name="connsiteX51" fmla="*/ 7679765 w 12084394"/>
                  <a:gd name="connsiteY51" fmla="*/ 4077840 h 4077840"/>
                  <a:gd name="connsiteX52" fmla="*/ 7683822 w 12084394"/>
                  <a:gd name="connsiteY52" fmla="*/ 4057748 h 4077840"/>
                  <a:gd name="connsiteX53" fmla="*/ 7834193 w 12084394"/>
                  <a:gd name="connsiteY53" fmla="*/ 3958074 h 4077840"/>
                  <a:gd name="connsiteX54" fmla="*/ 7322127 w 12084394"/>
                  <a:gd name="connsiteY54" fmla="*/ 3958074 h 4077840"/>
                  <a:gd name="connsiteX55" fmla="*/ 7472498 w 12084394"/>
                  <a:gd name="connsiteY55" fmla="*/ 4057748 h 4077840"/>
                  <a:gd name="connsiteX56" fmla="*/ 7476555 w 12084394"/>
                  <a:gd name="connsiteY56" fmla="*/ 4077840 h 4077840"/>
                  <a:gd name="connsiteX57" fmla="*/ 7167699 w 12084394"/>
                  <a:gd name="connsiteY57" fmla="*/ 4077840 h 4077840"/>
                  <a:gd name="connsiteX58" fmla="*/ 7171755 w 12084394"/>
                  <a:gd name="connsiteY58" fmla="*/ 4057748 h 4077840"/>
                  <a:gd name="connsiteX59" fmla="*/ 7322127 w 12084394"/>
                  <a:gd name="connsiteY59" fmla="*/ 3958074 h 4077840"/>
                  <a:gd name="connsiteX60" fmla="*/ 6810062 w 12084394"/>
                  <a:gd name="connsiteY60" fmla="*/ 3958074 h 4077840"/>
                  <a:gd name="connsiteX61" fmla="*/ 6960434 w 12084394"/>
                  <a:gd name="connsiteY61" fmla="*/ 4057748 h 4077840"/>
                  <a:gd name="connsiteX62" fmla="*/ 6964491 w 12084394"/>
                  <a:gd name="connsiteY62" fmla="*/ 4077840 h 4077840"/>
                  <a:gd name="connsiteX63" fmla="*/ 6655635 w 12084394"/>
                  <a:gd name="connsiteY63" fmla="*/ 4077840 h 4077840"/>
                  <a:gd name="connsiteX64" fmla="*/ 6659691 w 12084394"/>
                  <a:gd name="connsiteY64" fmla="*/ 4057748 h 4077840"/>
                  <a:gd name="connsiteX65" fmla="*/ 6810062 w 12084394"/>
                  <a:gd name="connsiteY65" fmla="*/ 3958074 h 4077840"/>
                  <a:gd name="connsiteX66" fmla="*/ 6298184 w 12084394"/>
                  <a:gd name="connsiteY66" fmla="*/ 3958074 h 4077840"/>
                  <a:gd name="connsiteX67" fmla="*/ 6448557 w 12084394"/>
                  <a:gd name="connsiteY67" fmla="*/ 4057748 h 4077840"/>
                  <a:gd name="connsiteX68" fmla="*/ 6452613 w 12084394"/>
                  <a:gd name="connsiteY68" fmla="*/ 4077840 h 4077840"/>
                  <a:gd name="connsiteX69" fmla="*/ 6143757 w 12084394"/>
                  <a:gd name="connsiteY69" fmla="*/ 4077840 h 4077840"/>
                  <a:gd name="connsiteX70" fmla="*/ 6147813 w 12084394"/>
                  <a:gd name="connsiteY70" fmla="*/ 4057748 h 4077840"/>
                  <a:gd name="connsiteX71" fmla="*/ 6298184 w 12084394"/>
                  <a:gd name="connsiteY71" fmla="*/ 3958074 h 4077840"/>
                  <a:gd name="connsiteX72" fmla="*/ 5786126 w 12084394"/>
                  <a:gd name="connsiteY72" fmla="*/ 3958074 h 4077840"/>
                  <a:gd name="connsiteX73" fmla="*/ 5936491 w 12084394"/>
                  <a:gd name="connsiteY73" fmla="*/ 4057748 h 4077840"/>
                  <a:gd name="connsiteX74" fmla="*/ 5940548 w 12084394"/>
                  <a:gd name="connsiteY74" fmla="*/ 4077840 h 4077840"/>
                  <a:gd name="connsiteX75" fmla="*/ 5631705 w 12084394"/>
                  <a:gd name="connsiteY75" fmla="*/ 4077840 h 4077840"/>
                  <a:gd name="connsiteX76" fmla="*/ 5635761 w 12084394"/>
                  <a:gd name="connsiteY76" fmla="*/ 4057748 h 4077840"/>
                  <a:gd name="connsiteX77" fmla="*/ 5786126 w 12084394"/>
                  <a:gd name="connsiteY77" fmla="*/ 3958074 h 4077840"/>
                  <a:gd name="connsiteX78" fmla="*/ 5274270 w 12084394"/>
                  <a:gd name="connsiteY78" fmla="*/ 3958074 h 4077840"/>
                  <a:gd name="connsiteX79" fmla="*/ 5424637 w 12084394"/>
                  <a:gd name="connsiteY79" fmla="*/ 4057748 h 4077840"/>
                  <a:gd name="connsiteX80" fmla="*/ 5428693 w 12084394"/>
                  <a:gd name="connsiteY80" fmla="*/ 4077840 h 4077840"/>
                  <a:gd name="connsiteX81" fmla="*/ 5119842 w 12084394"/>
                  <a:gd name="connsiteY81" fmla="*/ 4077840 h 4077840"/>
                  <a:gd name="connsiteX82" fmla="*/ 5123898 w 12084394"/>
                  <a:gd name="connsiteY82" fmla="*/ 4057748 h 4077840"/>
                  <a:gd name="connsiteX83" fmla="*/ 5274270 w 12084394"/>
                  <a:gd name="connsiteY83" fmla="*/ 3958074 h 4077840"/>
                  <a:gd name="connsiteX84" fmla="*/ 4762180 w 12084394"/>
                  <a:gd name="connsiteY84" fmla="*/ 3958074 h 4077840"/>
                  <a:gd name="connsiteX85" fmla="*/ 4912588 w 12084394"/>
                  <a:gd name="connsiteY85" fmla="*/ 4057748 h 4077840"/>
                  <a:gd name="connsiteX86" fmla="*/ 4916645 w 12084394"/>
                  <a:gd name="connsiteY86" fmla="*/ 4077840 h 4077840"/>
                  <a:gd name="connsiteX87" fmla="*/ 4607771 w 12084394"/>
                  <a:gd name="connsiteY87" fmla="*/ 4077840 h 4077840"/>
                  <a:gd name="connsiteX88" fmla="*/ 4611827 w 12084394"/>
                  <a:gd name="connsiteY88" fmla="*/ 4057748 h 4077840"/>
                  <a:gd name="connsiteX89" fmla="*/ 4762180 w 12084394"/>
                  <a:gd name="connsiteY89" fmla="*/ 3958074 h 4077840"/>
                  <a:gd name="connsiteX90" fmla="*/ 4250316 w 12084394"/>
                  <a:gd name="connsiteY90" fmla="*/ 3958074 h 4077840"/>
                  <a:gd name="connsiteX91" fmla="*/ 4400696 w 12084394"/>
                  <a:gd name="connsiteY91" fmla="*/ 4057748 h 4077840"/>
                  <a:gd name="connsiteX92" fmla="*/ 4404753 w 12084394"/>
                  <a:gd name="connsiteY92" fmla="*/ 4077840 h 4077840"/>
                  <a:gd name="connsiteX93" fmla="*/ 4095930 w 12084394"/>
                  <a:gd name="connsiteY93" fmla="*/ 4077840 h 4077840"/>
                  <a:gd name="connsiteX94" fmla="*/ 4099984 w 12084394"/>
                  <a:gd name="connsiteY94" fmla="*/ 4057748 h 4077840"/>
                  <a:gd name="connsiteX95" fmla="*/ 4250316 w 12084394"/>
                  <a:gd name="connsiteY95" fmla="*/ 3958074 h 4077840"/>
                  <a:gd name="connsiteX96" fmla="*/ 3738289 w 12084394"/>
                  <a:gd name="connsiteY96" fmla="*/ 3958074 h 4077840"/>
                  <a:gd name="connsiteX97" fmla="*/ 3888663 w 12084394"/>
                  <a:gd name="connsiteY97" fmla="*/ 4057748 h 4077840"/>
                  <a:gd name="connsiteX98" fmla="*/ 3892720 w 12084394"/>
                  <a:gd name="connsiteY98" fmla="*/ 4077840 h 4077840"/>
                  <a:gd name="connsiteX99" fmla="*/ 3583860 w 12084394"/>
                  <a:gd name="connsiteY99" fmla="*/ 4077840 h 4077840"/>
                  <a:gd name="connsiteX100" fmla="*/ 3587916 w 12084394"/>
                  <a:gd name="connsiteY100" fmla="*/ 4057748 h 4077840"/>
                  <a:gd name="connsiteX101" fmla="*/ 3738289 w 12084394"/>
                  <a:gd name="connsiteY101" fmla="*/ 3958074 h 4077840"/>
                  <a:gd name="connsiteX102" fmla="*/ 3226242 w 12084394"/>
                  <a:gd name="connsiteY102" fmla="*/ 3958074 h 4077840"/>
                  <a:gd name="connsiteX103" fmla="*/ 3376624 w 12084394"/>
                  <a:gd name="connsiteY103" fmla="*/ 4057748 h 4077840"/>
                  <a:gd name="connsiteX104" fmla="*/ 3380681 w 12084394"/>
                  <a:gd name="connsiteY104" fmla="*/ 4077840 h 4077840"/>
                  <a:gd name="connsiteX105" fmla="*/ 3071812 w 12084394"/>
                  <a:gd name="connsiteY105" fmla="*/ 4077840 h 4077840"/>
                  <a:gd name="connsiteX106" fmla="*/ 3075868 w 12084394"/>
                  <a:gd name="connsiteY106" fmla="*/ 4057748 h 4077840"/>
                  <a:gd name="connsiteX107" fmla="*/ 3226242 w 12084394"/>
                  <a:gd name="connsiteY107" fmla="*/ 3958074 h 4077840"/>
                  <a:gd name="connsiteX108" fmla="*/ 2714363 w 12084394"/>
                  <a:gd name="connsiteY108" fmla="*/ 3958074 h 4077840"/>
                  <a:gd name="connsiteX109" fmla="*/ 2864736 w 12084394"/>
                  <a:gd name="connsiteY109" fmla="*/ 4057748 h 4077840"/>
                  <a:gd name="connsiteX110" fmla="*/ 2868792 w 12084394"/>
                  <a:gd name="connsiteY110" fmla="*/ 4077840 h 4077840"/>
                  <a:gd name="connsiteX111" fmla="*/ 2559936 w 12084394"/>
                  <a:gd name="connsiteY111" fmla="*/ 4077840 h 4077840"/>
                  <a:gd name="connsiteX112" fmla="*/ 2563993 w 12084394"/>
                  <a:gd name="connsiteY112" fmla="*/ 4057748 h 4077840"/>
                  <a:gd name="connsiteX113" fmla="*/ 2714363 w 12084394"/>
                  <a:gd name="connsiteY113" fmla="*/ 3958074 h 4077840"/>
                  <a:gd name="connsiteX114" fmla="*/ 2202307 w 12084394"/>
                  <a:gd name="connsiteY114" fmla="*/ 3958074 h 4077840"/>
                  <a:gd name="connsiteX115" fmla="*/ 2352676 w 12084394"/>
                  <a:gd name="connsiteY115" fmla="*/ 4057748 h 4077840"/>
                  <a:gd name="connsiteX116" fmla="*/ 2356732 w 12084394"/>
                  <a:gd name="connsiteY116" fmla="*/ 4077840 h 4077840"/>
                  <a:gd name="connsiteX117" fmla="*/ 2047866 w 12084394"/>
                  <a:gd name="connsiteY117" fmla="*/ 4077840 h 4077840"/>
                  <a:gd name="connsiteX118" fmla="*/ 2051924 w 12084394"/>
                  <a:gd name="connsiteY118" fmla="*/ 4057748 h 4077840"/>
                  <a:gd name="connsiteX119" fmla="*/ 2202307 w 12084394"/>
                  <a:gd name="connsiteY119" fmla="*/ 3958074 h 4077840"/>
                  <a:gd name="connsiteX120" fmla="*/ 1690413 w 12084394"/>
                  <a:gd name="connsiteY120" fmla="*/ 3958074 h 4077840"/>
                  <a:gd name="connsiteX121" fmla="*/ 1840785 w 12084394"/>
                  <a:gd name="connsiteY121" fmla="*/ 4057748 h 4077840"/>
                  <a:gd name="connsiteX122" fmla="*/ 1844841 w 12084394"/>
                  <a:gd name="connsiteY122" fmla="*/ 4077840 h 4077840"/>
                  <a:gd name="connsiteX123" fmla="*/ 1535987 w 12084394"/>
                  <a:gd name="connsiteY123" fmla="*/ 4077840 h 4077840"/>
                  <a:gd name="connsiteX124" fmla="*/ 1540043 w 12084394"/>
                  <a:gd name="connsiteY124" fmla="*/ 4057748 h 4077840"/>
                  <a:gd name="connsiteX125" fmla="*/ 1690413 w 12084394"/>
                  <a:gd name="connsiteY125" fmla="*/ 3958074 h 4077840"/>
                  <a:gd name="connsiteX126" fmla="*/ 1178354 w 12084394"/>
                  <a:gd name="connsiteY126" fmla="*/ 3958074 h 4077840"/>
                  <a:gd name="connsiteX127" fmla="*/ 1328724 w 12084394"/>
                  <a:gd name="connsiteY127" fmla="*/ 4057748 h 4077840"/>
                  <a:gd name="connsiteX128" fmla="*/ 1332781 w 12084394"/>
                  <a:gd name="connsiteY128" fmla="*/ 4077840 h 4077840"/>
                  <a:gd name="connsiteX129" fmla="*/ 1023928 w 12084394"/>
                  <a:gd name="connsiteY129" fmla="*/ 4077840 h 4077840"/>
                  <a:gd name="connsiteX130" fmla="*/ 1027984 w 12084394"/>
                  <a:gd name="connsiteY130" fmla="*/ 4057748 h 4077840"/>
                  <a:gd name="connsiteX131" fmla="*/ 1178354 w 12084394"/>
                  <a:gd name="connsiteY131" fmla="*/ 3958074 h 4077840"/>
                  <a:gd name="connsiteX132" fmla="*/ 666484 w 12084394"/>
                  <a:gd name="connsiteY132" fmla="*/ 3958074 h 4077840"/>
                  <a:gd name="connsiteX133" fmla="*/ 816855 w 12084394"/>
                  <a:gd name="connsiteY133" fmla="*/ 4057748 h 4077840"/>
                  <a:gd name="connsiteX134" fmla="*/ 820911 w 12084394"/>
                  <a:gd name="connsiteY134" fmla="*/ 4077840 h 4077840"/>
                  <a:gd name="connsiteX135" fmla="*/ 512057 w 12084394"/>
                  <a:gd name="connsiteY135" fmla="*/ 4077840 h 4077840"/>
                  <a:gd name="connsiteX136" fmla="*/ 516114 w 12084394"/>
                  <a:gd name="connsiteY136" fmla="*/ 4057748 h 4077840"/>
                  <a:gd name="connsiteX137" fmla="*/ 666484 w 12084394"/>
                  <a:gd name="connsiteY137" fmla="*/ 3958074 h 4077840"/>
                  <a:gd name="connsiteX138" fmla="*/ 154426 w 12084394"/>
                  <a:gd name="connsiteY138" fmla="*/ 3958074 h 4077840"/>
                  <a:gd name="connsiteX139" fmla="*/ 304797 w 12084394"/>
                  <a:gd name="connsiteY139" fmla="*/ 4057748 h 4077840"/>
                  <a:gd name="connsiteX140" fmla="*/ 308853 w 12084394"/>
                  <a:gd name="connsiteY140" fmla="*/ 4077840 h 4077840"/>
                  <a:gd name="connsiteX141" fmla="*/ 0 w 12084394"/>
                  <a:gd name="connsiteY141" fmla="*/ 4077840 h 4077840"/>
                  <a:gd name="connsiteX142" fmla="*/ 4057 w 12084394"/>
                  <a:gd name="connsiteY142" fmla="*/ 4057748 h 4077840"/>
                  <a:gd name="connsiteX143" fmla="*/ 154426 w 12084394"/>
                  <a:gd name="connsiteY143" fmla="*/ 3958074 h 4077840"/>
                  <a:gd name="connsiteX144" fmla="*/ 11929966 w 12084394"/>
                  <a:gd name="connsiteY144" fmla="*/ 3518352 h 4077840"/>
                  <a:gd name="connsiteX145" fmla="*/ 12078996 w 12084394"/>
                  <a:gd name="connsiteY145" fmla="*/ 3667382 h 4077840"/>
                  <a:gd name="connsiteX146" fmla="*/ 11929966 w 12084394"/>
                  <a:gd name="connsiteY146" fmla="*/ 3816412 h 4077840"/>
                  <a:gd name="connsiteX147" fmla="*/ 11780936 w 12084394"/>
                  <a:gd name="connsiteY147" fmla="*/ 3667382 h 4077840"/>
                  <a:gd name="connsiteX148" fmla="*/ 11929966 w 12084394"/>
                  <a:gd name="connsiteY148" fmla="*/ 3518352 h 4077840"/>
                  <a:gd name="connsiteX149" fmla="*/ 11417900 w 12084394"/>
                  <a:gd name="connsiteY149" fmla="*/ 3518352 h 4077840"/>
                  <a:gd name="connsiteX150" fmla="*/ 11566930 w 12084394"/>
                  <a:gd name="connsiteY150" fmla="*/ 3667382 h 4077840"/>
                  <a:gd name="connsiteX151" fmla="*/ 11417900 w 12084394"/>
                  <a:gd name="connsiteY151" fmla="*/ 3816412 h 4077840"/>
                  <a:gd name="connsiteX152" fmla="*/ 11268870 w 12084394"/>
                  <a:gd name="connsiteY152" fmla="*/ 3667382 h 4077840"/>
                  <a:gd name="connsiteX153" fmla="*/ 11417900 w 12084394"/>
                  <a:gd name="connsiteY153" fmla="*/ 3518352 h 4077840"/>
                  <a:gd name="connsiteX154" fmla="*/ 10906022 w 12084394"/>
                  <a:gd name="connsiteY154" fmla="*/ 3518352 h 4077840"/>
                  <a:gd name="connsiteX155" fmla="*/ 11055053 w 12084394"/>
                  <a:gd name="connsiteY155" fmla="*/ 3667382 h 4077840"/>
                  <a:gd name="connsiteX156" fmla="*/ 10906022 w 12084394"/>
                  <a:gd name="connsiteY156" fmla="*/ 3816412 h 4077840"/>
                  <a:gd name="connsiteX157" fmla="*/ 10756992 w 12084394"/>
                  <a:gd name="connsiteY157" fmla="*/ 3667382 h 4077840"/>
                  <a:gd name="connsiteX158" fmla="*/ 10906022 w 12084394"/>
                  <a:gd name="connsiteY158" fmla="*/ 3518352 h 4077840"/>
                  <a:gd name="connsiteX159" fmla="*/ 10393957 w 12084394"/>
                  <a:gd name="connsiteY159" fmla="*/ 3518352 h 4077840"/>
                  <a:gd name="connsiteX160" fmla="*/ 10542987 w 12084394"/>
                  <a:gd name="connsiteY160" fmla="*/ 3667382 h 4077840"/>
                  <a:gd name="connsiteX161" fmla="*/ 10393957 w 12084394"/>
                  <a:gd name="connsiteY161" fmla="*/ 3816412 h 4077840"/>
                  <a:gd name="connsiteX162" fmla="*/ 10244926 w 12084394"/>
                  <a:gd name="connsiteY162" fmla="*/ 3667382 h 4077840"/>
                  <a:gd name="connsiteX163" fmla="*/ 10393957 w 12084394"/>
                  <a:gd name="connsiteY163" fmla="*/ 3518352 h 4077840"/>
                  <a:gd name="connsiteX164" fmla="*/ 9882080 w 12084394"/>
                  <a:gd name="connsiteY164" fmla="*/ 3518352 h 4077840"/>
                  <a:gd name="connsiteX165" fmla="*/ 10031110 w 12084394"/>
                  <a:gd name="connsiteY165" fmla="*/ 3667382 h 4077840"/>
                  <a:gd name="connsiteX166" fmla="*/ 9882080 w 12084394"/>
                  <a:gd name="connsiteY166" fmla="*/ 3816412 h 4077840"/>
                  <a:gd name="connsiteX167" fmla="*/ 9733050 w 12084394"/>
                  <a:gd name="connsiteY167" fmla="*/ 3667382 h 4077840"/>
                  <a:gd name="connsiteX168" fmla="*/ 9882080 w 12084394"/>
                  <a:gd name="connsiteY168" fmla="*/ 3518352 h 4077840"/>
                  <a:gd name="connsiteX169" fmla="*/ 9370013 w 12084394"/>
                  <a:gd name="connsiteY169" fmla="*/ 3518352 h 4077840"/>
                  <a:gd name="connsiteX170" fmla="*/ 9519043 w 12084394"/>
                  <a:gd name="connsiteY170" fmla="*/ 3667382 h 4077840"/>
                  <a:gd name="connsiteX171" fmla="*/ 9370013 w 12084394"/>
                  <a:gd name="connsiteY171" fmla="*/ 3816412 h 4077840"/>
                  <a:gd name="connsiteX172" fmla="*/ 9220983 w 12084394"/>
                  <a:gd name="connsiteY172" fmla="*/ 3667382 h 4077840"/>
                  <a:gd name="connsiteX173" fmla="*/ 9370013 w 12084394"/>
                  <a:gd name="connsiteY173" fmla="*/ 3518352 h 4077840"/>
                  <a:gd name="connsiteX174" fmla="*/ 8858137 w 12084394"/>
                  <a:gd name="connsiteY174" fmla="*/ 3518352 h 4077840"/>
                  <a:gd name="connsiteX175" fmla="*/ 9007167 w 12084394"/>
                  <a:gd name="connsiteY175" fmla="*/ 3667382 h 4077840"/>
                  <a:gd name="connsiteX176" fmla="*/ 8858137 w 12084394"/>
                  <a:gd name="connsiteY176" fmla="*/ 3816412 h 4077840"/>
                  <a:gd name="connsiteX177" fmla="*/ 8709107 w 12084394"/>
                  <a:gd name="connsiteY177" fmla="*/ 3667382 h 4077840"/>
                  <a:gd name="connsiteX178" fmla="*/ 8858137 w 12084394"/>
                  <a:gd name="connsiteY178" fmla="*/ 3518352 h 4077840"/>
                  <a:gd name="connsiteX179" fmla="*/ 8346070 w 12084394"/>
                  <a:gd name="connsiteY179" fmla="*/ 3518352 h 4077840"/>
                  <a:gd name="connsiteX180" fmla="*/ 8495101 w 12084394"/>
                  <a:gd name="connsiteY180" fmla="*/ 3667382 h 4077840"/>
                  <a:gd name="connsiteX181" fmla="*/ 8346070 w 12084394"/>
                  <a:gd name="connsiteY181" fmla="*/ 3816412 h 4077840"/>
                  <a:gd name="connsiteX182" fmla="*/ 8197040 w 12084394"/>
                  <a:gd name="connsiteY182" fmla="*/ 3667382 h 4077840"/>
                  <a:gd name="connsiteX183" fmla="*/ 8346070 w 12084394"/>
                  <a:gd name="connsiteY183" fmla="*/ 3518352 h 4077840"/>
                  <a:gd name="connsiteX184" fmla="*/ 7834194 w 12084394"/>
                  <a:gd name="connsiteY184" fmla="*/ 3518352 h 4077840"/>
                  <a:gd name="connsiteX185" fmla="*/ 7983224 w 12084394"/>
                  <a:gd name="connsiteY185" fmla="*/ 3667382 h 4077840"/>
                  <a:gd name="connsiteX186" fmla="*/ 7834194 w 12084394"/>
                  <a:gd name="connsiteY186" fmla="*/ 3816412 h 4077840"/>
                  <a:gd name="connsiteX187" fmla="*/ 7685164 w 12084394"/>
                  <a:gd name="connsiteY187" fmla="*/ 3667382 h 4077840"/>
                  <a:gd name="connsiteX188" fmla="*/ 7834194 w 12084394"/>
                  <a:gd name="connsiteY188" fmla="*/ 3518352 h 4077840"/>
                  <a:gd name="connsiteX189" fmla="*/ 7322128 w 12084394"/>
                  <a:gd name="connsiteY189" fmla="*/ 3518352 h 4077840"/>
                  <a:gd name="connsiteX190" fmla="*/ 7471158 w 12084394"/>
                  <a:gd name="connsiteY190" fmla="*/ 3667382 h 4077840"/>
                  <a:gd name="connsiteX191" fmla="*/ 7322128 w 12084394"/>
                  <a:gd name="connsiteY191" fmla="*/ 3816412 h 4077840"/>
                  <a:gd name="connsiteX192" fmla="*/ 7173097 w 12084394"/>
                  <a:gd name="connsiteY192" fmla="*/ 3667382 h 4077840"/>
                  <a:gd name="connsiteX193" fmla="*/ 7322128 w 12084394"/>
                  <a:gd name="connsiteY193" fmla="*/ 3518352 h 4077840"/>
                  <a:gd name="connsiteX194" fmla="*/ 6810062 w 12084394"/>
                  <a:gd name="connsiteY194" fmla="*/ 3518352 h 4077840"/>
                  <a:gd name="connsiteX195" fmla="*/ 6959092 w 12084394"/>
                  <a:gd name="connsiteY195" fmla="*/ 3667382 h 4077840"/>
                  <a:gd name="connsiteX196" fmla="*/ 6810062 w 12084394"/>
                  <a:gd name="connsiteY196" fmla="*/ 3816412 h 4077840"/>
                  <a:gd name="connsiteX197" fmla="*/ 6661032 w 12084394"/>
                  <a:gd name="connsiteY197" fmla="*/ 3667382 h 4077840"/>
                  <a:gd name="connsiteX198" fmla="*/ 6810062 w 12084394"/>
                  <a:gd name="connsiteY198" fmla="*/ 3518352 h 4077840"/>
                  <a:gd name="connsiteX199" fmla="*/ 6298186 w 12084394"/>
                  <a:gd name="connsiteY199" fmla="*/ 3518352 h 4077840"/>
                  <a:gd name="connsiteX200" fmla="*/ 6447215 w 12084394"/>
                  <a:gd name="connsiteY200" fmla="*/ 3667382 h 4077840"/>
                  <a:gd name="connsiteX201" fmla="*/ 6298186 w 12084394"/>
                  <a:gd name="connsiteY201" fmla="*/ 3816412 h 4077840"/>
                  <a:gd name="connsiteX202" fmla="*/ 6149155 w 12084394"/>
                  <a:gd name="connsiteY202" fmla="*/ 3667382 h 4077840"/>
                  <a:gd name="connsiteX203" fmla="*/ 6298186 w 12084394"/>
                  <a:gd name="connsiteY203" fmla="*/ 3518352 h 4077840"/>
                  <a:gd name="connsiteX204" fmla="*/ 5786126 w 12084394"/>
                  <a:gd name="connsiteY204" fmla="*/ 3518352 h 4077840"/>
                  <a:gd name="connsiteX205" fmla="*/ 5935149 w 12084394"/>
                  <a:gd name="connsiteY205" fmla="*/ 3667382 h 4077840"/>
                  <a:gd name="connsiteX206" fmla="*/ 5786126 w 12084394"/>
                  <a:gd name="connsiteY206" fmla="*/ 3816412 h 4077840"/>
                  <a:gd name="connsiteX207" fmla="*/ 5637102 w 12084394"/>
                  <a:gd name="connsiteY207" fmla="*/ 3667382 h 4077840"/>
                  <a:gd name="connsiteX208" fmla="*/ 5786126 w 12084394"/>
                  <a:gd name="connsiteY208" fmla="*/ 3518352 h 4077840"/>
                  <a:gd name="connsiteX209" fmla="*/ 5274270 w 12084394"/>
                  <a:gd name="connsiteY209" fmla="*/ 3518352 h 4077840"/>
                  <a:gd name="connsiteX210" fmla="*/ 5423296 w 12084394"/>
                  <a:gd name="connsiteY210" fmla="*/ 3667382 h 4077840"/>
                  <a:gd name="connsiteX211" fmla="*/ 5274270 w 12084394"/>
                  <a:gd name="connsiteY211" fmla="*/ 3816412 h 4077840"/>
                  <a:gd name="connsiteX212" fmla="*/ 5125232 w 12084394"/>
                  <a:gd name="connsiteY212" fmla="*/ 3667382 h 4077840"/>
                  <a:gd name="connsiteX213" fmla="*/ 5274270 w 12084394"/>
                  <a:gd name="connsiteY213" fmla="*/ 3518352 h 4077840"/>
                  <a:gd name="connsiteX214" fmla="*/ 4762180 w 12084394"/>
                  <a:gd name="connsiteY214" fmla="*/ 3518352 h 4077840"/>
                  <a:gd name="connsiteX215" fmla="*/ 4911249 w 12084394"/>
                  <a:gd name="connsiteY215" fmla="*/ 3667382 h 4077840"/>
                  <a:gd name="connsiteX216" fmla="*/ 4762180 w 12084394"/>
                  <a:gd name="connsiteY216" fmla="*/ 3816412 h 4077840"/>
                  <a:gd name="connsiteX217" fmla="*/ 4613169 w 12084394"/>
                  <a:gd name="connsiteY217" fmla="*/ 3667382 h 4077840"/>
                  <a:gd name="connsiteX218" fmla="*/ 4762180 w 12084394"/>
                  <a:gd name="connsiteY218" fmla="*/ 3518352 h 4077840"/>
                  <a:gd name="connsiteX219" fmla="*/ 4250316 w 12084394"/>
                  <a:gd name="connsiteY219" fmla="*/ 3518352 h 4077840"/>
                  <a:gd name="connsiteX220" fmla="*/ 4399355 w 12084394"/>
                  <a:gd name="connsiteY220" fmla="*/ 3667382 h 4077840"/>
                  <a:gd name="connsiteX221" fmla="*/ 4250316 w 12084394"/>
                  <a:gd name="connsiteY221" fmla="*/ 3816412 h 4077840"/>
                  <a:gd name="connsiteX222" fmla="*/ 4101334 w 12084394"/>
                  <a:gd name="connsiteY222" fmla="*/ 3667382 h 4077840"/>
                  <a:gd name="connsiteX223" fmla="*/ 4250316 w 12084394"/>
                  <a:gd name="connsiteY223" fmla="*/ 3518352 h 4077840"/>
                  <a:gd name="connsiteX224" fmla="*/ 3738289 w 12084394"/>
                  <a:gd name="connsiteY224" fmla="*/ 3518352 h 4077840"/>
                  <a:gd name="connsiteX225" fmla="*/ 3887320 w 12084394"/>
                  <a:gd name="connsiteY225" fmla="*/ 3667382 h 4077840"/>
                  <a:gd name="connsiteX226" fmla="*/ 3738289 w 12084394"/>
                  <a:gd name="connsiteY226" fmla="*/ 3816412 h 4077840"/>
                  <a:gd name="connsiteX227" fmla="*/ 3589256 w 12084394"/>
                  <a:gd name="connsiteY227" fmla="*/ 3667382 h 4077840"/>
                  <a:gd name="connsiteX228" fmla="*/ 3738289 w 12084394"/>
                  <a:gd name="connsiteY228" fmla="*/ 3518352 h 4077840"/>
                  <a:gd name="connsiteX229" fmla="*/ 3226242 w 12084394"/>
                  <a:gd name="connsiteY229" fmla="*/ 3518352 h 4077840"/>
                  <a:gd name="connsiteX230" fmla="*/ 3375284 w 12084394"/>
                  <a:gd name="connsiteY230" fmla="*/ 3667382 h 4077840"/>
                  <a:gd name="connsiteX231" fmla="*/ 3226242 w 12084394"/>
                  <a:gd name="connsiteY231" fmla="*/ 3816412 h 4077840"/>
                  <a:gd name="connsiteX232" fmla="*/ 3077210 w 12084394"/>
                  <a:gd name="connsiteY232" fmla="*/ 3667382 h 4077840"/>
                  <a:gd name="connsiteX233" fmla="*/ 3226242 w 12084394"/>
                  <a:gd name="connsiteY233" fmla="*/ 3518352 h 4077840"/>
                  <a:gd name="connsiteX234" fmla="*/ 2714363 w 12084394"/>
                  <a:gd name="connsiteY234" fmla="*/ 3518352 h 4077840"/>
                  <a:gd name="connsiteX235" fmla="*/ 2863399 w 12084394"/>
                  <a:gd name="connsiteY235" fmla="*/ 3667382 h 4077840"/>
                  <a:gd name="connsiteX236" fmla="*/ 2714363 w 12084394"/>
                  <a:gd name="connsiteY236" fmla="*/ 3816412 h 4077840"/>
                  <a:gd name="connsiteX237" fmla="*/ 2565335 w 12084394"/>
                  <a:gd name="connsiteY237" fmla="*/ 3667382 h 4077840"/>
                  <a:gd name="connsiteX238" fmla="*/ 2714363 w 12084394"/>
                  <a:gd name="connsiteY238" fmla="*/ 3518352 h 4077840"/>
                  <a:gd name="connsiteX239" fmla="*/ 2202307 w 12084394"/>
                  <a:gd name="connsiteY239" fmla="*/ 3518352 h 4077840"/>
                  <a:gd name="connsiteX240" fmla="*/ 2351334 w 12084394"/>
                  <a:gd name="connsiteY240" fmla="*/ 3667382 h 4077840"/>
                  <a:gd name="connsiteX241" fmla="*/ 2202307 w 12084394"/>
                  <a:gd name="connsiteY241" fmla="*/ 3816412 h 4077840"/>
                  <a:gd name="connsiteX242" fmla="*/ 2053277 w 12084394"/>
                  <a:gd name="connsiteY242" fmla="*/ 3667382 h 4077840"/>
                  <a:gd name="connsiteX243" fmla="*/ 2202307 w 12084394"/>
                  <a:gd name="connsiteY243" fmla="*/ 3518352 h 4077840"/>
                  <a:gd name="connsiteX244" fmla="*/ 1690413 w 12084394"/>
                  <a:gd name="connsiteY244" fmla="*/ 3518352 h 4077840"/>
                  <a:gd name="connsiteX245" fmla="*/ 1839443 w 12084394"/>
                  <a:gd name="connsiteY245" fmla="*/ 3667382 h 4077840"/>
                  <a:gd name="connsiteX246" fmla="*/ 1690413 w 12084394"/>
                  <a:gd name="connsiteY246" fmla="*/ 3816412 h 4077840"/>
                  <a:gd name="connsiteX247" fmla="*/ 1541384 w 12084394"/>
                  <a:gd name="connsiteY247" fmla="*/ 3667382 h 4077840"/>
                  <a:gd name="connsiteX248" fmla="*/ 1690413 w 12084394"/>
                  <a:gd name="connsiteY248" fmla="*/ 3518352 h 4077840"/>
                  <a:gd name="connsiteX249" fmla="*/ 1178354 w 12084394"/>
                  <a:gd name="connsiteY249" fmla="*/ 3518352 h 4077840"/>
                  <a:gd name="connsiteX250" fmla="*/ 1327383 w 12084394"/>
                  <a:gd name="connsiteY250" fmla="*/ 3667382 h 4077840"/>
                  <a:gd name="connsiteX251" fmla="*/ 1178354 w 12084394"/>
                  <a:gd name="connsiteY251" fmla="*/ 3816412 h 4077840"/>
                  <a:gd name="connsiteX252" fmla="*/ 1029325 w 12084394"/>
                  <a:gd name="connsiteY252" fmla="*/ 3667382 h 4077840"/>
                  <a:gd name="connsiteX253" fmla="*/ 1178354 w 12084394"/>
                  <a:gd name="connsiteY253" fmla="*/ 3518352 h 4077840"/>
                  <a:gd name="connsiteX254" fmla="*/ 666484 w 12084394"/>
                  <a:gd name="connsiteY254" fmla="*/ 3518352 h 4077840"/>
                  <a:gd name="connsiteX255" fmla="*/ 815513 w 12084394"/>
                  <a:gd name="connsiteY255" fmla="*/ 3667382 h 4077840"/>
                  <a:gd name="connsiteX256" fmla="*/ 666484 w 12084394"/>
                  <a:gd name="connsiteY256" fmla="*/ 3816412 h 4077840"/>
                  <a:gd name="connsiteX257" fmla="*/ 517455 w 12084394"/>
                  <a:gd name="connsiteY257" fmla="*/ 3667382 h 4077840"/>
                  <a:gd name="connsiteX258" fmla="*/ 666484 w 12084394"/>
                  <a:gd name="connsiteY258" fmla="*/ 3518352 h 4077840"/>
                  <a:gd name="connsiteX259" fmla="*/ 154426 w 12084394"/>
                  <a:gd name="connsiteY259" fmla="*/ 3518352 h 4077840"/>
                  <a:gd name="connsiteX260" fmla="*/ 303455 w 12084394"/>
                  <a:gd name="connsiteY260" fmla="*/ 3667382 h 4077840"/>
                  <a:gd name="connsiteX261" fmla="*/ 154426 w 12084394"/>
                  <a:gd name="connsiteY261" fmla="*/ 3816412 h 4077840"/>
                  <a:gd name="connsiteX262" fmla="*/ 5397 w 12084394"/>
                  <a:gd name="connsiteY262" fmla="*/ 3667382 h 4077840"/>
                  <a:gd name="connsiteX263" fmla="*/ 154426 w 12084394"/>
                  <a:gd name="connsiteY263" fmla="*/ 3518352 h 4077840"/>
                  <a:gd name="connsiteX264" fmla="*/ 11929966 w 12084394"/>
                  <a:gd name="connsiteY264" fmla="*/ 3078629 h 4077840"/>
                  <a:gd name="connsiteX265" fmla="*/ 12064640 w 12084394"/>
                  <a:gd name="connsiteY265" fmla="*/ 3213304 h 4077840"/>
                  <a:gd name="connsiteX266" fmla="*/ 11929966 w 12084394"/>
                  <a:gd name="connsiteY266" fmla="*/ 3347979 h 4077840"/>
                  <a:gd name="connsiteX267" fmla="*/ 11795291 w 12084394"/>
                  <a:gd name="connsiteY267" fmla="*/ 3213304 h 4077840"/>
                  <a:gd name="connsiteX268" fmla="*/ 11929966 w 12084394"/>
                  <a:gd name="connsiteY268" fmla="*/ 3078629 h 4077840"/>
                  <a:gd name="connsiteX269" fmla="*/ 11417900 w 12084394"/>
                  <a:gd name="connsiteY269" fmla="*/ 3078629 h 4077840"/>
                  <a:gd name="connsiteX270" fmla="*/ 11552575 w 12084394"/>
                  <a:gd name="connsiteY270" fmla="*/ 3213304 h 4077840"/>
                  <a:gd name="connsiteX271" fmla="*/ 11417900 w 12084394"/>
                  <a:gd name="connsiteY271" fmla="*/ 3347979 h 4077840"/>
                  <a:gd name="connsiteX272" fmla="*/ 11283225 w 12084394"/>
                  <a:gd name="connsiteY272" fmla="*/ 3213304 h 4077840"/>
                  <a:gd name="connsiteX273" fmla="*/ 11417900 w 12084394"/>
                  <a:gd name="connsiteY273" fmla="*/ 3078629 h 4077840"/>
                  <a:gd name="connsiteX274" fmla="*/ 10906022 w 12084394"/>
                  <a:gd name="connsiteY274" fmla="*/ 3078629 h 4077840"/>
                  <a:gd name="connsiteX275" fmla="*/ 11040697 w 12084394"/>
                  <a:gd name="connsiteY275" fmla="*/ 3213304 h 4077840"/>
                  <a:gd name="connsiteX276" fmla="*/ 10906022 w 12084394"/>
                  <a:gd name="connsiteY276" fmla="*/ 3347979 h 4077840"/>
                  <a:gd name="connsiteX277" fmla="*/ 10771347 w 12084394"/>
                  <a:gd name="connsiteY277" fmla="*/ 3213304 h 4077840"/>
                  <a:gd name="connsiteX278" fmla="*/ 10906022 w 12084394"/>
                  <a:gd name="connsiteY278" fmla="*/ 3078629 h 4077840"/>
                  <a:gd name="connsiteX279" fmla="*/ 10393956 w 12084394"/>
                  <a:gd name="connsiteY279" fmla="*/ 3078629 h 4077840"/>
                  <a:gd name="connsiteX280" fmla="*/ 10528631 w 12084394"/>
                  <a:gd name="connsiteY280" fmla="*/ 3213304 h 4077840"/>
                  <a:gd name="connsiteX281" fmla="*/ 10393956 w 12084394"/>
                  <a:gd name="connsiteY281" fmla="*/ 3347979 h 4077840"/>
                  <a:gd name="connsiteX282" fmla="*/ 10259282 w 12084394"/>
                  <a:gd name="connsiteY282" fmla="*/ 3213304 h 4077840"/>
                  <a:gd name="connsiteX283" fmla="*/ 10393956 w 12084394"/>
                  <a:gd name="connsiteY283" fmla="*/ 3078629 h 4077840"/>
                  <a:gd name="connsiteX284" fmla="*/ 9882080 w 12084394"/>
                  <a:gd name="connsiteY284" fmla="*/ 3078629 h 4077840"/>
                  <a:gd name="connsiteX285" fmla="*/ 10016755 w 12084394"/>
                  <a:gd name="connsiteY285" fmla="*/ 3213304 h 4077840"/>
                  <a:gd name="connsiteX286" fmla="*/ 9882080 w 12084394"/>
                  <a:gd name="connsiteY286" fmla="*/ 3347979 h 4077840"/>
                  <a:gd name="connsiteX287" fmla="*/ 9747405 w 12084394"/>
                  <a:gd name="connsiteY287" fmla="*/ 3213304 h 4077840"/>
                  <a:gd name="connsiteX288" fmla="*/ 9882080 w 12084394"/>
                  <a:gd name="connsiteY288" fmla="*/ 3078629 h 4077840"/>
                  <a:gd name="connsiteX289" fmla="*/ 9370014 w 12084394"/>
                  <a:gd name="connsiteY289" fmla="*/ 3078629 h 4077840"/>
                  <a:gd name="connsiteX290" fmla="*/ 9504688 w 12084394"/>
                  <a:gd name="connsiteY290" fmla="*/ 3213304 h 4077840"/>
                  <a:gd name="connsiteX291" fmla="*/ 9370014 w 12084394"/>
                  <a:gd name="connsiteY291" fmla="*/ 3347979 h 4077840"/>
                  <a:gd name="connsiteX292" fmla="*/ 9235339 w 12084394"/>
                  <a:gd name="connsiteY292" fmla="*/ 3213304 h 4077840"/>
                  <a:gd name="connsiteX293" fmla="*/ 9370014 w 12084394"/>
                  <a:gd name="connsiteY293" fmla="*/ 3078629 h 4077840"/>
                  <a:gd name="connsiteX294" fmla="*/ 8858136 w 12084394"/>
                  <a:gd name="connsiteY294" fmla="*/ 3078629 h 4077840"/>
                  <a:gd name="connsiteX295" fmla="*/ 8992811 w 12084394"/>
                  <a:gd name="connsiteY295" fmla="*/ 3213304 h 4077840"/>
                  <a:gd name="connsiteX296" fmla="*/ 8858136 w 12084394"/>
                  <a:gd name="connsiteY296" fmla="*/ 3347979 h 4077840"/>
                  <a:gd name="connsiteX297" fmla="*/ 8723462 w 12084394"/>
                  <a:gd name="connsiteY297" fmla="*/ 3213304 h 4077840"/>
                  <a:gd name="connsiteX298" fmla="*/ 8858136 w 12084394"/>
                  <a:gd name="connsiteY298" fmla="*/ 3078629 h 4077840"/>
                  <a:gd name="connsiteX299" fmla="*/ 8346071 w 12084394"/>
                  <a:gd name="connsiteY299" fmla="*/ 3078629 h 4077840"/>
                  <a:gd name="connsiteX300" fmla="*/ 8480746 w 12084394"/>
                  <a:gd name="connsiteY300" fmla="*/ 3213304 h 4077840"/>
                  <a:gd name="connsiteX301" fmla="*/ 8346071 w 12084394"/>
                  <a:gd name="connsiteY301" fmla="*/ 3347979 h 4077840"/>
                  <a:gd name="connsiteX302" fmla="*/ 8211396 w 12084394"/>
                  <a:gd name="connsiteY302" fmla="*/ 3213304 h 4077840"/>
                  <a:gd name="connsiteX303" fmla="*/ 8346071 w 12084394"/>
                  <a:gd name="connsiteY303" fmla="*/ 3078629 h 4077840"/>
                  <a:gd name="connsiteX304" fmla="*/ 7834194 w 12084394"/>
                  <a:gd name="connsiteY304" fmla="*/ 3078629 h 4077840"/>
                  <a:gd name="connsiteX305" fmla="*/ 7968868 w 12084394"/>
                  <a:gd name="connsiteY305" fmla="*/ 3213304 h 4077840"/>
                  <a:gd name="connsiteX306" fmla="*/ 7834194 w 12084394"/>
                  <a:gd name="connsiteY306" fmla="*/ 3347979 h 4077840"/>
                  <a:gd name="connsiteX307" fmla="*/ 7699519 w 12084394"/>
                  <a:gd name="connsiteY307" fmla="*/ 3213304 h 4077840"/>
                  <a:gd name="connsiteX308" fmla="*/ 7834194 w 12084394"/>
                  <a:gd name="connsiteY308" fmla="*/ 3078629 h 4077840"/>
                  <a:gd name="connsiteX309" fmla="*/ 7322127 w 12084394"/>
                  <a:gd name="connsiteY309" fmla="*/ 3078629 h 4077840"/>
                  <a:gd name="connsiteX310" fmla="*/ 7456802 w 12084394"/>
                  <a:gd name="connsiteY310" fmla="*/ 3213304 h 4077840"/>
                  <a:gd name="connsiteX311" fmla="*/ 7322127 w 12084394"/>
                  <a:gd name="connsiteY311" fmla="*/ 3347979 h 4077840"/>
                  <a:gd name="connsiteX312" fmla="*/ 7187453 w 12084394"/>
                  <a:gd name="connsiteY312" fmla="*/ 3213304 h 4077840"/>
                  <a:gd name="connsiteX313" fmla="*/ 7322127 w 12084394"/>
                  <a:gd name="connsiteY313" fmla="*/ 3078629 h 4077840"/>
                  <a:gd name="connsiteX314" fmla="*/ 6810062 w 12084394"/>
                  <a:gd name="connsiteY314" fmla="*/ 3078629 h 4077840"/>
                  <a:gd name="connsiteX315" fmla="*/ 6944736 w 12084394"/>
                  <a:gd name="connsiteY315" fmla="*/ 3213304 h 4077840"/>
                  <a:gd name="connsiteX316" fmla="*/ 6810062 w 12084394"/>
                  <a:gd name="connsiteY316" fmla="*/ 3347979 h 4077840"/>
                  <a:gd name="connsiteX317" fmla="*/ 6675387 w 12084394"/>
                  <a:gd name="connsiteY317" fmla="*/ 3213304 h 4077840"/>
                  <a:gd name="connsiteX318" fmla="*/ 6810062 w 12084394"/>
                  <a:gd name="connsiteY318" fmla="*/ 3078629 h 4077840"/>
                  <a:gd name="connsiteX319" fmla="*/ 6298186 w 12084394"/>
                  <a:gd name="connsiteY319" fmla="*/ 3078629 h 4077840"/>
                  <a:gd name="connsiteX320" fmla="*/ 6432860 w 12084394"/>
                  <a:gd name="connsiteY320" fmla="*/ 3213304 h 4077840"/>
                  <a:gd name="connsiteX321" fmla="*/ 6298186 w 12084394"/>
                  <a:gd name="connsiteY321" fmla="*/ 3347979 h 4077840"/>
                  <a:gd name="connsiteX322" fmla="*/ 6163510 w 12084394"/>
                  <a:gd name="connsiteY322" fmla="*/ 3213304 h 4077840"/>
                  <a:gd name="connsiteX323" fmla="*/ 6298186 w 12084394"/>
                  <a:gd name="connsiteY323" fmla="*/ 3078629 h 4077840"/>
                  <a:gd name="connsiteX324" fmla="*/ 5786126 w 12084394"/>
                  <a:gd name="connsiteY324" fmla="*/ 3078629 h 4077840"/>
                  <a:gd name="connsiteX325" fmla="*/ 5920794 w 12084394"/>
                  <a:gd name="connsiteY325" fmla="*/ 3213304 h 4077840"/>
                  <a:gd name="connsiteX326" fmla="*/ 5786126 w 12084394"/>
                  <a:gd name="connsiteY326" fmla="*/ 3347979 h 4077840"/>
                  <a:gd name="connsiteX327" fmla="*/ 5651456 w 12084394"/>
                  <a:gd name="connsiteY327" fmla="*/ 3213304 h 4077840"/>
                  <a:gd name="connsiteX328" fmla="*/ 5786126 w 12084394"/>
                  <a:gd name="connsiteY328" fmla="*/ 3078629 h 4077840"/>
                  <a:gd name="connsiteX329" fmla="*/ 5274270 w 12084394"/>
                  <a:gd name="connsiteY329" fmla="*/ 3078629 h 4077840"/>
                  <a:gd name="connsiteX330" fmla="*/ 5408941 w 12084394"/>
                  <a:gd name="connsiteY330" fmla="*/ 3213304 h 4077840"/>
                  <a:gd name="connsiteX331" fmla="*/ 5274270 w 12084394"/>
                  <a:gd name="connsiteY331" fmla="*/ 3347979 h 4077840"/>
                  <a:gd name="connsiteX332" fmla="*/ 5139595 w 12084394"/>
                  <a:gd name="connsiteY332" fmla="*/ 3213304 h 4077840"/>
                  <a:gd name="connsiteX333" fmla="*/ 5274270 w 12084394"/>
                  <a:gd name="connsiteY333" fmla="*/ 3078629 h 4077840"/>
                  <a:gd name="connsiteX334" fmla="*/ 4762180 w 12084394"/>
                  <a:gd name="connsiteY334" fmla="*/ 3078629 h 4077840"/>
                  <a:gd name="connsiteX335" fmla="*/ 4896897 w 12084394"/>
                  <a:gd name="connsiteY335" fmla="*/ 3213304 h 4077840"/>
                  <a:gd name="connsiteX336" fmla="*/ 4762180 w 12084394"/>
                  <a:gd name="connsiteY336" fmla="*/ 3347979 h 4077840"/>
                  <a:gd name="connsiteX337" fmla="*/ 4627526 w 12084394"/>
                  <a:gd name="connsiteY337" fmla="*/ 3213304 h 4077840"/>
                  <a:gd name="connsiteX338" fmla="*/ 4762180 w 12084394"/>
                  <a:gd name="connsiteY338" fmla="*/ 3078629 h 4077840"/>
                  <a:gd name="connsiteX339" fmla="*/ 4250316 w 12084394"/>
                  <a:gd name="connsiteY339" fmla="*/ 3078629 h 4077840"/>
                  <a:gd name="connsiteX340" fmla="*/ 4385000 w 12084394"/>
                  <a:gd name="connsiteY340" fmla="*/ 3213304 h 4077840"/>
                  <a:gd name="connsiteX341" fmla="*/ 4250316 w 12084394"/>
                  <a:gd name="connsiteY341" fmla="*/ 3347979 h 4077840"/>
                  <a:gd name="connsiteX342" fmla="*/ 4115689 w 12084394"/>
                  <a:gd name="connsiteY342" fmla="*/ 3213304 h 4077840"/>
                  <a:gd name="connsiteX343" fmla="*/ 4250316 w 12084394"/>
                  <a:gd name="connsiteY343" fmla="*/ 3078629 h 4077840"/>
                  <a:gd name="connsiteX344" fmla="*/ 3738289 w 12084394"/>
                  <a:gd name="connsiteY344" fmla="*/ 3078629 h 4077840"/>
                  <a:gd name="connsiteX345" fmla="*/ 3872963 w 12084394"/>
                  <a:gd name="connsiteY345" fmla="*/ 3213304 h 4077840"/>
                  <a:gd name="connsiteX346" fmla="*/ 3738289 w 12084394"/>
                  <a:gd name="connsiteY346" fmla="*/ 3347979 h 4077840"/>
                  <a:gd name="connsiteX347" fmla="*/ 3603609 w 12084394"/>
                  <a:gd name="connsiteY347" fmla="*/ 3213304 h 4077840"/>
                  <a:gd name="connsiteX348" fmla="*/ 3738289 w 12084394"/>
                  <a:gd name="connsiteY348" fmla="*/ 3078629 h 4077840"/>
                  <a:gd name="connsiteX349" fmla="*/ 3226242 w 12084394"/>
                  <a:gd name="connsiteY349" fmla="*/ 3078629 h 4077840"/>
                  <a:gd name="connsiteX350" fmla="*/ 3360931 w 12084394"/>
                  <a:gd name="connsiteY350" fmla="*/ 3213304 h 4077840"/>
                  <a:gd name="connsiteX351" fmla="*/ 3226242 w 12084394"/>
                  <a:gd name="connsiteY351" fmla="*/ 3347979 h 4077840"/>
                  <a:gd name="connsiteX352" fmla="*/ 3091565 w 12084394"/>
                  <a:gd name="connsiteY352" fmla="*/ 3213304 h 4077840"/>
                  <a:gd name="connsiteX353" fmla="*/ 3226242 w 12084394"/>
                  <a:gd name="connsiteY353" fmla="*/ 3078629 h 4077840"/>
                  <a:gd name="connsiteX354" fmla="*/ 2714363 w 12084394"/>
                  <a:gd name="connsiteY354" fmla="*/ 3078629 h 4077840"/>
                  <a:gd name="connsiteX355" fmla="*/ 2849039 w 12084394"/>
                  <a:gd name="connsiteY355" fmla="*/ 3213304 h 4077840"/>
                  <a:gd name="connsiteX356" fmla="*/ 2714363 w 12084394"/>
                  <a:gd name="connsiteY356" fmla="*/ 3347979 h 4077840"/>
                  <a:gd name="connsiteX357" fmla="*/ 2579687 w 12084394"/>
                  <a:gd name="connsiteY357" fmla="*/ 3213304 h 4077840"/>
                  <a:gd name="connsiteX358" fmla="*/ 2714363 w 12084394"/>
                  <a:gd name="connsiteY358" fmla="*/ 3078629 h 4077840"/>
                  <a:gd name="connsiteX359" fmla="*/ 2202306 w 12084394"/>
                  <a:gd name="connsiteY359" fmla="*/ 3078629 h 4077840"/>
                  <a:gd name="connsiteX360" fmla="*/ 2336978 w 12084394"/>
                  <a:gd name="connsiteY360" fmla="*/ 3213304 h 4077840"/>
                  <a:gd name="connsiteX361" fmla="*/ 2202306 w 12084394"/>
                  <a:gd name="connsiteY361" fmla="*/ 3347979 h 4077840"/>
                  <a:gd name="connsiteX362" fmla="*/ 2067631 w 12084394"/>
                  <a:gd name="connsiteY362" fmla="*/ 3213304 h 4077840"/>
                  <a:gd name="connsiteX363" fmla="*/ 2202306 w 12084394"/>
                  <a:gd name="connsiteY363" fmla="*/ 3078629 h 4077840"/>
                  <a:gd name="connsiteX364" fmla="*/ 1690413 w 12084394"/>
                  <a:gd name="connsiteY364" fmla="*/ 3078629 h 4077840"/>
                  <a:gd name="connsiteX365" fmla="*/ 1825086 w 12084394"/>
                  <a:gd name="connsiteY365" fmla="*/ 3213304 h 4077840"/>
                  <a:gd name="connsiteX366" fmla="*/ 1690413 w 12084394"/>
                  <a:gd name="connsiteY366" fmla="*/ 3347979 h 4077840"/>
                  <a:gd name="connsiteX367" fmla="*/ 1555739 w 12084394"/>
                  <a:gd name="connsiteY367" fmla="*/ 3213304 h 4077840"/>
                  <a:gd name="connsiteX368" fmla="*/ 1690413 w 12084394"/>
                  <a:gd name="connsiteY368" fmla="*/ 3078629 h 4077840"/>
                  <a:gd name="connsiteX369" fmla="*/ 1178354 w 12084394"/>
                  <a:gd name="connsiteY369" fmla="*/ 3078629 h 4077840"/>
                  <a:gd name="connsiteX370" fmla="*/ 1313027 w 12084394"/>
                  <a:gd name="connsiteY370" fmla="*/ 3213304 h 4077840"/>
                  <a:gd name="connsiteX371" fmla="*/ 1178354 w 12084394"/>
                  <a:gd name="connsiteY371" fmla="*/ 3347979 h 4077840"/>
                  <a:gd name="connsiteX372" fmla="*/ 1043680 w 12084394"/>
                  <a:gd name="connsiteY372" fmla="*/ 3213304 h 4077840"/>
                  <a:gd name="connsiteX373" fmla="*/ 1178354 w 12084394"/>
                  <a:gd name="connsiteY373" fmla="*/ 3078629 h 4077840"/>
                  <a:gd name="connsiteX374" fmla="*/ 666484 w 12084394"/>
                  <a:gd name="connsiteY374" fmla="*/ 3078629 h 4077840"/>
                  <a:gd name="connsiteX375" fmla="*/ 801157 w 12084394"/>
                  <a:gd name="connsiteY375" fmla="*/ 3213304 h 4077840"/>
                  <a:gd name="connsiteX376" fmla="*/ 666484 w 12084394"/>
                  <a:gd name="connsiteY376" fmla="*/ 3347979 h 4077840"/>
                  <a:gd name="connsiteX377" fmla="*/ 531810 w 12084394"/>
                  <a:gd name="connsiteY377" fmla="*/ 3213304 h 4077840"/>
                  <a:gd name="connsiteX378" fmla="*/ 666484 w 12084394"/>
                  <a:gd name="connsiteY378" fmla="*/ 3078629 h 4077840"/>
                  <a:gd name="connsiteX379" fmla="*/ 154426 w 12084394"/>
                  <a:gd name="connsiteY379" fmla="*/ 3078629 h 4077840"/>
                  <a:gd name="connsiteX380" fmla="*/ 289099 w 12084394"/>
                  <a:gd name="connsiteY380" fmla="*/ 3213304 h 4077840"/>
                  <a:gd name="connsiteX381" fmla="*/ 154426 w 12084394"/>
                  <a:gd name="connsiteY381" fmla="*/ 3347979 h 4077840"/>
                  <a:gd name="connsiteX382" fmla="*/ 19752 w 12084394"/>
                  <a:gd name="connsiteY382" fmla="*/ 3213304 h 4077840"/>
                  <a:gd name="connsiteX383" fmla="*/ 154426 w 12084394"/>
                  <a:gd name="connsiteY383" fmla="*/ 3078629 h 4077840"/>
                  <a:gd name="connsiteX384" fmla="*/ 11929965 w 12084394"/>
                  <a:gd name="connsiteY384" fmla="*/ 2638717 h 4077840"/>
                  <a:gd name="connsiteX385" fmla="*/ 12050474 w 12084394"/>
                  <a:gd name="connsiteY385" fmla="*/ 2759225 h 4077840"/>
                  <a:gd name="connsiteX386" fmla="*/ 11929965 w 12084394"/>
                  <a:gd name="connsiteY386" fmla="*/ 2879734 h 4077840"/>
                  <a:gd name="connsiteX387" fmla="*/ 11809457 w 12084394"/>
                  <a:gd name="connsiteY387" fmla="*/ 2759225 h 4077840"/>
                  <a:gd name="connsiteX388" fmla="*/ 11929965 w 12084394"/>
                  <a:gd name="connsiteY388" fmla="*/ 2638717 h 4077840"/>
                  <a:gd name="connsiteX389" fmla="*/ 11417900 w 12084394"/>
                  <a:gd name="connsiteY389" fmla="*/ 2638717 h 4077840"/>
                  <a:gd name="connsiteX390" fmla="*/ 11538408 w 12084394"/>
                  <a:gd name="connsiteY390" fmla="*/ 2759225 h 4077840"/>
                  <a:gd name="connsiteX391" fmla="*/ 11417900 w 12084394"/>
                  <a:gd name="connsiteY391" fmla="*/ 2879734 h 4077840"/>
                  <a:gd name="connsiteX392" fmla="*/ 11297391 w 12084394"/>
                  <a:gd name="connsiteY392" fmla="*/ 2759225 h 4077840"/>
                  <a:gd name="connsiteX393" fmla="*/ 11417900 w 12084394"/>
                  <a:gd name="connsiteY393" fmla="*/ 2638717 h 4077840"/>
                  <a:gd name="connsiteX394" fmla="*/ 10906022 w 12084394"/>
                  <a:gd name="connsiteY394" fmla="*/ 2638717 h 4077840"/>
                  <a:gd name="connsiteX395" fmla="*/ 11026530 w 12084394"/>
                  <a:gd name="connsiteY395" fmla="*/ 2759225 h 4077840"/>
                  <a:gd name="connsiteX396" fmla="*/ 10906022 w 12084394"/>
                  <a:gd name="connsiteY396" fmla="*/ 2879734 h 4077840"/>
                  <a:gd name="connsiteX397" fmla="*/ 10785513 w 12084394"/>
                  <a:gd name="connsiteY397" fmla="*/ 2759225 h 4077840"/>
                  <a:gd name="connsiteX398" fmla="*/ 10906022 w 12084394"/>
                  <a:gd name="connsiteY398" fmla="*/ 2638717 h 4077840"/>
                  <a:gd name="connsiteX399" fmla="*/ 10393956 w 12084394"/>
                  <a:gd name="connsiteY399" fmla="*/ 2638717 h 4077840"/>
                  <a:gd name="connsiteX400" fmla="*/ 10514465 w 12084394"/>
                  <a:gd name="connsiteY400" fmla="*/ 2759225 h 4077840"/>
                  <a:gd name="connsiteX401" fmla="*/ 10393956 w 12084394"/>
                  <a:gd name="connsiteY401" fmla="*/ 2879734 h 4077840"/>
                  <a:gd name="connsiteX402" fmla="*/ 10273448 w 12084394"/>
                  <a:gd name="connsiteY402" fmla="*/ 2759225 h 4077840"/>
                  <a:gd name="connsiteX403" fmla="*/ 10393956 w 12084394"/>
                  <a:gd name="connsiteY403" fmla="*/ 2638717 h 4077840"/>
                  <a:gd name="connsiteX404" fmla="*/ 9882080 w 12084394"/>
                  <a:gd name="connsiteY404" fmla="*/ 2638717 h 4077840"/>
                  <a:gd name="connsiteX405" fmla="*/ 10002588 w 12084394"/>
                  <a:gd name="connsiteY405" fmla="*/ 2759225 h 4077840"/>
                  <a:gd name="connsiteX406" fmla="*/ 9882080 w 12084394"/>
                  <a:gd name="connsiteY406" fmla="*/ 2879734 h 4077840"/>
                  <a:gd name="connsiteX407" fmla="*/ 9761571 w 12084394"/>
                  <a:gd name="connsiteY407" fmla="*/ 2759225 h 4077840"/>
                  <a:gd name="connsiteX408" fmla="*/ 9882080 w 12084394"/>
                  <a:gd name="connsiteY408" fmla="*/ 2638717 h 4077840"/>
                  <a:gd name="connsiteX409" fmla="*/ 9370013 w 12084394"/>
                  <a:gd name="connsiteY409" fmla="*/ 2638717 h 4077840"/>
                  <a:gd name="connsiteX410" fmla="*/ 9490522 w 12084394"/>
                  <a:gd name="connsiteY410" fmla="*/ 2759225 h 4077840"/>
                  <a:gd name="connsiteX411" fmla="*/ 9370013 w 12084394"/>
                  <a:gd name="connsiteY411" fmla="*/ 2879734 h 4077840"/>
                  <a:gd name="connsiteX412" fmla="*/ 9249505 w 12084394"/>
                  <a:gd name="connsiteY412" fmla="*/ 2759225 h 4077840"/>
                  <a:gd name="connsiteX413" fmla="*/ 9370013 w 12084394"/>
                  <a:gd name="connsiteY413" fmla="*/ 2638717 h 4077840"/>
                  <a:gd name="connsiteX414" fmla="*/ 8858136 w 12084394"/>
                  <a:gd name="connsiteY414" fmla="*/ 2638717 h 4077840"/>
                  <a:gd name="connsiteX415" fmla="*/ 8978645 w 12084394"/>
                  <a:gd name="connsiteY415" fmla="*/ 2759225 h 4077840"/>
                  <a:gd name="connsiteX416" fmla="*/ 8858136 w 12084394"/>
                  <a:gd name="connsiteY416" fmla="*/ 2879734 h 4077840"/>
                  <a:gd name="connsiteX417" fmla="*/ 8737628 w 12084394"/>
                  <a:gd name="connsiteY417" fmla="*/ 2759225 h 4077840"/>
                  <a:gd name="connsiteX418" fmla="*/ 8858136 w 12084394"/>
                  <a:gd name="connsiteY418" fmla="*/ 2638717 h 4077840"/>
                  <a:gd name="connsiteX419" fmla="*/ 8346070 w 12084394"/>
                  <a:gd name="connsiteY419" fmla="*/ 2638717 h 4077840"/>
                  <a:gd name="connsiteX420" fmla="*/ 8466579 w 12084394"/>
                  <a:gd name="connsiteY420" fmla="*/ 2759225 h 4077840"/>
                  <a:gd name="connsiteX421" fmla="*/ 8346070 w 12084394"/>
                  <a:gd name="connsiteY421" fmla="*/ 2879734 h 4077840"/>
                  <a:gd name="connsiteX422" fmla="*/ 8225562 w 12084394"/>
                  <a:gd name="connsiteY422" fmla="*/ 2759225 h 4077840"/>
                  <a:gd name="connsiteX423" fmla="*/ 8346070 w 12084394"/>
                  <a:gd name="connsiteY423" fmla="*/ 2638717 h 4077840"/>
                  <a:gd name="connsiteX424" fmla="*/ 7834193 w 12084394"/>
                  <a:gd name="connsiteY424" fmla="*/ 2638717 h 4077840"/>
                  <a:gd name="connsiteX425" fmla="*/ 7954702 w 12084394"/>
                  <a:gd name="connsiteY425" fmla="*/ 2759225 h 4077840"/>
                  <a:gd name="connsiteX426" fmla="*/ 7834193 w 12084394"/>
                  <a:gd name="connsiteY426" fmla="*/ 2879734 h 4077840"/>
                  <a:gd name="connsiteX427" fmla="*/ 7713685 w 12084394"/>
                  <a:gd name="connsiteY427" fmla="*/ 2759225 h 4077840"/>
                  <a:gd name="connsiteX428" fmla="*/ 7834193 w 12084394"/>
                  <a:gd name="connsiteY428" fmla="*/ 2638717 h 4077840"/>
                  <a:gd name="connsiteX429" fmla="*/ 7322127 w 12084394"/>
                  <a:gd name="connsiteY429" fmla="*/ 2638717 h 4077840"/>
                  <a:gd name="connsiteX430" fmla="*/ 7442635 w 12084394"/>
                  <a:gd name="connsiteY430" fmla="*/ 2759225 h 4077840"/>
                  <a:gd name="connsiteX431" fmla="*/ 7322127 w 12084394"/>
                  <a:gd name="connsiteY431" fmla="*/ 2879734 h 4077840"/>
                  <a:gd name="connsiteX432" fmla="*/ 7201619 w 12084394"/>
                  <a:gd name="connsiteY432" fmla="*/ 2759225 h 4077840"/>
                  <a:gd name="connsiteX433" fmla="*/ 7322127 w 12084394"/>
                  <a:gd name="connsiteY433" fmla="*/ 2638717 h 4077840"/>
                  <a:gd name="connsiteX434" fmla="*/ 6810061 w 12084394"/>
                  <a:gd name="connsiteY434" fmla="*/ 2638717 h 4077840"/>
                  <a:gd name="connsiteX435" fmla="*/ 6930570 w 12084394"/>
                  <a:gd name="connsiteY435" fmla="*/ 2759225 h 4077840"/>
                  <a:gd name="connsiteX436" fmla="*/ 6810061 w 12084394"/>
                  <a:gd name="connsiteY436" fmla="*/ 2879734 h 4077840"/>
                  <a:gd name="connsiteX437" fmla="*/ 6689553 w 12084394"/>
                  <a:gd name="connsiteY437" fmla="*/ 2759225 h 4077840"/>
                  <a:gd name="connsiteX438" fmla="*/ 6810061 w 12084394"/>
                  <a:gd name="connsiteY438" fmla="*/ 2638717 h 4077840"/>
                  <a:gd name="connsiteX439" fmla="*/ 6298184 w 12084394"/>
                  <a:gd name="connsiteY439" fmla="*/ 2638717 h 4077840"/>
                  <a:gd name="connsiteX440" fmla="*/ 6418693 w 12084394"/>
                  <a:gd name="connsiteY440" fmla="*/ 2759225 h 4077840"/>
                  <a:gd name="connsiteX441" fmla="*/ 6298184 w 12084394"/>
                  <a:gd name="connsiteY441" fmla="*/ 2879734 h 4077840"/>
                  <a:gd name="connsiteX442" fmla="*/ 6177677 w 12084394"/>
                  <a:gd name="connsiteY442" fmla="*/ 2759225 h 4077840"/>
                  <a:gd name="connsiteX443" fmla="*/ 6298184 w 12084394"/>
                  <a:gd name="connsiteY443" fmla="*/ 2638717 h 4077840"/>
                  <a:gd name="connsiteX444" fmla="*/ 5786126 w 12084394"/>
                  <a:gd name="connsiteY444" fmla="*/ 2638717 h 4077840"/>
                  <a:gd name="connsiteX445" fmla="*/ 5906628 w 12084394"/>
                  <a:gd name="connsiteY445" fmla="*/ 2759225 h 4077840"/>
                  <a:gd name="connsiteX446" fmla="*/ 5786126 w 12084394"/>
                  <a:gd name="connsiteY446" fmla="*/ 2879734 h 4077840"/>
                  <a:gd name="connsiteX447" fmla="*/ 5665623 w 12084394"/>
                  <a:gd name="connsiteY447" fmla="*/ 2759225 h 4077840"/>
                  <a:gd name="connsiteX448" fmla="*/ 5786126 w 12084394"/>
                  <a:gd name="connsiteY448" fmla="*/ 2638717 h 4077840"/>
                  <a:gd name="connsiteX449" fmla="*/ 5274270 w 12084394"/>
                  <a:gd name="connsiteY449" fmla="*/ 2638717 h 4077840"/>
                  <a:gd name="connsiteX450" fmla="*/ 5394775 w 12084394"/>
                  <a:gd name="connsiteY450" fmla="*/ 2759225 h 4077840"/>
                  <a:gd name="connsiteX451" fmla="*/ 5274270 w 12084394"/>
                  <a:gd name="connsiteY451" fmla="*/ 2879734 h 4077840"/>
                  <a:gd name="connsiteX452" fmla="*/ 5153767 w 12084394"/>
                  <a:gd name="connsiteY452" fmla="*/ 2759225 h 4077840"/>
                  <a:gd name="connsiteX453" fmla="*/ 5274270 w 12084394"/>
                  <a:gd name="connsiteY453" fmla="*/ 2638717 h 4077840"/>
                  <a:gd name="connsiteX454" fmla="*/ 4762180 w 12084394"/>
                  <a:gd name="connsiteY454" fmla="*/ 2638717 h 4077840"/>
                  <a:gd name="connsiteX455" fmla="*/ 4882728 w 12084394"/>
                  <a:gd name="connsiteY455" fmla="*/ 2759225 h 4077840"/>
                  <a:gd name="connsiteX456" fmla="*/ 4762180 w 12084394"/>
                  <a:gd name="connsiteY456" fmla="*/ 2879734 h 4077840"/>
                  <a:gd name="connsiteX457" fmla="*/ 4641689 w 12084394"/>
                  <a:gd name="connsiteY457" fmla="*/ 2759225 h 4077840"/>
                  <a:gd name="connsiteX458" fmla="*/ 4762180 w 12084394"/>
                  <a:gd name="connsiteY458" fmla="*/ 2638717 h 4077840"/>
                  <a:gd name="connsiteX459" fmla="*/ 4250316 w 12084394"/>
                  <a:gd name="connsiteY459" fmla="*/ 2638717 h 4077840"/>
                  <a:gd name="connsiteX460" fmla="*/ 4370831 w 12084394"/>
                  <a:gd name="connsiteY460" fmla="*/ 2759225 h 4077840"/>
                  <a:gd name="connsiteX461" fmla="*/ 4250316 w 12084394"/>
                  <a:gd name="connsiteY461" fmla="*/ 2879734 h 4077840"/>
                  <a:gd name="connsiteX462" fmla="*/ 4129855 w 12084394"/>
                  <a:gd name="connsiteY462" fmla="*/ 2759225 h 4077840"/>
                  <a:gd name="connsiteX463" fmla="*/ 4250316 w 12084394"/>
                  <a:gd name="connsiteY463" fmla="*/ 2638717 h 4077840"/>
                  <a:gd name="connsiteX464" fmla="*/ 3738287 w 12084394"/>
                  <a:gd name="connsiteY464" fmla="*/ 2638717 h 4077840"/>
                  <a:gd name="connsiteX465" fmla="*/ 3858795 w 12084394"/>
                  <a:gd name="connsiteY465" fmla="*/ 2759225 h 4077840"/>
                  <a:gd name="connsiteX466" fmla="*/ 3738287 w 12084394"/>
                  <a:gd name="connsiteY466" fmla="*/ 2879734 h 4077840"/>
                  <a:gd name="connsiteX467" fmla="*/ 3617773 w 12084394"/>
                  <a:gd name="connsiteY467" fmla="*/ 2759225 h 4077840"/>
                  <a:gd name="connsiteX468" fmla="*/ 3738287 w 12084394"/>
                  <a:gd name="connsiteY468" fmla="*/ 2638717 h 4077840"/>
                  <a:gd name="connsiteX469" fmla="*/ 3226242 w 12084394"/>
                  <a:gd name="connsiteY469" fmla="*/ 2638717 h 4077840"/>
                  <a:gd name="connsiteX470" fmla="*/ 3346764 w 12084394"/>
                  <a:gd name="connsiteY470" fmla="*/ 2759225 h 4077840"/>
                  <a:gd name="connsiteX471" fmla="*/ 3226242 w 12084394"/>
                  <a:gd name="connsiteY471" fmla="*/ 2879734 h 4077840"/>
                  <a:gd name="connsiteX472" fmla="*/ 3105731 w 12084394"/>
                  <a:gd name="connsiteY472" fmla="*/ 2759225 h 4077840"/>
                  <a:gd name="connsiteX473" fmla="*/ 3226242 w 12084394"/>
                  <a:gd name="connsiteY473" fmla="*/ 2638717 h 4077840"/>
                  <a:gd name="connsiteX474" fmla="*/ 2714362 w 12084394"/>
                  <a:gd name="connsiteY474" fmla="*/ 2638717 h 4077840"/>
                  <a:gd name="connsiteX475" fmla="*/ 2834873 w 12084394"/>
                  <a:gd name="connsiteY475" fmla="*/ 2759225 h 4077840"/>
                  <a:gd name="connsiteX476" fmla="*/ 2714362 w 12084394"/>
                  <a:gd name="connsiteY476" fmla="*/ 2879734 h 4077840"/>
                  <a:gd name="connsiteX477" fmla="*/ 2593854 w 12084394"/>
                  <a:gd name="connsiteY477" fmla="*/ 2759225 h 4077840"/>
                  <a:gd name="connsiteX478" fmla="*/ 2714362 w 12084394"/>
                  <a:gd name="connsiteY478" fmla="*/ 2638717 h 4077840"/>
                  <a:gd name="connsiteX479" fmla="*/ 2202306 w 12084394"/>
                  <a:gd name="connsiteY479" fmla="*/ 2638717 h 4077840"/>
                  <a:gd name="connsiteX480" fmla="*/ 2322813 w 12084394"/>
                  <a:gd name="connsiteY480" fmla="*/ 2759225 h 4077840"/>
                  <a:gd name="connsiteX481" fmla="*/ 2202306 w 12084394"/>
                  <a:gd name="connsiteY481" fmla="*/ 2879734 h 4077840"/>
                  <a:gd name="connsiteX482" fmla="*/ 2081795 w 12084394"/>
                  <a:gd name="connsiteY482" fmla="*/ 2759225 h 4077840"/>
                  <a:gd name="connsiteX483" fmla="*/ 2202306 w 12084394"/>
                  <a:gd name="connsiteY483" fmla="*/ 2638717 h 4077840"/>
                  <a:gd name="connsiteX484" fmla="*/ 1690412 w 12084394"/>
                  <a:gd name="connsiteY484" fmla="*/ 2638717 h 4077840"/>
                  <a:gd name="connsiteX485" fmla="*/ 1810920 w 12084394"/>
                  <a:gd name="connsiteY485" fmla="*/ 2759225 h 4077840"/>
                  <a:gd name="connsiteX486" fmla="*/ 1690412 w 12084394"/>
                  <a:gd name="connsiteY486" fmla="*/ 2879734 h 4077840"/>
                  <a:gd name="connsiteX487" fmla="*/ 1569905 w 12084394"/>
                  <a:gd name="connsiteY487" fmla="*/ 2759225 h 4077840"/>
                  <a:gd name="connsiteX488" fmla="*/ 1690412 w 12084394"/>
                  <a:gd name="connsiteY488" fmla="*/ 2638717 h 4077840"/>
                  <a:gd name="connsiteX489" fmla="*/ 1178354 w 12084394"/>
                  <a:gd name="connsiteY489" fmla="*/ 2638717 h 4077840"/>
                  <a:gd name="connsiteX490" fmla="*/ 1298862 w 12084394"/>
                  <a:gd name="connsiteY490" fmla="*/ 2759225 h 4077840"/>
                  <a:gd name="connsiteX491" fmla="*/ 1178354 w 12084394"/>
                  <a:gd name="connsiteY491" fmla="*/ 2879734 h 4077840"/>
                  <a:gd name="connsiteX492" fmla="*/ 1057846 w 12084394"/>
                  <a:gd name="connsiteY492" fmla="*/ 2759225 h 4077840"/>
                  <a:gd name="connsiteX493" fmla="*/ 1178354 w 12084394"/>
                  <a:gd name="connsiteY493" fmla="*/ 2638717 h 4077840"/>
                  <a:gd name="connsiteX494" fmla="*/ 666483 w 12084394"/>
                  <a:gd name="connsiteY494" fmla="*/ 2638717 h 4077840"/>
                  <a:gd name="connsiteX495" fmla="*/ 786991 w 12084394"/>
                  <a:gd name="connsiteY495" fmla="*/ 2759225 h 4077840"/>
                  <a:gd name="connsiteX496" fmla="*/ 666483 w 12084394"/>
                  <a:gd name="connsiteY496" fmla="*/ 2879734 h 4077840"/>
                  <a:gd name="connsiteX497" fmla="*/ 545976 w 12084394"/>
                  <a:gd name="connsiteY497" fmla="*/ 2759225 h 4077840"/>
                  <a:gd name="connsiteX498" fmla="*/ 666483 w 12084394"/>
                  <a:gd name="connsiteY498" fmla="*/ 2638717 h 4077840"/>
                  <a:gd name="connsiteX499" fmla="*/ 154426 w 12084394"/>
                  <a:gd name="connsiteY499" fmla="*/ 2638717 h 4077840"/>
                  <a:gd name="connsiteX500" fmla="*/ 274934 w 12084394"/>
                  <a:gd name="connsiteY500" fmla="*/ 2759225 h 4077840"/>
                  <a:gd name="connsiteX501" fmla="*/ 154426 w 12084394"/>
                  <a:gd name="connsiteY501" fmla="*/ 2879734 h 4077840"/>
                  <a:gd name="connsiteX502" fmla="*/ 33919 w 12084394"/>
                  <a:gd name="connsiteY502" fmla="*/ 2759225 h 4077840"/>
                  <a:gd name="connsiteX503" fmla="*/ 154426 w 12084394"/>
                  <a:gd name="connsiteY503" fmla="*/ 2638717 h 4077840"/>
                  <a:gd name="connsiteX504" fmla="*/ 11929965 w 12084394"/>
                  <a:gd name="connsiteY504" fmla="*/ 2198994 h 4077840"/>
                  <a:gd name="connsiteX505" fmla="*/ 12036118 w 12084394"/>
                  <a:gd name="connsiteY505" fmla="*/ 2305147 h 4077840"/>
                  <a:gd name="connsiteX506" fmla="*/ 11929965 w 12084394"/>
                  <a:gd name="connsiteY506" fmla="*/ 2411300 h 4077840"/>
                  <a:gd name="connsiteX507" fmla="*/ 11823812 w 12084394"/>
                  <a:gd name="connsiteY507" fmla="*/ 2305147 h 4077840"/>
                  <a:gd name="connsiteX508" fmla="*/ 11929965 w 12084394"/>
                  <a:gd name="connsiteY508" fmla="*/ 2198994 h 4077840"/>
                  <a:gd name="connsiteX509" fmla="*/ 11417900 w 12084394"/>
                  <a:gd name="connsiteY509" fmla="*/ 2198994 h 4077840"/>
                  <a:gd name="connsiteX510" fmla="*/ 11524053 w 12084394"/>
                  <a:gd name="connsiteY510" fmla="*/ 2305147 h 4077840"/>
                  <a:gd name="connsiteX511" fmla="*/ 11417900 w 12084394"/>
                  <a:gd name="connsiteY511" fmla="*/ 2411300 h 4077840"/>
                  <a:gd name="connsiteX512" fmla="*/ 11311747 w 12084394"/>
                  <a:gd name="connsiteY512" fmla="*/ 2305147 h 4077840"/>
                  <a:gd name="connsiteX513" fmla="*/ 11417900 w 12084394"/>
                  <a:gd name="connsiteY513" fmla="*/ 2198994 h 4077840"/>
                  <a:gd name="connsiteX514" fmla="*/ 10906023 w 12084394"/>
                  <a:gd name="connsiteY514" fmla="*/ 2198994 h 4077840"/>
                  <a:gd name="connsiteX515" fmla="*/ 11012176 w 12084394"/>
                  <a:gd name="connsiteY515" fmla="*/ 2305147 h 4077840"/>
                  <a:gd name="connsiteX516" fmla="*/ 10906023 w 12084394"/>
                  <a:gd name="connsiteY516" fmla="*/ 2411300 h 4077840"/>
                  <a:gd name="connsiteX517" fmla="*/ 10799870 w 12084394"/>
                  <a:gd name="connsiteY517" fmla="*/ 2305147 h 4077840"/>
                  <a:gd name="connsiteX518" fmla="*/ 10906023 w 12084394"/>
                  <a:gd name="connsiteY518" fmla="*/ 2198994 h 4077840"/>
                  <a:gd name="connsiteX519" fmla="*/ 10393957 w 12084394"/>
                  <a:gd name="connsiteY519" fmla="*/ 2198994 h 4077840"/>
                  <a:gd name="connsiteX520" fmla="*/ 10500110 w 12084394"/>
                  <a:gd name="connsiteY520" fmla="*/ 2305147 h 4077840"/>
                  <a:gd name="connsiteX521" fmla="*/ 10393957 w 12084394"/>
                  <a:gd name="connsiteY521" fmla="*/ 2411300 h 4077840"/>
                  <a:gd name="connsiteX522" fmla="*/ 10287804 w 12084394"/>
                  <a:gd name="connsiteY522" fmla="*/ 2305147 h 4077840"/>
                  <a:gd name="connsiteX523" fmla="*/ 10393957 w 12084394"/>
                  <a:gd name="connsiteY523" fmla="*/ 2198994 h 4077840"/>
                  <a:gd name="connsiteX524" fmla="*/ 9882079 w 12084394"/>
                  <a:gd name="connsiteY524" fmla="*/ 2198994 h 4077840"/>
                  <a:gd name="connsiteX525" fmla="*/ 9988232 w 12084394"/>
                  <a:gd name="connsiteY525" fmla="*/ 2305147 h 4077840"/>
                  <a:gd name="connsiteX526" fmla="*/ 9882079 w 12084394"/>
                  <a:gd name="connsiteY526" fmla="*/ 2411300 h 4077840"/>
                  <a:gd name="connsiteX527" fmla="*/ 9775926 w 12084394"/>
                  <a:gd name="connsiteY527" fmla="*/ 2305147 h 4077840"/>
                  <a:gd name="connsiteX528" fmla="*/ 9882079 w 12084394"/>
                  <a:gd name="connsiteY528" fmla="*/ 2198994 h 4077840"/>
                  <a:gd name="connsiteX529" fmla="*/ 9370014 w 12084394"/>
                  <a:gd name="connsiteY529" fmla="*/ 2198994 h 4077840"/>
                  <a:gd name="connsiteX530" fmla="*/ 9476167 w 12084394"/>
                  <a:gd name="connsiteY530" fmla="*/ 2305147 h 4077840"/>
                  <a:gd name="connsiteX531" fmla="*/ 9370014 w 12084394"/>
                  <a:gd name="connsiteY531" fmla="*/ 2411300 h 4077840"/>
                  <a:gd name="connsiteX532" fmla="*/ 9263861 w 12084394"/>
                  <a:gd name="connsiteY532" fmla="*/ 2305147 h 4077840"/>
                  <a:gd name="connsiteX533" fmla="*/ 9370014 w 12084394"/>
                  <a:gd name="connsiteY533" fmla="*/ 2198994 h 4077840"/>
                  <a:gd name="connsiteX534" fmla="*/ 8858136 w 12084394"/>
                  <a:gd name="connsiteY534" fmla="*/ 2198994 h 4077840"/>
                  <a:gd name="connsiteX535" fmla="*/ 8964289 w 12084394"/>
                  <a:gd name="connsiteY535" fmla="*/ 2305147 h 4077840"/>
                  <a:gd name="connsiteX536" fmla="*/ 8858136 w 12084394"/>
                  <a:gd name="connsiteY536" fmla="*/ 2411300 h 4077840"/>
                  <a:gd name="connsiteX537" fmla="*/ 8751983 w 12084394"/>
                  <a:gd name="connsiteY537" fmla="*/ 2305147 h 4077840"/>
                  <a:gd name="connsiteX538" fmla="*/ 8858136 w 12084394"/>
                  <a:gd name="connsiteY538" fmla="*/ 2198994 h 4077840"/>
                  <a:gd name="connsiteX539" fmla="*/ 8346071 w 12084394"/>
                  <a:gd name="connsiteY539" fmla="*/ 2198994 h 4077840"/>
                  <a:gd name="connsiteX540" fmla="*/ 8452224 w 12084394"/>
                  <a:gd name="connsiteY540" fmla="*/ 2305147 h 4077840"/>
                  <a:gd name="connsiteX541" fmla="*/ 8346071 w 12084394"/>
                  <a:gd name="connsiteY541" fmla="*/ 2411300 h 4077840"/>
                  <a:gd name="connsiteX542" fmla="*/ 8239918 w 12084394"/>
                  <a:gd name="connsiteY542" fmla="*/ 2305147 h 4077840"/>
                  <a:gd name="connsiteX543" fmla="*/ 8346071 w 12084394"/>
                  <a:gd name="connsiteY543" fmla="*/ 2198994 h 4077840"/>
                  <a:gd name="connsiteX544" fmla="*/ 7834194 w 12084394"/>
                  <a:gd name="connsiteY544" fmla="*/ 2198994 h 4077840"/>
                  <a:gd name="connsiteX545" fmla="*/ 7940347 w 12084394"/>
                  <a:gd name="connsiteY545" fmla="*/ 2305147 h 4077840"/>
                  <a:gd name="connsiteX546" fmla="*/ 7834194 w 12084394"/>
                  <a:gd name="connsiteY546" fmla="*/ 2411300 h 4077840"/>
                  <a:gd name="connsiteX547" fmla="*/ 7728041 w 12084394"/>
                  <a:gd name="connsiteY547" fmla="*/ 2305147 h 4077840"/>
                  <a:gd name="connsiteX548" fmla="*/ 7834194 w 12084394"/>
                  <a:gd name="connsiteY548" fmla="*/ 2198994 h 4077840"/>
                  <a:gd name="connsiteX549" fmla="*/ 7322128 w 12084394"/>
                  <a:gd name="connsiteY549" fmla="*/ 2198994 h 4077840"/>
                  <a:gd name="connsiteX550" fmla="*/ 7428281 w 12084394"/>
                  <a:gd name="connsiteY550" fmla="*/ 2305147 h 4077840"/>
                  <a:gd name="connsiteX551" fmla="*/ 7322128 w 12084394"/>
                  <a:gd name="connsiteY551" fmla="*/ 2411300 h 4077840"/>
                  <a:gd name="connsiteX552" fmla="*/ 7215975 w 12084394"/>
                  <a:gd name="connsiteY552" fmla="*/ 2305147 h 4077840"/>
                  <a:gd name="connsiteX553" fmla="*/ 7322128 w 12084394"/>
                  <a:gd name="connsiteY553" fmla="*/ 2198994 h 4077840"/>
                  <a:gd name="connsiteX554" fmla="*/ 6810062 w 12084394"/>
                  <a:gd name="connsiteY554" fmla="*/ 2198994 h 4077840"/>
                  <a:gd name="connsiteX555" fmla="*/ 6916215 w 12084394"/>
                  <a:gd name="connsiteY555" fmla="*/ 2305147 h 4077840"/>
                  <a:gd name="connsiteX556" fmla="*/ 6810062 w 12084394"/>
                  <a:gd name="connsiteY556" fmla="*/ 2411300 h 4077840"/>
                  <a:gd name="connsiteX557" fmla="*/ 6703909 w 12084394"/>
                  <a:gd name="connsiteY557" fmla="*/ 2305147 h 4077840"/>
                  <a:gd name="connsiteX558" fmla="*/ 6810062 w 12084394"/>
                  <a:gd name="connsiteY558" fmla="*/ 2198994 h 4077840"/>
                  <a:gd name="connsiteX559" fmla="*/ 6298186 w 12084394"/>
                  <a:gd name="connsiteY559" fmla="*/ 2198994 h 4077840"/>
                  <a:gd name="connsiteX560" fmla="*/ 6404338 w 12084394"/>
                  <a:gd name="connsiteY560" fmla="*/ 2305147 h 4077840"/>
                  <a:gd name="connsiteX561" fmla="*/ 6298186 w 12084394"/>
                  <a:gd name="connsiteY561" fmla="*/ 2411300 h 4077840"/>
                  <a:gd name="connsiteX562" fmla="*/ 6192032 w 12084394"/>
                  <a:gd name="connsiteY562" fmla="*/ 2305147 h 4077840"/>
                  <a:gd name="connsiteX563" fmla="*/ 6298186 w 12084394"/>
                  <a:gd name="connsiteY563" fmla="*/ 2198994 h 4077840"/>
                  <a:gd name="connsiteX564" fmla="*/ 5786126 w 12084394"/>
                  <a:gd name="connsiteY564" fmla="*/ 2198994 h 4077840"/>
                  <a:gd name="connsiteX565" fmla="*/ 5892275 w 12084394"/>
                  <a:gd name="connsiteY565" fmla="*/ 2305147 h 4077840"/>
                  <a:gd name="connsiteX566" fmla="*/ 5786126 w 12084394"/>
                  <a:gd name="connsiteY566" fmla="*/ 2411300 h 4077840"/>
                  <a:gd name="connsiteX567" fmla="*/ 5679979 w 12084394"/>
                  <a:gd name="connsiteY567" fmla="*/ 2305147 h 4077840"/>
                  <a:gd name="connsiteX568" fmla="*/ 5786126 w 12084394"/>
                  <a:gd name="connsiteY568" fmla="*/ 2198994 h 4077840"/>
                  <a:gd name="connsiteX569" fmla="*/ 5274270 w 12084394"/>
                  <a:gd name="connsiteY569" fmla="*/ 2198994 h 4077840"/>
                  <a:gd name="connsiteX570" fmla="*/ 5380420 w 12084394"/>
                  <a:gd name="connsiteY570" fmla="*/ 2305147 h 4077840"/>
                  <a:gd name="connsiteX571" fmla="*/ 5274270 w 12084394"/>
                  <a:gd name="connsiteY571" fmla="*/ 2411300 h 4077840"/>
                  <a:gd name="connsiteX572" fmla="*/ 5168119 w 12084394"/>
                  <a:gd name="connsiteY572" fmla="*/ 2305147 h 4077840"/>
                  <a:gd name="connsiteX573" fmla="*/ 5274270 w 12084394"/>
                  <a:gd name="connsiteY573" fmla="*/ 2198994 h 4077840"/>
                  <a:gd name="connsiteX574" fmla="*/ 4762180 w 12084394"/>
                  <a:gd name="connsiteY574" fmla="*/ 2198994 h 4077840"/>
                  <a:gd name="connsiteX575" fmla="*/ 4868369 w 12084394"/>
                  <a:gd name="connsiteY575" fmla="*/ 2305147 h 4077840"/>
                  <a:gd name="connsiteX576" fmla="*/ 4762180 w 12084394"/>
                  <a:gd name="connsiteY576" fmla="*/ 2411300 h 4077840"/>
                  <a:gd name="connsiteX577" fmla="*/ 4656043 w 12084394"/>
                  <a:gd name="connsiteY577" fmla="*/ 2305147 h 4077840"/>
                  <a:gd name="connsiteX578" fmla="*/ 4762180 w 12084394"/>
                  <a:gd name="connsiteY578" fmla="*/ 2198994 h 4077840"/>
                  <a:gd name="connsiteX579" fmla="*/ 4250316 w 12084394"/>
                  <a:gd name="connsiteY579" fmla="*/ 2198994 h 4077840"/>
                  <a:gd name="connsiteX580" fmla="*/ 4356476 w 12084394"/>
                  <a:gd name="connsiteY580" fmla="*/ 2305147 h 4077840"/>
                  <a:gd name="connsiteX581" fmla="*/ 4250316 w 12084394"/>
                  <a:gd name="connsiteY581" fmla="*/ 2411300 h 4077840"/>
                  <a:gd name="connsiteX582" fmla="*/ 4144156 w 12084394"/>
                  <a:gd name="connsiteY582" fmla="*/ 2305147 h 4077840"/>
                  <a:gd name="connsiteX583" fmla="*/ 4250316 w 12084394"/>
                  <a:gd name="connsiteY583" fmla="*/ 2198994 h 4077840"/>
                  <a:gd name="connsiteX584" fmla="*/ 3738289 w 12084394"/>
                  <a:gd name="connsiteY584" fmla="*/ 2198994 h 4077840"/>
                  <a:gd name="connsiteX585" fmla="*/ 3844442 w 12084394"/>
                  <a:gd name="connsiteY585" fmla="*/ 2305147 h 4077840"/>
                  <a:gd name="connsiteX586" fmla="*/ 3738289 w 12084394"/>
                  <a:gd name="connsiteY586" fmla="*/ 2411300 h 4077840"/>
                  <a:gd name="connsiteX587" fmla="*/ 3632128 w 12084394"/>
                  <a:gd name="connsiteY587" fmla="*/ 2305147 h 4077840"/>
                  <a:gd name="connsiteX588" fmla="*/ 3738289 w 12084394"/>
                  <a:gd name="connsiteY588" fmla="*/ 2198994 h 4077840"/>
                  <a:gd name="connsiteX589" fmla="*/ 3226242 w 12084394"/>
                  <a:gd name="connsiteY589" fmla="*/ 2198994 h 4077840"/>
                  <a:gd name="connsiteX590" fmla="*/ 3332405 w 12084394"/>
                  <a:gd name="connsiteY590" fmla="*/ 2305147 h 4077840"/>
                  <a:gd name="connsiteX591" fmla="*/ 3226242 w 12084394"/>
                  <a:gd name="connsiteY591" fmla="*/ 2411300 h 4077840"/>
                  <a:gd name="connsiteX592" fmla="*/ 3120089 w 12084394"/>
                  <a:gd name="connsiteY592" fmla="*/ 2305147 h 4077840"/>
                  <a:gd name="connsiteX593" fmla="*/ 3226242 w 12084394"/>
                  <a:gd name="connsiteY593" fmla="*/ 2198994 h 4077840"/>
                  <a:gd name="connsiteX594" fmla="*/ 2714363 w 12084394"/>
                  <a:gd name="connsiteY594" fmla="*/ 2198994 h 4077840"/>
                  <a:gd name="connsiteX595" fmla="*/ 2820518 w 12084394"/>
                  <a:gd name="connsiteY595" fmla="*/ 2305147 h 4077840"/>
                  <a:gd name="connsiteX596" fmla="*/ 2714363 w 12084394"/>
                  <a:gd name="connsiteY596" fmla="*/ 2411300 h 4077840"/>
                  <a:gd name="connsiteX597" fmla="*/ 2608208 w 12084394"/>
                  <a:gd name="connsiteY597" fmla="*/ 2305147 h 4077840"/>
                  <a:gd name="connsiteX598" fmla="*/ 2714363 w 12084394"/>
                  <a:gd name="connsiteY598" fmla="*/ 2198994 h 4077840"/>
                  <a:gd name="connsiteX599" fmla="*/ 2202306 w 12084394"/>
                  <a:gd name="connsiteY599" fmla="*/ 2198994 h 4077840"/>
                  <a:gd name="connsiteX600" fmla="*/ 2308457 w 12084394"/>
                  <a:gd name="connsiteY600" fmla="*/ 2305147 h 4077840"/>
                  <a:gd name="connsiteX601" fmla="*/ 2202306 w 12084394"/>
                  <a:gd name="connsiteY601" fmla="*/ 2411300 h 4077840"/>
                  <a:gd name="connsiteX602" fmla="*/ 2096153 w 12084394"/>
                  <a:gd name="connsiteY602" fmla="*/ 2305147 h 4077840"/>
                  <a:gd name="connsiteX603" fmla="*/ 2202306 w 12084394"/>
                  <a:gd name="connsiteY603" fmla="*/ 2198994 h 4077840"/>
                  <a:gd name="connsiteX604" fmla="*/ 1690413 w 12084394"/>
                  <a:gd name="connsiteY604" fmla="*/ 2198994 h 4077840"/>
                  <a:gd name="connsiteX605" fmla="*/ 1796565 w 12084394"/>
                  <a:gd name="connsiteY605" fmla="*/ 2305147 h 4077840"/>
                  <a:gd name="connsiteX606" fmla="*/ 1690413 w 12084394"/>
                  <a:gd name="connsiteY606" fmla="*/ 2411300 h 4077840"/>
                  <a:gd name="connsiteX607" fmla="*/ 1584260 w 12084394"/>
                  <a:gd name="connsiteY607" fmla="*/ 2305147 h 4077840"/>
                  <a:gd name="connsiteX608" fmla="*/ 1690413 w 12084394"/>
                  <a:gd name="connsiteY608" fmla="*/ 2198994 h 4077840"/>
                  <a:gd name="connsiteX609" fmla="*/ 1178353 w 12084394"/>
                  <a:gd name="connsiteY609" fmla="*/ 2198994 h 4077840"/>
                  <a:gd name="connsiteX610" fmla="*/ 1284506 w 12084394"/>
                  <a:gd name="connsiteY610" fmla="*/ 2305147 h 4077840"/>
                  <a:gd name="connsiteX611" fmla="*/ 1178353 w 12084394"/>
                  <a:gd name="connsiteY611" fmla="*/ 2411300 h 4077840"/>
                  <a:gd name="connsiteX612" fmla="*/ 1072201 w 12084394"/>
                  <a:gd name="connsiteY612" fmla="*/ 2305147 h 4077840"/>
                  <a:gd name="connsiteX613" fmla="*/ 1178353 w 12084394"/>
                  <a:gd name="connsiteY613" fmla="*/ 2198994 h 4077840"/>
                  <a:gd name="connsiteX614" fmla="*/ 666483 w 12084394"/>
                  <a:gd name="connsiteY614" fmla="*/ 2198994 h 4077840"/>
                  <a:gd name="connsiteX615" fmla="*/ 772636 w 12084394"/>
                  <a:gd name="connsiteY615" fmla="*/ 2305147 h 4077840"/>
                  <a:gd name="connsiteX616" fmla="*/ 666483 w 12084394"/>
                  <a:gd name="connsiteY616" fmla="*/ 2411300 h 4077840"/>
                  <a:gd name="connsiteX617" fmla="*/ 560331 w 12084394"/>
                  <a:gd name="connsiteY617" fmla="*/ 2305147 h 4077840"/>
                  <a:gd name="connsiteX618" fmla="*/ 666483 w 12084394"/>
                  <a:gd name="connsiteY618" fmla="*/ 2198994 h 4077840"/>
                  <a:gd name="connsiteX619" fmla="*/ 154426 w 12084394"/>
                  <a:gd name="connsiteY619" fmla="*/ 2198994 h 4077840"/>
                  <a:gd name="connsiteX620" fmla="*/ 260578 w 12084394"/>
                  <a:gd name="connsiteY620" fmla="*/ 2305147 h 4077840"/>
                  <a:gd name="connsiteX621" fmla="*/ 154426 w 12084394"/>
                  <a:gd name="connsiteY621" fmla="*/ 2411300 h 4077840"/>
                  <a:gd name="connsiteX622" fmla="*/ 48274 w 12084394"/>
                  <a:gd name="connsiteY622" fmla="*/ 2305147 h 4077840"/>
                  <a:gd name="connsiteX623" fmla="*/ 154426 w 12084394"/>
                  <a:gd name="connsiteY623" fmla="*/ 2198994 h 4077840"/>
                  <a:gd name="connsiteX624" fmla="*/ 11929966 w 12084394"/>
                  <a:gd name="connsiteY624" fmla="*/ 1759082 h 4077840"/>
                  <a:gd name="connsiteX625" fmla="*/ 12021952 w 12084394"/>
                  <a:gd name="connsiteY625" fmla="*/ 1851069 h 4077840"/>
                  <a:gd name="connsiteX626" fmla="*/ 11929966 w 12084394"/>
                  <a:gd name="connsiteY626" fmla="*/ 1943055 h 4077840"/>
                  <a:gd name="connsiteX627" fmla="*/ 11837979 w 12084394"/>
                  <a:gd name="connsiteY627" fmla="*/ 1851069 h 4077840"/>
                  <a:gd name="connsiteX628" fmla="*/ 11929966 w 12084394"/>
                  <a:gd name="connsiteY628" fmla="*/ 1759082 h 4077840"/>
                  <a:gd name="connsiteX629" fmla="*/ 11417900 w 12084394"/>
                  <a:gd name="connsiteY629" fmla="*/ 1759082 h 4077840"/>
                  <a:gd name="connsiteX630" fmla="*/ 11509887 w 12084394"/>
                  <a:gd name="connsiteY630" fmla="*/ 1851069 h 4077840"/>
                  <a:gd name="connsiteX631" fmla="*/ 11417900 w 12084394"/>
                  <a:gd name="connsiteY631" fmla="*/ 1943055 h 4077840"/>
                  <a:gd name="connsiteX632" fmla="*/ 11325913 w 12084394"/>
                  <a:gd name="connsiteY632" fmla="*/ 1851069 h 4077840"/>
                  <a:gd name="connsiteX633" fmla="*/ 11417900 w 12084394"/>
                  <a:gd name="connsiteY633" fmla="*/ 1759082 h 4077840"/>
                  <a:gd name="connsiteX634" fmla="*/ 10906023 w 12084394"/>
                  <a:gd name="connsiteY634" fmla="*/ 1759082 h 4077840"/>
                  <a:gd name="connsiteX635" fmla="*/ 10998010 w 12084394"/>
                  <a:gd name="connsiteY635" fmla="*/ 1851069 h 4077840"/>
                  <a:gd name="connsiteX636" fmla="*/ 10906023 w 12084394"/>
                  <a:gd name="connsiteY636" fmla="*/ 1943055 h 4077840"/>
                  <a:gd name="connsiteX637" fmla="*/ 10814037 w 12084394"/>
                  <a:gd name="connsiteY637" fmla="*/ 1851069 h 4077840"/>
                  <a:gd name="connsiteX638" fmla="*/ 10906023 w 12084394"/>
                  <a:gd name="connsiteY638" fmla="*/ 1759082 h 4077840"/>
                  <a:gd name="connsiteX639" fmla="*/ 10393957 w 12084394"/>
                  <a:gd name="connsiteY639" fmla="*/ 1759082 h 4077840"/>
                  <a:gd name="connsiteX640" fmla="*/ 10485943 w 12084394"/>
                  <a:gd name="connsiteY640" fmla="*/ 1851069 h 4077840"/>
                  <a:gd name="connsiteX641" fmla="*/ 10393957 w 12084394"/>
                  <a:gd name="connsiteY641" fmla="*/ 1943055 h 4077840"/>
                  <a:gd name="connsiteX642" fmla="*/ 10301970 w 12084394"/>
                  <a:gd name="connsiteY642" fmla="*/ 1851069 h 4077840"/>
                  <a:gd name="connsiteX643" fmla="*/ 10393957 w 12084394"/>
                  <a:gd name="connsiteY643" fmla="*/ 1759082 h 4077840"/>
                  <a:gd name="connsiteX644" fmla="*/ 9882080 w 12084394"/>
                  <a:gd name="connsiteY644" fmla="*/ 1759082 h 4077840"/>
                  <a:gd name="connsiteX645" fmla="*/ 9974067 w 12084394"/>
                  <a:gd name="connsiteY645" fmla="*/ 1851069 h 4077840"/>
                  <a:gd name="connsiteX646" fmla="*/ 9882080 w 12084394"/>
                  <a:gd name="connsiteY646" fmla="*/ 1943055 h 4077840"/>
                  <a:gd name="connsiteX647" fmla="*/ 9790093 w 12084394"/>
                  <a:gd name="connsiteY647" fmla="*/ 1851069 h 4077840"/>
                  <a:gd name="connsiteX648" fmla="*/ 9882080 w 12084394"/>
                  <a:gd name="connsiteY648" fmla="*/ 1759082 h 4077840"/>
                  <a:gd name="connsiteX649" fmla="*/ 9370014 w 12084394"/>
                  <a:gd name="connsiteY649" fmla="*/ 1759082 h 4077840"/>
                  <a:gd name="connsiteX650" fmla="*/ 9462000 w 12084394"/>
                  <a:gd name="connsiteY650" fmla="*/ 1851069 h 4077840"/>
                  <a:gd name="connsiteX651" fmla="*/ 9370014 w 12084394"/>
                  <a:gd name="connsiteY651" fmla="*/ 1943055 h 4077840"/>
                  <a:gd name="connsiteX652" fmla="*/ 9278027 w 12084394"/>
                  <a:gd name="connsiteY652" fmla="*/ 1851069 h 4077840"/>
                  <a:gd name="connsiteX653" fmla="*/ 9370014 w 12084394"/>
                  <a:gd name="connsiteY653" fmla="*/ 1759082 h 4077840"/>
                  <a:gd name="connsiteX654" fmla="*/ 8858137 w 12084394"/>
                  <a:gd name="connsiteY654" fmla="*/ 1759082 h 4077840"/>
                  <a:gd name="connsiteX655" fmla="*/ 8950123 w 12084394"/>
                  <a:gd name="connsiteY655" fmla="*/ 1851069 h 4077840"/>
                  <a:gd name="connsiteX656" fmla="*/ 8858137 w 12084394"/>
                  <a:gd name="connsiteY656" fmla="*/ 1943055 h 4077840"/>
                  <a:gd name="connsiteX657" fmla="*/ 8766150 w 12084394"/>
                  <a:gd name="connsiteY657" fmla="*/ 1851069 h 4077840"/>
                  <a:gd name="connsiteX658" fmla="*/ 8858137 w 12084394"/>
                  <a:gd name="connsiteY658" fmla="*/ 1759082 h 4077840"/>
                  <a:gd name="connsiteX659" fmla="*/ 8346071 w 12084394"/>
                  <a:gd name="connsiteY659" fmla="*/ 1759082 h 4077840"/>
                  <a:gd name="connsiteX660" fmla="*/ 8438058 w 12084394"/>
                  <a:gd name="connsiteY660" fmla="*/ 1851069 h 4077840"/>
                  <a:gd name="connsiteX661" fmla="*/ 8346071 w 12084394"/>
                  <a:gd name="connsiteY661" fmla="*/ 1943055 h 4077840"/>
                  <a:gd name="connsiteX662" fmla="*/ 8254084 w 12084394"/>
                  <a:gd name="connsiteY662" fmla="*/ 1851069 h 4077840"/>
                  <a:gd name="connsiteX663" fmla="*/ 8346071 w 12084394"/>
                  <a:gd name="connsiteY663" fmla="*/ 1759082 h 4077840"/>
                  <a:gd name="connsiteX664" fmla="*/ 7834005 w 12084394"/>
                  <a:gd name="connsiteY664" fmla="*/ 1759082 h 4077840"/>
                  <a:gd name="connsiteX665" fmla="*/ 7925992 w 12084394"/>
                  <a:gd name="connsiteY665" fmla="*/ 1851069 h 4077840"/>
                  <a:gd name="connsiteX666" fmla="*/ 7834005 w 12084394"/>
                  <a:gd name="connsiteY666" fmla="*/ 1943055 h 4077840"/>
                  <a:gd name="connsiteX667" fmla="*/ 7742018 w 12084394"/>
                  <a:gd name="connsiteY667" fmla="*/ 1851069 h 4077840"/>
                  <a:gd name="connsiteX668" fmla="*/ 7834005 w 12084394"/>
                  <a:gd name="connsiteY668" fmla="*/ 1759082 h 4077840"/>
                  <a:gd name="connsiteX669" fmla="*/ 7322128 w 12084394"/>
                  <a:gd name="connsiteY669" fmla="*/ 1759082 h 4077840"/>
                  <a:gd name="connsiteX670" fmla="*/ 7414115 w 12084394"/>
                  <a:gd name="connsiteY670" fmla="*/ 1851069 h 4077840"/>
                  <a:gd name="connsiteX671" fmla="*/ 7322128 w 12084394"/>
                  <a:gd name="connsiteY671" fmla="*/ 1943055 h 4077840"/>
                  <a:gd name="connsiteX672" fmla="*/ 7230141 w 12084394"/>
                  <a:gd name="connsiteY672" fmla="*/ 1851069 h 4077840"/>
                  <a:gd name="connsiteX673" fmla="*/ 7322128 w 12084394"/>
                  <a:gd name="connsiteY673" fmla="*/ 1759082 h 4077840"/>
                  <a:gd name="connsiteX674" fmla="*/ 6810062 w 12084394"/>
                  <a:gd name="connsiteY674" fmla="*/ 1759082 h 4077840"/>
                  <a:gd name="connsiteX675" fmla="*/ 6902048 w 12084394"/>
                  <a:gd name="connsiteY675" fmla="*/ 1851069 h 4077840"/>
                  <a:gd name="connsiteX676" fmla="*/ 6810062 w 12084394"/>
                  <a:gd name="connsiteY676" fmla="*/ 1943055 h 4077840"/>
                  <a:gd name="connsiteX677" fmla="*/ 6718075 w 12084394"/>
                  <a:gd name="connsiteY677" fmla="*/ 1851069 h 4077840"/>
                  <a:gd name="connsiteX678" fmla="*/ 6810062 w 12084394"/>
                  <a:gd name="connsiteY678" fmla="*/ 1759082 h 4077840"/>
                  <a:gd name="connsiteX679" fmla="*/ 6298186 w 12084394"/>
                  <a:gd name="connsiteY679" fmla="*/ 1759082 h 4077840"/>
                  <a:gd name="connsiteX680" fmla="*/ 6390172 w 12084394"/>
                  <a:gd name="connsiteY680" fmla="*/ 1851069 h 4077840"/>
                  <a:gd name="connsiteX681" fmla="*/ 6298186 w 12084394"/>
                  <a:gd name="connsiteY681" fmla="*/ 1943055 h 4077840"/>
                  <a:gd name="connsiteX682" fmla="*/ 6206198 w 12084394"/>
                  <a:gd name="connsiteY682" fmla="*/ 1851069 h 4077840"/>
                  <a:gd name="connsiteX683" fmla="*/ 6298186 w 12084394"/>
                  <a:gd name="connsiteY683" fmla="*/ 1759082 h 4077840"/>
                  <a:gd name="connsiteX684" fmla="*/ 5786126 w 12084394"/>
                  <a:gd name="connsiteY684" fmla="*/ 1759082 h 4077840"/>
                  <a:gd name="connsiteX685" fmla="*/ 5878110 w 12084394"/>
                  <a:gd name="connsiteY685" fmla="*/ 1851069 h 4077840"/>
                  <a:gd name="connsiteX686" fmla="*/ 5786126 w 12084394"/>
                  <a:gd name="connsiteY686" fmla="*/ 1943055 h 4077840"/>
                  <a:gd name="connsiteX687" fmla="*/ 5694144 w 12084394"/>
                  <a:gd name="connsiteY687" fmla="*/ 1851069 h 4077840"/>
                  <a:gd name="connsiteX688" fmla="*/ 5786126 w 12084394"/>
                  <a:gd name="connsiteY688" fmla="*/ 1759082 h 4077840"/>
                  <a:gd name="connsiteX689" fmla="*/ 5274270 w 12084394"/>
                  <a:gd name="connsiteY689" fmla="*/ 1759082 h 4077840"/>
                  <a:gd name="connsiteX690" fmla="*/ 5366255 w 12084394"/>
                  <a:gd name="connsiteY690" fmla="*/ 1851069 h 4077840"/>
                  <a:gd name="connsiteX691" fmla="*/ 5274270 w 12084394"/>
                  <a:gd name="connsiteY691" fmla="*/ 1943055 h 4077840"/>
                  <a:gd name="connsiteX692" fmla="*/ 5182283 w 12084394"/>
                  <a:gd name="connsiteY692" fmla="*/ 1851069 h 4077840"/>
                  <a:gd name="connsiteX693" fmla="*/ 5274270 w 12084394"/>
                  <a:gd name="connsiteY693" fmla="*/ 1759082 h 4077840"/>
                  <a:gd name="connsiteX694" fmla="*/ 4762180 w 12084394"/>
                  <a:gd name="connsiteY694" fmla="*/ 1759082 h 4077840"/>
                  <a:gd name="connsiteX695" fmla="*/ 4854198 w 12084394"/>
                  <a:gd name="connsiteY695" fmla="*/ 1851069 h 4077840"/>
                  <a:gd name="connsiteX696" fmla="*/ 4762180 w 12084394"/>
                  <a:gd name="connsiteY696" fmla="*/ 1943055 h 4077840"/>
                  <a:gd name="connsiteX697" fmla="*/ 4670207 w 12084394"/>
                  <a:gd name="connsiteY697" fmla="*/ 1851069 h 4077840"/>
                  <a:gd name="connsiteX698" fmla="*/ 4762180 w 12084394"/>
                  <a:gd name="connsiteY698" fmla="*/ 1759082 h 4077840"/>
                  <a:gd name="connsiteX699" fmla="*/ 4250316 w 12084394"/>
                  <a:gd name="connsiteY699" fmla="*/ 1759082 h 4077840"/>
                  <a:gd name="connsiteX700" fmla="*/ 4342309 w 12084394"/>
                  <a:gd name="connsiteY700" fmla="*/ 1851069 h 4077840"/>
                  <a:gd name="connsiteX701" fmla="*/ 4250316 w 12084394"/>
                  <a:gd name="connsiteY701" fmla="*/ 1943055 h 4077840"/>
                  <a:gd name="connsiteX702" fmla="*/ 4158324 w 12084394"/>
                  <a:gd name="connsiteY702" fmla="*/ 1851069 h 4077840"/>
                  <a:gd name="connsiteX703" fmla="*/ 4250316 w 12084394"/>
                  <a:gd name="connsiteY703" fmla="*/ 1759082 h 4077840"/>
                  <a:gd name="connsiteX704" fmla="*/ 3738289 w 12084394"/>
                  <a:gd name="connsiteY704" fmla="*/ 1759082 h 4077840"/>
                  <a:gd name="connsiteX705" fmla="*/ 3830274 w 12084394"/>
                  <a:gd name="connsiteY705" fmla="*/ 1851069 h 4077840"/>
                  <a:gd name="connsiteX706" fmla="*/ 3738289 w 12084394"/>
                  <a:gd name="connsiteY706" fmla="*/ 1943055 h 4077840"/>
                  <a:gd name="connsiteX707" fmla="*/ 3646291 w 12084394"/>
                  <a:gd name="connsiteY707" fmla="*/ 1851069 h 4077840"/>
                  <a:gd name="connsiteX708" fmla="*/ 3738289 w 12084394"/>
                  <a:gd name="connsiteY708" fmla="*/ 1759082 h 4077840"/>
                  <a:gd name="connsiteX709" fmla="*/ 3226242 w 12084394"/>
                  <a:gd name="connsiteY709" fmla="*/ 1759082 h 4077840"/>
                  <a:gd name="connsiteX710" fmla="*/ 3318235 w 12084394"/>
                  <a:gd name="connsiteY710" fmla="*/ 1851069 h 4077840"/>
                  <a:gd name="connsiteX711" fmla="*/ 3226242 w 12084394"/>
                  <a:gd name="connsiteY711" fmla="*/ 1943055 h 4077840"/>
                  <a:gd name="connsiteX712" fmla="*/ 3134252 w 12084394"/>
                  <a:gd name="connsiteY712" fmla="*/ 1851069 h 4077840"/>
                  <a:gd name="connsiteX713" fmla="*/ 3226242 w 12084394"/>
                  <a:gd name="connsiteY713" fmla="*/ 1759082 h 4077840"/>
                  <a:gd name="connsiteX714" fmla="*/ 2714363 w 12084394"/>
                  <a:gd name="connsiteY714" fmla="*/ 1759082 h 4077840"/>
                  <a:gd name="connsiteX715" fmla="*/ 2806350 w 12084394"/>
                  <a:gd name="connsiteY715" fmla="*/ 1851069 h 4077840"/>
                  <a:gd name="connsiteX716" fmla="*/ 2714363 w 12084394"/>
                  <a:gd name="connsiteY716" fmla="*/ 1943055 h 4077840"/>
                  <a:gd name="connsiteX717" fmla="*/ 2622376 w 12084394"/>
                  <a:gd name="connsiteY717" fmla="*/ 1851069 h 4077840"/>
                  <a:gd name="connsiteX718" fmla="*/ 2714363 w 12084394"/>
                  <a:gd name="connsiteY718" fmla="*/ 1759082 h 4077840"/>
                  <a:gd name="connsiteX719" fmla="*/ 2202305 w 12084394"/>
                  <a:gd name="connsiteY719" fmla="*/ 1759082 h 4077840"/>
                  <a:gd name="connsiteX720" fmla="*/ 2294291 w 12084394"/>
                  <a:gd name="connsiteY720" fmla="*/ 1851069 h 4077840"/>
                  <a:gd name="connsiteX721" fmla="*/ 2202305 w 12084394"/>
                  <a:gd name="connsiteY721" fmla="*/ 1943055 h 4077840"/>
                  <a:gd name="connsiteX722" fmla="*/ 2110320 w 12084394"/>
                  <a:gd name="connsiteY722" fmla="*/ 1851069 h 4077840"/>
                  <a:gd name="connsiteX723" fmla="*/ 2202305 w 12084394"/>
                  <a:gd name="connsiteY723" fmla="*/ 1759082 h 4077840"/>
                  <a:gd name="connsiteX724" fmla="*/ 1690412 w 12084394"/>
                  <a:gd name="connsiteY724" fmla="*/ 1759082 h 4077840"/>
                  <a:gd name="connsiteX725" fmla="*/ 1782398 w 12084394"/>
                  <a:gd name="connsiteY725" fmla="*/ 1851069 h 4077840"/>
                  <a:gd name="connsiteX726" fmla="*/ 1690412 w 12084394"/>
                  <a:gd name="connsiteY726" fmla="*/ 1943055 h 4077840"/>
                  <a:gd name="connsiteX727" fmla="*/ 1598426 w 12084394"/>
                  <a:gd name="connsiteY727" fmla="*/ 1851069 h 4077840"/>
                  <a:gd name="connsiteX728" fmla="*/ 1690412 w 12084394"/>
                  <a:gd name="connsiteY728" fmla="*/ 1759082 h 4077840"/>
                  <a:gd name="connsiteX729" fmla="*/ 1178353 w 12084394"/>
                  <a:gd name="connsiteY729" fmla="*/ 1759082 h 4077840"/>
                  <a:gd name="connsiteX730" fmla="*/ 1270339 w 12084394"/>
                  <a:gd name="connsiteY730" fmla="*/ 1851069 h 4077840"/>
                  <a:gd name="connsiteX731" fmla="*/ 1178353 w 12084394"/>
                  <a:gd name="connsiteY731" fmla="*/ 1943055 h 4077840"/>
                  <a:gd name="connsiteX732" fmla="*/ 1086367 w 12084394"/>
                  <a:gd name="connsiteY732" fmla="*/ 1851069 h 4077840"/>
                  <a:gd name="connsiteX733" fmla="*/ 1178353 w 12084394"/>
                  <a:gd name="connsiteY733" fmla="*/ 1759082 h 4077840"/>
                  <a:gd name="connsiteX734" fmla="*/ 666483 w 12084394"/>
                  <a:gd name="connsiteY734" fmla="*/ 1759082 h 4077840"/>
                  <a:gd name="connsiteX735" fmla="*/ 758469 w 12084394"/>
                  <a:gd name="connsiteY735" fmla="*/ 1851069 h 4077840"/>
                  <a:gd name="connsiteX736" fmla="*/ 666483 w 12084394"/>
                  <a:gd name="connsiteY736" fmla="*/ 1943055 h 4077840"/>
                  <a:gd name="connsiteX737" fmla="*/ 574497 w 12084394"/>
                  <a:gd name="connsiteY737" fmla="*/ 1851069 h 4077840"/>
                  <a:gd name="connsiteX738" fmla="*/ 666483 w 12084394"/>
                  <a:gd name="connsiteY738" fmla="*/ 1759082 h 4077840"/>
                  <a:gd name="connsiteX739" fmla="*/ 154424 w 12084394"/>
                  <a:gd name="connsiteY739" fmla="*/ 1759082 h 4077840"/>
                  <a:gd name="connsiteX740" fmla="*/ 246411 w 12084394"/>
                  <a:gd name="connsiteY740" fmla="*/ 1851069 h 4077840"/>
                  <a:gd name="connsiteX741" fmla="*/ 154424 w 12084394"/>
                  <a:gd name="connsiteY741" fmla="*/ 1943055 h 4077840"/>
                  <a:gd name="connsiteX742" fmla="*/ 62438 w 12084394"/>
                  <a:gd name="connsiteY742" fmla="*/ 1851069 h 4077840"/>
                  <a:gd name="connsiteX743" fmla="*/ 154424 w 12084394"/>
                  <a:gd name="connsiteY743" fmla="*/ 1759082 h 4077840"/>
                  <a:gd name="connsiteX744" fmla="*/ 11929965 w 12084394"/>
                  <a:gd name="connsiteY744" fmla="*/ 1319549 h 4077840"/>
                  <a:gd name="connsiteX745" fmla="*/ 12007597 w 12084394"/>
                  <a:gd name="connsiteY745" fmla="*/ 1397181 h 4077840"/>
                  <a:gd name="connsiteX746" fmla="*/ 11929965 w 12084394"/>
                  <a:gd name="connsiteY746" fmla="*/ 1474811 h 4077840"/>
                  <a:gd name="connsiteX747" fmla="*/ 11852334 w 12084394"/>
                  <a:gd name="connsiteY747" fmla="*/ 1397181 h 4077840"/>
                  <a:gd name="connsiteX748" fmla="*/ 11929965 w 12084394"/>
                  <a:gd name="connsiteY748" fmla="*/ 1319549 h 4077840"/>
                  <a:gd name="connsiteX749" fmla="*/ 11417900 w 12084394"/>
                  <a:gd name="connsiteY749" fmla="*/ 1319549 h 4077840"/>
                  <a:gd name="connsiteX750" fmla="*/ 11495531 w 12084394"/>
                  <a:gd name="connsiteY750" fmla="*/ 1397181 h 4077840"/>
                  <a:gd name="connsiteX751" fmla="*/ 11417900 w 12084394"/>
                  <a:gd name="connsiteY751" fmla="*/ 1474811 h 4077840"/>
                  <a:gd name="connsiteX752" fmla="*/ 11340268 w 12084394"/>
                  <a:gd name="connsiteY752" fmla="*/ 1397181 h 4077840"/>
                  <a:gd name="connsiteX753" fmla="*/ 11417900 w 12084394"/>
                  <a:gd name="connsiteY753" fmla="*/ 1319549 h 4077840"/>
                  <a:gd name="connsiteX754" fmla="*/ 10906023 w 12084394"/>
                  <a:gd name="connsiteY754" fmla="*/ 1319549 h 4077840"/>
                  <a:gd name="connsiteX755" fmla="*/ 10983654 w 12084394"/>
                  <a:gd name="connsiteY755" fmla="*/ 1397181 h 4077840"/>
                  <a:gd name="connsiteX756" fmla="*/ 10906023 w 12084394"/>
                  <a:gd name="connsiteY756" fmla="*/ 1474811 h 4077840"/>
                  <a:gd name="connsiteX757" fmla="*/ 10828392 w 12084394"/>
                  <a:gd name="connsiteY757" fmla="*/ 1397181 h 4077840"/>
                  <a:gd name="connsiteX758" fmla="*/ 10906023 w 12084394"/>
                  <a:gd name="connsiteY758" fmla="*/ 1319549 h 4077840"/>
                  <a:gd name="connsiteX759" fmla="*/ 10393956 w 12084394"/>
                  <a:gd name="connsiteY759" fmla="*/ 1319549 h 4077840"/>
                  <a:gd name="connsiteX760" fmla="*/ 10471588 w 12084394"/>
                  <a:gd name="connsiteY760" fmla="*/ 1397181 h 4077840"/>
                  <a:gd name="connsiteX761" fmla="*/ 10393956 w 12084394"/>
                  <a:gd name="connsiteY761" fmla="*/ 1474811 h 4077840"/>
                  <a:gd name="connsiteX762" fmla="*/ 10316325 w 12084394"/>
                  <a:gd name="connsiteY762" fmla="*/ 1397181 h 4077840"/>
                  <a:gd name="connsiteX763" fmla="*/ 10393956 w 12084394"/>
                  <a:gd name="connsiteY763" fmla="*/ 1319549 h 4077840"/>
                  <a:gd name="connsiteX764" fmla="*/ 9882080 w 12084394"/>
                  <a:gd name="connsiteY764" fmla="*/ 1319549 h 4077840"/>
                  <a:gd name="connsiteX765" fmla="*/ 9959711 w 12084394"/>
                  <a:gd name="connsiteY765" fmla="*/ 1397181 h 4077840"/>
                  <a:gd name="connsiteX766" fmla="*/ 9882080 w 12084394"/>
                  <a:gd name="connsiteY766" fmla="*/ 1474811 h 4077840"/>
                  <a:gd name="connsiteX767" fmla="*/ 9804449 w 12084394"/>
                  <a:gd name="connsiteY767" fmla="*/ 1397181 h 4077840"/>
                  <a:gd name="connsiteX768" fmla="*/ 9882080 w 12084394"/>
                  <a:gd name="connsiteY768" fmla="*/ 1319549 h 4077840"/>
                  <a:gd name="connsiteX769" fmla="*/ 9370013 w 12084394"/>
                  <a:gd name="connsiteY769" fmla="*/ 1319549 h 4077840"/>
                  <a:gd name="connsiteX770" fmla="*/ 9447645 w 12084394"/>
                  <a:gd name="connsiteY770" fmla="*/ 1397181 h 4077840"/>
                  <a:gd name="connsiteX771" fmla="*/ 9370013 w 12084394"/>
                  <a:gd name="connsiteY771" fmla="*/ 1474811 h 4077840"/>
                  <a:gd name="connsiteX772" fmla="*/ 9292382 w 12084394"/>
                  <a:gd name="connsiteY772" fmla="*/ 1397181 h 4077840"/>
                  <a:gd name="connsiteX773" fmla="*/ 9370013 w 12084394"/>
                  <a:gd name="connsiteY773" fmla="*/ 1319549 h 4077840"/>
                  <a:gd name="connsiteX774" fmla="*/ 8858136 w 12084394"/>
                  <a:gd name="connsiteY774" fmla="*/ 1319549 h 4077840"/>
                  <a:gd name="connsiteX775" fmla="*/ 8935768 w 12084394"/>
                  <a:gd name="connsiteY775" fmla="*/ 1397181 h 4077840"/>
                  <a:gd name="connsiteX776" fmla="*/ 8858136 w 12084394"/>
                  <a:gd name="connsiteY776" fmla="*/ 1474811 h 4077840"/>
                  <a:gd name="connsiteX777" fmla="*/ 8780505 w 12084394"/>
                  <a:gd name="connsiteY777" fmla="*/ 1397181 h 4077840"/>
                  <a:gd name="connsiteX778" fmla="*/ 8858136 w 12084394"/>
                  <a:gd name="connsiteY778" fmla="*/ 1319549 h 4077840"/>
                  <a:gd name="connsiteX779" fmla="*/ 8346071 w 12084394"/>
                  <a:gd name="connsiteY779" fmla="*/ 1319549 h 4077840"/>
                  <a:gd name="connsiteX780" fmla="*/ 8423702 w 12084394"/>
                  <a:gd name="connsiteY780" fmla="*/ 1397181 h 4077840"/>
                  <a:gd name="connsiteX781" fmla="*/ 8346071 w 12084394"/>
                  <a:gd name="connsiteY781" fmla="*/ 1474811 h 4077840"/>
                  <a:gd name="connsiteX782" fmla="*/ 8268439 w 12084394"/>
                  <a:gd name="connsiteY782" fmla="*/ 1397181 h 4077840"/>
                  <a:gd name="connsiteX783" fmla="*/ 8346071 w 12084394"/>
                  <a:gd name="connsiteY783" fmla="*/ 1319549 h 4077840"/>
                  <a:gd name="connsiteX784" fmla="*/ 7834193 w 12084394"/>
                  <a:gd name="connsiteY784" fmla="*/ 1319549 h 4077840"/>
                  <a:gd name="connsiteX785" fmla="*/ 7911825 w 12084394"/>
                  <a:gd name="connsiteY785" fmla="*/ 1397181 h 4077840"/>
                  <a:gd name="connsiteX786" fmla="*/ 7834193 w 12084394"/>
                  <a:gd name="connsiteY786" fmla="*/ 1474811 h 4077840"/>
                  <a:gd name="connsiteX787" fmla="*/ 7756562 w 12084394"/>
                  <a:gd name="connsiteY787" fmla="*/ 1397181 h 4077840"/>
                  <a:gd name="connsiteX788" fmla="*/ 7834193 w 12084394"/>
                  <a:gd name="connsiteY788" fmla="*/ 1319549 h 4077840"/>
                  <a:gd name="connsiteX789" fmla="*/ 7322128 w 12084394"/>
                  <a:gd name="connsiteY789" fmla="*/ 1319549 h 4077840"/>
                  <a:gd name="connsiteX790" fmla="*/ 7399759 w 12084394"/>
                  <a:gd name="connsiteY790" fmla="*/ 1397181 h 4077840"/>
                  <a:gd name="connsiteX791" fmla="*/ 7322128 w 12084394"/>
                  <a:gd name="connsiteY791" fmla="*/ 1474811 h 4077840"/>
                  <a:gd name="connsiteX792" fmla="*/ 7244496 w 12084394"/>
                  <a:gd name="connsiteY792" fmla="*/ 1397181 h 4077840"/>
                  <a:gd name="connsiteX793" fmla="*/ 7322128 w 12084394"/>
                  <a:gd name="connsiteY793" fmla="*/ 1319549 h 4077840"/>
                  <a:gd name="connsiteX794" fmla="*/ 6810251 w 12084394"/>
                  <a:gd name="connsiteY794" fmla="*/ 1319549 h 4077840"/>
                  <a:gd name="connsiteX795" fmla="*/ 6887882 w 12084394"/>
                  <a:gd name="connsiteY795" fmla="*/ 1397181 h 4077840"/>
                  <a:gd name="connsiteX796" fmla="*/ 6810251 w 12084394"/>
                  <a:gd name="connsiteY796" fmla="*/ 1474811 h 4077840"/>
                  <a:gd name="connsiteX797" fmla="*/ 6732619 w 12084394"/>
                  <a:gd name="connsiteY797" fmla="*/ 1397181 h 4077840"/>
                  <a:gd name="connsiteX798" fmla="*/ 6810251 w 12084394"/>
                  <a:gd name="connsiteY798" fmla="*/ 1319549 h 4077840"/>
                  <a:gd name="connsiteX799" fmla="*/ 6298184 w 12084394"/>
                  <a:gd name="connsiteY799" fmla="*/ 1319549 h 4077840"/>
                  <a:gd name="connsiteX800" fmla="*/ 6375816 w 12084394"/>
                  <a:gd name="connsiteY800" fmla="*/ 1397181 h 4077840"/>
                  <a:gd name="connsiteX801" fmla="*/ 6298184 w 12084394"/>
                  <a:gd name="connsiteY801" fmla="*/ 1474811 h 4077840"/>
                  <a:gd name="connsiteX802" fmla="*/ 6220554 w 12084394"/>
                  <a:gd name="connsiteY802" fmla="*/ 1397181 h 4077840"/>
                  <a:gd name="connsiteX803" fmla="*/ 6298184 w 12084394"/>
                  <a:gd name="connsiteY803" fmla="*/ 1319549 h 4077840"/>
                  <a:gd name="connsiteX804" fmla="*/ 5786126 w 12084394"/>
                  <a:gd name="connsiteY804" fmla="*/ 1319549 h 4077840"/>
                  <a:gd name="connsiteX805" fmla="*/ 5863754 w 12084394"/>
                  <a:gd name="connsiteY805" fmla="*/ 1397181 h 4077840"/>
                  <a:gd name="connsiteX806" fmla="*/ 5786126 w 12084394"/>
                  <a:gd name="connsiteY806" fmla="*/ 1474811 h 4077840"/>
                  <a:gd name="connsiteX807" fmla="*/ 5708497 w 12084394"/>
                  <a:gd name="connsiteY807" fmla="*/ 1397181 h 4077840"/>
                  <a:gd name="connsiteX808" fmla="*/ 5786126 w 12084394"/>
                  <a:gd name="connsiteY808" fmla="*/ 1319549 h 4077840"/>
                  <a:gd name="connsiteX809" fmla="*/ 5274270 w 12084394"/>
                  <a:gd name="connsiteY809" fmla="*/ 1319549 h 4077840"/>
                  <a:gd name="connsiteX810" fmla="*/ 5351901 w 12084394"/>
                  <a:gd name="connsiteY810" fmla="*/ 1397181 h 4077840"/>
                  <a:gd name="connsiteX811" fmla="*/ 5274270 w 12084394"/>
                  <a:gd name="connsiteY811" fmla="*/ 1474811 h 4077840"/>
                  <a:gd name="connsiteX812" fmla="*/ 5196640 w 12084394"/>
                  <a:gd name="connsiteY812" fmla="*/ 1397181 h 4077840"/>
                  <a:gd name="connsiteX813" fmla="*/ 5274270 w 12084394"/>
                  <a:gd name="connsiteY813" fmla="*/ 1319549 h 4077840"/>
                  <a:gd name="connsiteX814" fmla="*/ 4762180 w 12084394"/>
                  <a:gd name="connsiteY814" fmla="*/ 1319549 h 4077840"/>
                  <a:gd name="connsiteX815" fmla="*/ 4839836 w 12084394"/>
                  <a:gd name="connsiteY815" fmla="*/ 1397181 h 4077840"/>
                  <a:gd name="connsiteX816" fmla="*/ 4762180 w 12084394"/>
                  <a:gd name="connsiteY816" fmla="*/ 1474811 h 4077840"/>
                  <a:gd name="connsiteX817" fmla="*/ 4684568 w 12084394"/>
                  <a:gd name="connsiteY817" fmla="*/ 1397181 h 4077840"/>
                  <a:gd name="connsiteX818" fmla="*/ 4762180 w 12084394"/>
                  <a:gd name="connsiteY818" fmla="*/ 1319549 h 4077840"/>
                  <a:gd name="connsiteX819" fmla="*/ 4250316 w 12084394"/>
                  <a:gd name="connsiteY819" fmla="*/ 1319549 h 4077840"/>
                  <a:gd name="connsiteX820" fmla="*/ 4327952 w 12084394"/>
                  <a:gd name="connsiteY820" fmla="*/ 1397181 h 4077840"/>
                  <a:gd name="connsiteX821" fmla="*/ 4250316 w 12084394"/>
                  <a:gd name="connsiteY821" fmla="*/ 1474811 h 4077840"/>
                  <a:gd name="connsiteX822" fmla="*/ 4172680 w 12084394"/>
                  <a:gd name="connsiteY822" fmla="*/ 1397181 h 4077840"/>
                  <a:gd name="connsiteX823" fmla="*/ 4250316 w 12084394"/>
                  <a:gd name="connsiteY823" fmla="*/ 1319549 h 4077840"/>
                  <a:gd name="connsiteX824" fmla="*/ 3738287 w 12084394"/>
                  <a:gd name="connsiteY824" fmla="*/ 1319549 h 4077840"/>
                  <a:gd name="connsiteX825" fmla="*/ 3815917 w 12084394"/>
                  <a:gd name="connsiteY825" fmla="*/ 1397181 h 4077840"/>
                  <a:gd name="connsiteX826" fmla="*/ 3738287 w 12084394"/>
                  <a:gd name="connsiteY826" fmla="*/ 1474811 h 4077840"/>
                  <a:gd name="connsiteX827" fmla="*/ 3660647 w 12084394"/>
                  <a:gd name="connsiteY827" fmla="*/ 1397181 h 4077840"/>
                  <a:gd name="connsiteX828" fmla="*/ 3738287 w 12084394"/>
                  <a:gd name="connsiteY828" fmla="*/ 1319549 h 4077840"/>
                  <a:gd name="connsiteX829" fmla="*/ 3226239 w 12084394"/>
                  <a:gd name="connsiteY829" fmla="*/ 1319549 h 4077840"/>
                  <a:gd name="connsiteX830" fmla="*/ 3303877 w 12084394"/>
                  <a:gd name="connsiteY830" fmla="*/ 1397181 h 4077840"/>
                  <a:gd name="connsiteX831" fmla="*/ 3226239 w 12084394"/>
                  <a:gd name="connsiteY831" fmla="*/ 1474811 h 4077840"/>
                  <a:gd name="connsiteX832" fmla="*/ 3148605 w 12084394"/>
                  <a:gd name="connsiteY832" fmla="*/ 1397181 h 4077840"/>
                  <a:gd name="connsiteX833" fmla="*/ 3226239 w 12084394"/>
                  <a:gd name="connsiteY833" fmla="*/ 1319549 h 4077840"/>
                  <a:gd name="connsiteX834" fmla="*/ 2714362 w 12084394"/>
                  <a:gd name="connsiteY834" fmla="*/ 1319549 h 4077840"/>
                  <a:gd name="connsiteX835" fmla="*/ 2791993 w 12084394"/>
                  <a:gd name="connsiteY835" fmla="*/ 1397181 h 4077840"/>
                  <a:gd name="connsiteX836" fmla="*/ 2714362 w 12084394"/>
                  <a:gd name="connsiteY836" fmla="*/ 1474811 h 4077840"/>
                  <a:gd name="connsiteX837" fmla="*/ 2636733 w 12084394"/>
                  <a:gd name="connsiteY837" fmla="*/ 1397181 h 4077840"/>
                  <a:gd name="connsiteX838" fmla="*/ 2714362 w 12084394"/>
                  <a:gd name="connsiteY838" fmla="*/ 1319549 h 4077840"/>
                  <a:gd name="connsiteX839" fmla="*/ 2202305 w 12084394"/>
                  <a:gd name="connsiteY839" fmla="*/ 1319549 h 4077840"/>
                  <a:gd name="connsiteX840" fmla="*/ 2279935 w 12084394"/>
                  <a:gd name="connsiteY840" fmla="*/ 1397181 h 4077840"/>
                  <a:gd name="connsiteX841" fmla="*/ 2202305 w 12084394"/>
                  <a:gd name="connsiteY841" fmla="*/ 1474811 h 4077840"/>
                  <a:gd name="connsiteX842" fmla="*/ 2124675 w 12084394"/>
                  <a:gd name="connsiteY842" fmla="*/ 1397181 h 4077840"/>
                  <a:gd name="connsiteX843" fmla="*/ 2202305 w 12084394"/>
                  <a:gd name="connsiteY843" fmla="*/ 1319549 h 4077840"/>
                  <a:gd name="connsiteX844" fmla="*/ 1690412 w 12084394"/>
                  <a:gd name="connsiteY844" fmla="*/ 1319549 h 4077840"/>
                  <a:gd name="connsiteX845" fmla="*/ 1768043 w 12084394"/>
                  <a:gd name="connsiteY845" fmla="*/ 1397181 h 4077840"/>
                  <a:gd name="connsiteX846" fmla="*/ 1690412 w 12084394"/>
                  <a:gd name="connsiteY846" fmla="*/ 1474811 h 4077840"/>
                  <a:gd name="connsiteX847" fmla="*/ 1612781 w 12084394"/>
                  <a:gd name="connsiteY847" fmla="*/ 1397181 h 4077840"/>
                  <a:gd name="connsiteX848" fmla="*/ 1690412 w 12084394"/>
                  <a:gd name="connsiteY848" fmla="*/ 1319549 h 4077840"/>
                  <a:gd name="connsiteX849" fmla="*/ 1178353 w 12084394"/>
                  <a:gd name="connsiteY849" fmla="*/ 1319549 h 4077840"/>
                  <a:gd name="connsiteX850" fmla="*/ 1255984 w 12084394"/>
                  <a:gd name="connsiteY850" fmla="*/ 1397181 h 4077840"/>
                  <a:gd name="connsiteX851" fmla="*/ 1178353 w 12084394"/>
                  <a:gd name="connsiteY851" fmla="*/ 1474811 h 4077840"/>
                  <a:gd name="connsiteX852" fmla="*/ 1100722 w 12084394"/>
                  <a:gd name="connsiteY852" fmla="*/ 1397181 h 4077840"/>
                  <a:gd name="connsiteX853" fmla="*/ 1178353 w 12084394"/>
                  <a:gd name="connsiteY853" fmla="*/ 1319549 h 4077840"/>
                  <a:gd name="connsiteX854" fmla="*/ 666483 w 12084394"/>
                  <a:gd name="connsiteY854" fmla="*/ 1319549 h 4077840"/>
                  <a:gd name="connsiteX855" fmla="*/ 744113 w 12084394"/>
                  <a:gd name="connsiteY855" fmla="*/ 1397181 h 4077840"/>
                  <a:gd name="connsiteX856" fmla="*/ 666483 w 12084394"/>
                  <a:gd name="connsiteY856" fmla="*/ 1474811 h 4077840"/>
                  <a:gd name="connsiteX857" fmla="*/ 588852 w 12084394"/>
                  <a:gd name="connsiteY857" fmla="*/ 1397181 h 4077840"/>
                  <a:gd name="connsiteX858" fmla="*/ 666483 w 12084394"/>
                  <a:gd name="connsiteY858" fmla="*/ 1319549 h 4077840"/>
                  <a:gd name="connsiteX859" fmla="*/ 154424 w 12084394"/>
                  <a:gd name="connsiteY859" fmla="*/ 1319549 h 4077840"/>
                  <a:gd name="connsiteX860" fmla="*/ 232055 w 12084394"/>
                  <a:gd name="connsiteY860" fmla="*/ 1397181 h 4077840"/>
                  <a:gd name="connsiteX861" fmla="*/ 154424 w 12084394"/>
                  <a:gd name="connsiteY861" fmla="*/ 1474811 h 4077840"/>
                  <a:gd name="connsiteX862" fmla="*/ 76793 w 12084394"/>
                  <a:gd name="connsiteY862" fmla="*/ 1397181 h 4077840"/>
                  <a:gd name="connsiteX863" fmla="*/ 154424 w 12084394"/>
                  <a:gd name="connsiteY863" fmla="*/ 1319549 h 4077840"/>
                  <a:gd name="connsiteX864" fmla="*/ 11929965 w 12084394"/>
                  <a:gd name="connsiteY864" fmla="*/ 879636 h 4077840"/>
                  <a:gd name="connsiteX865" fmla="*/ 11993430 w 12084394"/>
                  <a:gd name="connsiteY865" fmla="*/ 943101 h 4077840"/>
                  <a:gd name="connsiteX866" fmla="*/ 11929965 w 12084394"/>
                  <a:gd name="connsiteY866" fmla="*/ 1006567 h 4077840"/>
                  <a:gd name="connsiteX867" fmla="*/ 11866500 w 12084394"/>
                  <a:gd name="connsiteY867" fmla="*/ 943101 h 4077840"/>
                  <a:gd name="connsiteX868" fmla="*/ 11929965 w 12084394"/>
                  <a:gd name="connsiteY868" fmla="*/ 879636 h 4077840"/>
                  <a:gd name="connsiteX869" fmla="*/ 11417899 w 12084394"/>
                  <a:gd name="connsiteY869" fmla="*/ 879636 h 4077840"/>
                  <a:gd name="connsiteX870" fmla="*/ 11481364 w 12084394"/>
                  <a:gd name="connsiteY870" fmla="*/ 943101 h 4077840"/>
                  <a:gd name="connsiteX871" fmla="*/ 11417899 w 12084394"/>
                  <a:gd name="connsiteY871" fmla="*/ 1006567 h 4077840"/>
                  <a:gd name="connsiteX872" fmla="*/ 11354434 w 12084394"/>
                  <a:gd name="connsiteY872" fmla="*/ 943101 h 4077840"/>
                  <a:gd name="connsiteX873" fmla="*/ 11417899 w 12084394"/>
                  <a:gd name="connsiteY873" fmla="*/ 879636 h 4077840"/>
                  <a:gd name="connsiteX874" fmla="*/ 10906023 w 12084394"/>
                  <a:gd name="connsiteY874" fmla="*/ 879636 h 4077840"/>
                  <a:gd name="connsiteX875" fmla="*/ 10969488 w 12084394"/>
                  <a:gd name="connsiteY875" fmla="*/ 943101 h 4077840"/>
                  <a:gd name="connsiteX876" fmla="*/ 10906023 w 12084394"/>
                  <a:gd name="connsiteY876" fmla="*/ 1006567 h 4077840"/>
                  <a:gd name="connsiteX877" fmla="*/ 10842558 w 12084394"/>
                  <a:gd name="connsiteY877" fmla="*/ 943101 h 4077840"/>
                  <a:gd name="connsiteX878" fmla="*/ 10906023 w 12084394"/>
                  <a:gd name="connsiteY878" fmla="*/ 879636 h 4077840"/>
                  <a:gd name="connsiteX879" fmla="*/ 10393956 w 12084394"/>
                  <a:gd name="connsiteY879" fmla="*/ 879636 h 4077840"/>
                  <a:gd name="connsiteX880" fmla="*/ 10457421 w 12084394"/>
                  <a:gd name="connsiteY880" fmla="*/ 943101 h 4077840"/>
                  <a:gd name="connsiteX881" fmla="*/ 10393956 w 12084394"/>
                  <a:gd name="connsiteY881" fmla="*/ 1006567 h 4077840"/>
                  <a:gd name="connsiteX882" fmla="*/ 10330491 w 12084394"/>
                  <a:gd name="connsiteY882" fmla="*/ 943101 h 4077840"/>
                  <a:gd name="connsiteX883" fmla="*/ 10393956 w 12084394"/>
                  <a:gd name="connsiteY883" fmla="*/ 879636 h 4077840"/>
                  <a:gd name="connsiteX884" fmla="*/ 9882079 w 12084394"/>
                  <a:gd name="connsiteY884" fmla="*/ 879636 h 4077840"/>
                  <a:gd name="connsiteX885" fmla="*/ 9945544 w 12084394"/>
                  <a:gd name="connsiteY885" fmla="*/ 943101 h 4077840"/>
                  <a:gd name="connsiteX886" fmla="*/ 9882079 w 12084394"/>
                  <a:gd name="connsiteY886" fmla="*/ 1006567 h 4077840"/>
                  <a:gd name="connsiteX887" fmla="*/ 9818615 w 12084394"/>
                  <a:gd name="connsiteY887" fmla="*/ 943101 h 4077840"/>
                  <a:gd name="connsiteX888" fmla="*/ 9882079 w 12084394"/>
                  <a:gd name="connsiteY888" fmla="*/ 879636 h 4077840"/>
                  <a:gd name="connsiteX889" fmla="*/ 5274270 w 12084394"/>
                  <a:gd name="connsiteY889" fmla="*/ 879636 h 4077840"/>
                  <a:gd name="connsiteX890" fmla="*/ 5337733 w 12084394"/>
                  <a:gd name="connsiteY890" fmla="*/ 943101 h 4077840"/>
                  <a:gd name="connsiteX891" fmla="*/ 5274270 w 12084394"/>
                  <a:gd name="connsiteY891" fmla="*/ 1006567 h 4077840"/>
                  <a:gd name="connsiteX892" fmla="*/ 5210807 w 12084394"/>
                  <a:gd name="connsiteY892" fmla="*/ 943101 h 4077840"/>
                  <a:gd name="connsiteX893" fmla="*/ 5274270 w 12084394"/>
                  <a:gd name="connsiteY893" fmla="*/ 879636 h 4077840"/>
                  <a:gd name="connsiteX894" fmla="*/ 4762180 w 12084394"/>
                  <a:gd name="connsiteY894" fmla="*/ 879636 h 4077840"/>
                  <a:gd name="connsiteX895" fmla="*/ 4825668 w 12084394"/>
                  <a:gd name="connsiteY895" fmla="*/ 943101 h 4077840"/>
                  <a:gd name="connsiteX896" fmla="*/ 4762180 w 12084394"/>
                  <a:gd name="connsiteY896" fmla="*/ 1006567 h 4077840"/>
                  <a:gd name="connsiteX897" fmla="*/ 4698732 w 12084394"/>
                  <a:gd name="connsiteY897" fmla="*/ 943101 h 4077840"/>
                  <a:gd name="connsiteX898" fmla="*/ 4762180 w 12084394"/>
                  <a:gd name="connsiteY898" fmla="*/ 879636 h 4077840"/>
                  <a:gd name="connsiteX899" fmla="*/ 4250316 w 12084394"/>
                  <a:gd name="connsiteY899" fmla="*/ 879636 h 4077840"/>
                  <a:gd name="connsiteX900" fmla="*/ 4313785 w 12084394"/>
                  <a:gd name="connsiteY900" fmla="*/ 943101 h 4077840"/>
                  <a:gd name="connsiteX901" fmla="*/ 4250316 w 12084394"/>
                  <a:gd name="connsiteY901" fmla="*/ 1006567 h 4077840"/>
                  <a:gd name="connsiteX902" fmla="*/ 4186848 w 12084394"/>
                  <a:gd name="connsiteY902" fmla="*/ 943101 h 4077840"/>
                  <a:gd name="connsiteX903" fmla="*/ 4250316 w 12084394"/>
                  <a:gd name="connsiteY903" fmla="*/ 879636 h 4077840"/>
                  <a:gd name="connsiteX904" fmla="*/ 3738289 w 12084394"/>
                  <a:gd name="connsiteY904" fmla="*/ 879636 h 4077840"/>
                  <a:gd name="connsiteX905" fmla="*/ 3801749 w 12084394"/>
                  <a:gd name="connsiteY905" fmla="*/ 943101 h 4077840"/>
                  <a:gd name="connsiteX906" fmla="*/ 3738289 w 12084394"/>
                  <a:gd name="connsiteY906" fmla="*/ 1006567 h 4077840"/>
                  <a:gd name="connsiteX907" fmla="*/ 3674814 w 12084394"/>
                  <a:gd name="connsiteY907" fmla="*/ 943101 h 4077840"/>
                  <a:gd name="connsiteX908" fmla="*/ 3738289 w 12084394"/>
                  <a:gd name="connsiteY908" fmla="*/ 879636 h 4077840"/>
                  <a:gd name="connsiteX909" fmla="*/ 3226242 w 12084394"/>
                  <a:gd name="connsiteY909" fmla="*/ 879636 h 4077840"/>
                  <a:gd name="connsiteX910" fmla="*/ 3289709 w 12084394"/>
                  <a:gd name="connsiteY910" fmla="*/ 943101 h 4077840"/>
                  <a:gd name="connsiteX911" fmla="*/ 3226242 w 12084394"/>
                  <a:gd name="connsiteY911" fmla="*/ 1006567 h 4077840"/>
                  <a:gd name="connsiteX912" fmla="*/ 3162775 w 12084394"/>
                  <a:gd name="connsiteY912" fmla="*/ 943101 h 4077840"/>
                  <a:gd name="connsiteX913" fmla="*/ 3226242 w 12084394"/>
                  <a:gd name="connsiteY913" fmla="*/ 879636 h 4077840"/>
                  <a:gd name="connsiteX914" fmla="*/ 2714362 w 12084394"/>
                  <a:gd name="connsiteY914" fmla="*/ 879636 h 4077840"/>
                  <a:gd name="connsiteX915" fmla="*/ 2777827 w 12084394"/>
                  <a:gd name="connsiteY915" fmla="*/ 943101 h 4077840"/>
                  <a:gd name="connsiteX916" fmla="*/ 2714362 w 12084394"/>
                  <a:gd name="connsiteY916" fmla="*/ 1006567 h 4077840"/>
                  <a:gd name="connsiteX917" fmla="*/ 2650897 w 12084394"/>
                  <a:gd name="connsiteY917" fmla="*/ 943101 h 4077840"/>
                  <a:gd name="connsiteX918" fmla="*/ 2714362 w 12084394"/>
                  <a:gd name="connsiteY918" fmla="*/ 879636 h 4077840"/>
                  <a:gd name="connsiteX919" fmla="*/ 2202305 w 12084394"/>
                  <a:gd name="connsiteY919" fmla="*/ 879636 h 4077840"/>
                  <a:gd name="connsiteX920" fmla="*/ 2265769 w 12084394"/>
                  <a:gd name="connsiteY920" fmla="*/ 943101 h 4077840"/>
                  <a:gd name="connsiteX921" fmla="*/ 2202305 w 12084394"/>
                  <a:gd name="connsiteY921" fmla="*/ 1006567 h 4077840"/>
                  <a:gd name="connsiteX922" fmla="*/ 2138841 w 12084394"/>
                  <a:gd name="connsiteY922" fmla="*/ 943101 h 4077840"/>
                  <a:gd name="connsiteX923" fmla="*/ 2202305 w 12084394"/>
                  <a:gd name="connsiteY923" fmla="*/ 879636 h 4077840"/>
                  <a:gd name="connsiteX924" fmla="*/ 1690412 w 12084394"/>
                  <a:gd name="connsiteY924" fmla="*/ 879636 h 4077840"/>
                  <a:gd name="connsiteX925" fmla="*/ 1753877 w 12084394"/>
                  <a:gd name="connsiteY925" fmla="*/ 943101 h 4077840"/>
                  <a:gd name="connsiteX926" fmla="*/ 1690412 w 12084394"/>
                  <a:gd name="connsiteY926" fmla="*/ 1006567 h 4077840"/>
                  <a:gd name="connsiteX927" fmla="*/ 1626948 w 12084394"/>
                  <a:gd name="connsiteY927" fmla="*/ 943101 h 4077840"/>
                  <a:gd name="connsiteX928" fmla="*/ 1690412 w 12084394"/>
                  <a:gd name="connsiteY928" fmla="*/ 879636 h 4077840"/>
                  <a:gd name="connsiteX929" fmla="*/ 1178353 w 12084394"/>
                  <a:gd name="connsiteY929" fmla="*/ 879636 h 4077840"/>
                  <a:gd name="connsiteX930" fmla="*/ 1241817 w 12084394"/>
                  <a:gd name="connsiteY930" fmla="*/ 943101 h 4077840"/>
                  <a:gd name="connsiteX931" fmla="*/ 1178353 w 12084394"/>
                  <a:gd name="connsiteY931" fmla="*/ 1006567 h 4077840"/>
                  <a:gd name="connsiteX932" fmla="*/ 1114888 w 12084394"/>
                  <a:gd name="connsiteY932" fmla="*/ 943101 h 4077840"/>
                  <a:gd name="connsiteX933" fmla="*/ 1178353 w 12084394"/>
                  <a:gd name="connsiteY933" fmla="*/ 879636 h 4077840"/>
                  <a:gd name="connsiteX934" fmla="*/ 666483 w 12084394"/>
                  <a:gd name="connsiteY934" fmla="*/ 879636 h 4077840"/>
                  <a:gd name="connsiteX935" fmla="*/ 729947 w 12084394"/>
                  <a:gd name="connsiteY935" fmla="*/ 943101 h 4077840"/>
                  <a:gd name="connsiteX936" fmla="*/ 666483 w 12084394"/>
                  <a:gd name="connsiteY936" fmla="*/ 1006567 h 4077840"/>
                  <a:gd name="connsiteX937" fmla="*/ 603018 w 12084394"/>
                  <a:gd name="connsiteY937" fmla="*/ 943101 h 4077840"/>
                  <a:gd name="connsiteX938" fmla="*/ 666483 w 12084394"/>
                  <a:gd name="connsiteY938" fmla="*/ 879636 h 4077840"/>
                  <a:gd name="connsiteX939" fmla="*/ 154424 w 12084394"/>
                  <a:gd name="connsiteY939" fmla="*/ 879636 h 4077840"/>
                  <a:gd name="connsiteX940" fmla="*/ 217889 w 12084394"/>
                  <a:gd name="connsiteY940" fmla="*/ 943101 h 4077840"/>
                  <a:gd name="connsiteX941" fmla="*/ 154424 w 12084394"/>
                  <a:gd name="connsiteY941" fmla="*/ 1006567 h 4077840"/>
                  <a:gd name="connsiteX942" fmla="*/ 90960 w 12084394"/>
                  <a:gd name="connsiteY942" fmla="*/ 943101 h 4077840"/>
                  <a:gd name="connsiteX943" fmla="*/ 154424 w 12084394"/>
                  <a:gd name="connsiteY943" fmla="*/ 879636 h 4077840"/>
                  <a:gd name="connsiteX944" fmla="*/ 9370014 w 12084394"/>
                  <a:gd name="connsiteY944" fmla="*/ 879635 h 4077840"/>
                  <a:gd name="connsiteX945" fmla="*/ 9433479 w 12084394"/>
                  <a:gd name="connsiteY945" fmla="*/ 943100 h 4077840"/>
                  <a:gd name="connsiteX946" fmla="*/ 9370014 w 12084394"/>
                  <a:gd name="connsiteY946" fmla="*/ 1006566 h 4077840"/>
                  <a:gd name="connsiteX947" fmla="*/ 9306549 w 12084394"/>
                  <a:gd name="connsiteY947" fmla="*/ 943100 h 4077840"/>
                  <a:gd name="connsiteX948" fmla="*/ 9370014 w 12084394"/>
                  <a:gd name="connsiteY948" fmla="*/ 879635 h 4077840"/>
                  <a:gd name="connsiteX949" fmla="*/ 8857948 w 12084394"/>
                  <a:gd name="connsiteY949" fmla="*/ 879635 h 4077840"/>
                  <a:gd name="connsiteX950" fmla="*/ 8921412 w 12084394"/>
                  <a:gd name="connsiteY950" fmla="*/ 943100 h 4077840"/>
                  <a:gd name="connsiteX951" fmla="*/ 8857948 w 12084394"/>
                  <a:gd name="connsiteY951" fmla="*/ 1006566 h 4077840"/>
                  <a:gd name="connsiteX952" fmla="*/ 8794482 w 12084394"/>
                  <a:gd name="connsiteY952" fmla="*/ 943100 h 4077840"/>
                  <a:gd name="connsiteX953" fmla="*/ 8857948 w 12084394"/>
                  <a:gd name="connsiteY953" fmla="*/ 879635 h 4077840"/>
                  <a:gd name="connsiteX954" fmla="*/ 8346071 w 12084394"/>
                  <a:gd name="connsiteY954" fmla="*/ 879635 h 4077840"/>
                  <a:gd name="connsiteX955" fmla="*/ 8409535 w 12084394"/>
                  <a:gd name="connsiteY955" fmla="*/ 943100 h 4077840"/>
                  <a:gd name="connsiteX956" fmla="*/ 8346071 w 12084394"/>
                  <a:gd name="connsiteY956" fmla="*/ 1006566 h 4077840"/>
                  <a:gd name="connsiteX957" fmla="*/ 8282605 w 12084394"/>
                  <a:gd name="connsiteY957" fmla="*/ 943100 h 4077840"/>
                  <a:gd name="connsiteX958" fmla="*/ 8346071 w 12084394"/>
                  <a:gd name="connsiteY958" fmla="*/ 879635 h 4077840"/>
                  <a:gd name="connsiteX959" fmla="*/ 7834005 w 12084394"/>
                  <a:gd name="connsiteY959" fmla="*/ 879635 h 4077840"/>
                  <a:gd name="connsiteX960" fmla="*/ 7897470 w 12084394"/>
                  <a:gd name="connsiteY960" fmla="*/ 943100 h 4077840"/>
                  <a:gd name="connsiteX961" fmla="*/ 7834005 w 12084394"/>
                  <a:gd name="connsiteY961" fmla="*/ 1006566 h 4077840"/>
                  <a:gd name="connsiteX962" fmla="*/ 7770540 w 12084394"/>
                  <a:gd name="connsiteY962" fmla="*/ 943100 h 4077840"/>
                  <a:gd name="connsiteX963" fmla="*/ 7834005 w 12084394"/>
                  <a:gd name="connsiteY963" fmla="*/ 879635 h 4077840"/>
                  <a:gd name="connsiteX964" fmla="*/ 7322128 w 12084394"/>
                  <a:gd name="connsiteY964" fmla="*/ 879635 h 4077840"/>
                  <a:gd name="connsiteX965" fmla="*/ 7385592 w 12084394"/>
                  <a:gd name="connsiteY965" fmla="*/ 943100 h 4077840"/>
                  <a:gd name="connsiteX966" fmla="*/ 7322128 w 12084394"/>
                  <a:gd name="connsiteY966" fmla="*/ 1006566 h 4077840"/>
                  <a:gd name="connsiteX967" fmla="*/ 7258662 w 12084394"/>
                  <a:gd name="connsiteY967" fmla="*/ 943100 h 4077840"/>
                  <a:gd name="connsiteX968" fmla="*/ 7322128 w 12084394"/>
                  <a:gd name="connsiteY968" fmla="*/ 879635 h 4077840"/>
                  <a:gd name="connsiteX969" fmla="*/ 6810062 w 12084394"/>
                  <a:gd name="connsiteY969" fmla="*/ 879635 h 4077840"/>
                  <a:gd name="connsiteX970" fmla="*/ 6873527 w 12084394"/>
                  <a:gd name="connsiteY970" fmla="*/ 943100 h 4077840"/>
                  <a:gd name="connsiteX971" fmla="*/ 6810062 w 12084394"/>
                  <a:gd name="connsiteY971" fmla="*/ 1006566 h 4077840"/>
                  <a:gd name="connsiteX972" fmla="*/ 6746597 w 12084394"/>
                  <a:gd name="connsiteY972" fmla="*/ 943100 h 4077840"/>
                  <a:gd name="connsiteX973" fmla="*/ 6810062 w 12084394"/>
                  <a:gd name="connsiteY973" fmla="*/ 879635 h 4077840"/>
                  <a:gd name="connsiteX974" fmla="*/ 6298186 w 12084394"/>
                  <a:gd name="connsiteY974" fmla="*/ 879635 h 4077840"/>
                  <a:gd name="connsiteX975" fmla="*/ 6361650 w 12084394"/>
                  <a:gd name="connsiteY975" fmla="*/ 943100 h 4077840"/>
                  <a:gd name="connsiteX976" fmla="*/ 6298186 w 12084394"/>
                  <a:gd name="connsiteY976" fmla="*/ 1006566 h 4077840"/>
                  <a:gd name="connsiteX977" fmla="*/ 6234720 w 12084394"/>
                  <a:gd name="connsiteY977" fmla="*/ 943100 h 4077840"/>
                  <a:gd name="connsiteX978" fmla="*/ 6298186 w 12084394"/>
                  <a:gd name="connsiteY978" fmla="*/ 879635 h 4077840"/>
                  <a:gd name="connsiteX979" fmla="*/ 5786126 w 12084394"/>
                  <a:gd name="connsiteY979" fmla="*/ 879635 h 4077840"/>
                  <a:gd name="connsiteX980" fmla="*/ 5849588 w 12084394"/>
                  <a:gd name="connsiteY980" fmla="*/ 943100 h 4077840"/>
                  <a:gd name="connsiteX981" fmla="*/ 5786126 w 12084394"/>
                  <a:gd name="connsiteY981" fmla="*/ 1006566 h 4077840"/>
                  <a:gd name="connsiteX982" fmla="*/ 5722663 w 12084394"/>
                  <a:gd name="connsiteY982" fmla="*/ 943100 h 4077840"/>
                  <a:gd name="connsiteX983" fmla="*/ 5786126 w 12084394"/>
                  <a:gd name="connsiteY983" fmla="*/ 879635 h 4077840"/>
                  <a:gd name="connsiteX984" fmla="*/ 11417900 w 12084394"/>
                  <a:gd name="connsiteY984" fmla="*/ 439913 h 4077840"/>
                  <a:gd name="connsiteX985" fmla="*/ 11467010 w 12084394"/>
                  <a:gd name="connsiteY985" fmla="*/ 489022 h 4077840"/>
                  <a:gd name="connsiteX986" fmla="*/ 11417900 w 12084394"/>
                  <a:gd name="connsiteY986" fmla="*/ 538132 h 4077840"/>
                  <a:gd name="connsiteX987" fmla="*/ 11368791 w 12084394"/>
                  <a:gd name="connsiteY987" fmla="*/ 489022 h 4077840"/>
                  <a:gd name="connsiteX988" fmla="*/ 11417900 w 12084394"/>
                  <a:gd name="connsiteY988" fmla="*/ 439913 h 4077840"/>
                  <a:gd name="connsiteX989" fmla="*/ 10906024 w 12084394"/>
                  <a:gd name="connsiteY989" fmla="*/ 439913 h 4077840"/>
                  <a:gd name="connsiteX990" fmla="*/ 10955133 w 12084394"/>
                  <a:gd name="connsiteY990" fmla="*/ 489022 h 4077840"/>
                  <a:gd name="connsiteX991" fmla="*/ 10906024 w 12084394"/>
                  <a:gd name="connsiteY991" fmla="*/ 538132 h 4077840"/>
                  <a:gd name="connsiteX992" fmla="*/ 10856914 w 12084394"/>
                  <a:gd name="connsiteY992" fmla="*/ 489022 h 4077840"/>
                  <a:gd name="connsiteX993" fmla="*/ 10906024 w 12084394"/>
                  <a:gd name="connsiteY993" fmla="*/ 439913 h 4077840"/>
                  <a:gd name="connsiteX994" fmla="*/ 10393958 w 12084394"/>
                  <a:gd name="connsiteY994" fmla="*/ 439913 h 4077840"/>
                  <a:gd name="connsiteX995" fmla="*/ 10443067 w 12084394"/>
                  <a:gd name="connsiteY995" fmla="*/ 489022 h 4077840"/>
                  <a:gd name="connsiteX996" fmla="*/ 10393958 w 12084394"/>
                  <a:gd name="connsiteY996" fmla="*/ 538132 h 4077840"/>
                  <a:gd name="connsiteX997" fmla="*/ 10344848 w 12084394"/>
                  <a:gd name="connsiteY997" fmla="*/ 489022 h 4077840"/>
                  <a:gd name="connsiteX998" fmla="*/ 10393958 w 12084394"/>
                  <a:gd name="connsiteY998" fmla="*/ 439913 h 4077840"/>
                  <a:gd name="connsiteX999" fmla="*/ 9882080 w 12084394"/>
                  <a:gd name="connsiteY999" fmla="*/ 439913 h 4077840"/>
                  <a:gd name="connsiteX1000" fmla="*/ 9931190 w 12084394"/>
                  <a:gd name="connsiteY1000" fmla="*/ 489022 h 4077840"/>
                  <a:gd name="connsiteX1001" fmla="*/ 9882080 w 12084394"/>
                  <a:gd name="connsiteY1001" fmla="*/ 538132 h 4077840"/>
                  <a:gd name="connsiteX1002" fmla="*/ 9832971 w 12084394"/>
                  <a:gd name="connsiteY1002" fmla="*/ 489022 h 4077840"/>
                  <a:gd name="connsiteX1003" fmla="*/ 9882080 w 12084394"/>
                  <a:gd name="connsiteY1003" fmla="*/ 439913 h 4077840"/>
                  <a:gd name="connsiteX1004" fmla="*/ 9370013 w 12084394"/>
                  <a:gd name="connsiteY1004" fmla="*/ 439913 h 4077840"/>
                  <a:gd name="connsiteX1005" fmla="*/ 9419123 w 12084394"/>
                  <a:gd name="connsiteY1005" fmla="*/ 489022 h 4077840"/>
                  <a:gd name="connsiteX1006" fmla="*/ 9370013 w 12084394"/>
                  <a:gd name="connsiteY1006" fmla="*/ 538132 h 4077840"/>
                  <a:gd name="connsiteX1007" fmla="*/ 9320903 w 12084394"/>
                  <a:gd name="connsiteY1007" fmla="*/ 489022 h 4077840"/>
                  <a:gd name="connsiteX1008" fmla="*/ 9370013 w 12084394"/>
                  <a:gd name="connsiteY1008" fmla="*/ 439913 h 4077840"/>
                  <a:gd name="connsiteX1009" fmla="*/ 8858137 w 12084394"/>
                  <a:gd name="connsiteY1009" fmla="*/ 439913 h 4077840"/>
                  <a:gd name="connsiteX1010" fmla="*/ 8907247 w 12084394"/>
                  <a:gd name="connsiteY1010" fmla="*/ 489022 h 4077840"/>
                  <a:gd name="connsiteX1011" fmla="*/ 8858137 w 12084394"/>
                  <a:gd name="connsiteY1011" fmla="*/ 538132 h 4077840"/>
                  <a:gd name="connsiteX1012" fmla="*/ 8809027 w 12084394"/>
                  <a:gd name="connsiteY1012" fmla="*/ 489022 h 4077840"/>
                  <a:gd name="connsiteX1013" fmla="*/ 8858137 w 12084394"/>
                  <a:gd name="connsiteY1013" fmla="*/ 439913 h 4077840"/>
                  <a:gd name="connsiteX1014" fmla="*/ 8346071 w 12084394"/>
                  <a:gd name="connsiteY1014" fmla="*/ 439913 h 4077840"/>
                  <a:gd name="connsiteX1015" fmla="*/ 8395181 w 12084394"/>
                  <a:gd name="connsiteY1015" fmla="*/ 489022 h 4077840"/>
                  <a:gd name="connsiteX1016" fmla="*/ 8346071 w 12084394"/>
                  <a:gd name="connsiteY1016" fmla="*/ 538132 h 4077840"/>
                  <a:gd name="connsiteX1017" fmla="*/ 8296961 w 12084394"/>
                  <a:gd name="connsiteY1017" fmla="*/ 489022 h 4077840"/>
                  <a:gd name="connsiteX1018" fmla="*/ 8346071 w 12084394"/>
                  <a:gd name="connsiteY1018" fmla="*/ 439913 h 4077840"/>
                  <a:gd name="connsiteX1019" fmla="*/ 7834193 w 12084394"/>
                  <a:gd name="connsiteY1019" fmla="*/ 439913 h 4077840"/>
                  <a:gd name="connsiteX1020" fmla="*/ 7883303 w 12084394"/>
                  <a:gd name="connsiteY1020" fmla="*/ 489022 h 4077840"/>
                  <a:gd name="connsiteX1021" fmla="*/ 7834193 w 12084394"/>
                  <a:gd name="connsiteY1021" fmla="*/ 538132 h 4077840"/>
                  <a:gd name="connsiteX1022" fmla="*/ 7785083 w 12084394"/>
                  <a:gd name="connsiteY1022" fmla="*/ 489022 h 4077840"/>
                  <a:gd name="connsiteX1023" fmla="*/ 7834193 w 12084394"/>
                  <a:gd name="connsiteY1023" fmla="*/ 439913 h 4077840"/>
                  <a:gd name="connsiteX1024" fmla="*/ 7322128 w 12084394"/>
                  <a:gd name="connsiteY1024" fmla="*/ 439913 h 4077840"/>
                  <a:gd name="connsiteX1025" fmla="*/ 7371238 w 12084394"/>
                  <a:gd name="connsiteY1025" fmla="*/ 489022 h 4077840"/>
                  <a:gd name="connsiteX1026" fmla="*/ 7322128 w 12084394"/>
                  <a:gd name="connsiteY1026" fmla="*/ 538132 h 4077840"/>
                  <a:gd name="connsiteX1027" fmla="*/ 7273018 w 12084394"/>
                  <a:gd name="connsiteY1027" fmla="*/ 489022 h 4077840"/>
                  <a:gd name="connsiteX1028" fmla="*/ 7322128 w 12084394"/>
                  <a:gd name="connsiteY1028" fmla="*/ 439913 h 4077840"/>
                  <a:gd name="connsiteX1029" fmla="*/ 6810251 w 12084394"/>
                  <a:gd name="connsiteY1029" fmla="*/ 439913 h 4077840"/>
                  <a:gd name="connsiteX1030" fmla="*/ 6859361 w 12084394"/>
                  <a:gd name="connsiteY1030" fmla="*/ 489022 h 4077840"/>
                  <a:gd name="connsiteX1031" fmla="*/ 6810251 w 12084394"/>
                  <a:gd name="connsiteY1031" fmla="*/ 538132 h 4077840"/>
                  <a:gd name="connsiteX1032" fmla="*/ 6761141 w 12084394"/>
                  <a:gd name="connsiteY1032" fmla="*/ 489022 h 4077840"/>
                  <a:gd name="connsiteX1033" fmla="*/ 6810251 w 12084394"/>
                  <a:gd name="connsiteY1033" fmla="*/ 439913 h 4077840"/>
                  <a:gd name="connsiteX1034" fmla="*/ 6298184 w 12084394"/>
                  <a:gd name="connsiteY1034" fmla="*/ 439913 h 4077840"/>
                  <a:gd name="connsiteX1035" fmla="*/ 6347295 w 12084394"/>
                  <a:gd name="connsiteY1035" fmla="*/ 489022 h 4077840"/>
                  <a:gd name="connsiteX1036" fmla="*/ 6298184 w 12084394"/>
                  <a:gd name="connsiteY1036" fmla="*/ 538132 h 4077840"/>
                  <a:gd name="connsiteX1037" fmla="*/ 6249074 w 12084394"/>
                  <a:gd name="connsiteY1037" fmla="*/ 489022 h 4077840"/>
                  <a:gd name="connsiteX1038" fmla="*/ 6298184 w 12084394"/>
                  <a:gd name="connsiteY1038" fmla="*/ 439913 h 4077840"/>
                  <a:gd name="connsiteX1039" fmla="*/ 5786315 w 12084394"/>
                  <a:gd name="connsiteY1039" fmla="*/ 439913 h 4077840"/>
                  <a:gd name="connsiteX1040" fmla="*/ 5835423 w 12084394"/>
                  <a:gd name="connsiteY1040" fmla="*/ 489022 h 4077840"/>
                  <a:gd name="connsiteX1041" fmla="*/ 5786315 w 12084394"/>
                  <a:gd name="connsiteY1041" fmla="*/ 538132 h 4077840"/>
                  <a:gd name="connsiteX1042" fmla="*/ 5737207 w 12084394"/>
                  <a:gd name="connsiteY1042" fmla="*/ 489022 h 4077840"/>
                  <a:gd name="connsiteX1043" fmla="*/ 5786315 w 12084394"/>
                  <a:gd name="connsiteY1043" fmla="*/ 439913 h 4077840"/>
                  <a:gd name="connsiteX1044" fmla="*/ 5274270 w 12084394"/>
                  <a:gd name="connsiteY1044" fmla="*/ 439913 h 4077840"/>
                  <a:gd name="connsiteX1045" fmla="*/ 5323380 w 12084394"/>
                  <a:gd name="connsiteY1045" fmla="*/ 489022 h 4077840"/>
                  <a:gd name="connsiteX1046" fmla="*/ 5274270 w 12084394"/>
                  <a:gd name="connsiteY1046" fmla="*/ 538132 h 4077840"/>
                  <a:gd name="connsiteX1047" fmla="*/ 5225158 w 12084394"/>
                  <a:gd name="connsiteY1047" fmla="*/ 489022 h 4077840"/>
                  <a:gd name="connsiteX1048" fmla="*/ 5274270 w 12084394"/>
                  <a:gd name="connsiteY1048" fmla="*/ 439913 h 4077840"/>
                  <a:gd name="connsiteX1049" fmla="*/ 4762180 w 12084394"/>
                  <a:gd name="connsiteY1049" fmla="*/ 439913 h 4077840"/>
                  <a:gd name="connsiteX1050" fmla="*/ 4811308 w 12084394"/>
                  <a:gd name="connsiteY1050" fmla="*/ 489022 h 4077840"/>
                  <a:gd name="connsiteX1051" fmla="*/ 4762180 w 12084394"/>
                  <a:gd name="connsiteY1051" fmla="*/ 538132 h 4077840"/>
                  <a:gd name="connsiteX1052" fmla="*/ 4713081 w 12084394"/>
                  <a:gd name="connsiteY1052" fmla="*/ 489022 h 4077840"/>
                  <a:gd name="connsiteX1053" fmla="*/ 4762180 w 12084394"/>
                  <a:gd name="connsiteY1053" fmla="*/ 439913 h 4077840"/>
                  <a:gd name="connsiteX1054" fmla="*/ 4250316 w 12084394"/>
                  <a:gd name="connsiteY1054" fmla="*/ 439913 h 4077840"/>
                  <a:gd name="connsiteX1055" fmla="*/ 4299428 w 12084394"/>
                  <a:gd name="connsiteY1055" fmla="*/ 489022 h 4077840"/>
                  <a:gd name="connsiteX1056" fmla="*/ 4250316 w 12084394"/>
                  <a:gd name="connsiteY1056" fmla="*/ 538132 h 4077840"/>
                  <a:gd name="connsiteX1057" fmla="*/ 4201204 w 12084394"/>
                  <a:gd name="connsiteY1057" fmla="*/ 489022 h 4077840"/>
                  <a:gd name="connsiteX1058" fmla="*/ 4250316 w 12084394"/>
                  <a:gd name="connsiteY1058" fmla="*/ 439913 h 4077840"/>
                  <a:gd name="connsiteX1059" fmla="*/ 3738287 w 12084394"/>
                  <a:gd name="connsiteY1059" fmla="*/ 439913 h 4077840"/>
                  <a:gd name="connsiteX1060" fmla="*/ 3787395 w 12084394"/>
                  <a:gd name="connsiteY1060" fmla="*/ 489022 h 4077840"/>
                  <a:gd name="connsiteX1061" fmla="*/ 3738287 w 12084394"/>
                  <a:gd name="connsiteY1061" fmla="*/ 538132 h 4077840"/>
                  <a:gd name="connsiteX1062" fmla="*/ 3689172 w 12084394"/>
                  <a:gd name="connsiteY1062" fmla="*/ 489022 h 4077840"/>
                  <a:gd name="connsiteX1063" fmla="*/ 3738287 w 12084394"/>
                  <a:gd name="connsiteY1063" fmla="*/ 439913 h 4077840"/>
                  <a:gd name="connsiteX1064" fmla="*/ 3226241 w 12084394"/>
                  <a:gd name="connsiteY1064" fmla="*/ 439913 h 4077840"/>
                  <a:gd name="connsiteX1065" fmla="*/ 3275356 w 12084394"/>
                  <a:gd name="connsiteY1065" fmla="*/ 489022 h 4077840"/>
                  <a:gd name="connsiteX1066" fmla="*/ 3226241 w 12084394"/>
                  <a:gd name="connsiteY1066" fmla="*/ 538132 h 4077840"/>
                  <a:gd name="connsiteX1067" fmla="*/ 3177127 w 12084394"/>
                  <a:gd name="connsiteY1067" fmla="*/ 489022 h 4077840"/>
                  <a:gd name="connsiteX1068" fmla="*/ 3226241 w 12084394"/>
                  <a:gd name="connsiteY1068" fmla="*/ 439913 h 4077840"/>
                  <a:gd name="connsiteX1069" fmla="*/ 2714361 w 12084394"/>
                  <a:gd name="connsiteY1069" fmla="*/ 439913 h 4077840"/>
                  <a:gd name="connsiteX1070" fmla="*/ 2763472 w 12084394"/>
                  <a:gd name="connsiteY1070" fmla="*/ 489022 h 4077840"/>
                  <a:gd name="connsiteX1071" fmla="*/ 2714361 w 12084394"/>
                  <a:gd name="connsiteY1071" fmla="*/ 538132 h 4077840"/>
                  <a:gd name="connsiteX1072" fmla="*/ 2665250 w 12084394"/>
                  <a:gd name="connsiteY1072" fmla="*/ 489022 h 4077840"/>
                  <a:gd name="connsiteX1073" fmla="*/ 2714361 w 12084394"/>
                  <a:gd name="connsiteY1073" fmla="*/ 439913 h 4077840"/>
                  <a:gd name="connsiteX1074" fmla="*/ 2202305 w 12084394"/>
                  <a:gd name="connsiteY1074" fmla="*/ 439913 h 4077840"/>
                  <a:gd name="connsiteX1075" fmla="*/ 2251415 w 12084394"/>
                  <a:gd name="connsiteY1075" fmla="*/ 489022 h 4077840"/>
                  <a:gd name="connsiteX1076" fmla="*/ 2202305 w 12084394"/>
                  <a:gd name="connsiteY1076" fmla="*/ 538132 h 4077840"/>
                  <a:gd name="connsiteX1077" fmla="*/ 2153195 w 12084394"/>
                  <a:gd name="connsiteY1077" fmla="*/ 489022 h 4077840"/>
                  <a:gd name="connsiteX1078" fmla="*/ 2202305 w 12084394"/>
                  <a:gd name="connsiteY1078" fmla="*/ 439913 h 4077840"/>
                  <a:gd name="connsiteX1079" fmla="*/ 1690412 w 12084394"/>
                  <a:gd name="connsiteY1079" fmla="*/ 439913 h 4077840"/>
                  <a:gd name="connsiteX1080" fmla="*/ 1739522 w 12084394"/>
                  <a:gd name="connsiteY1080" fmla="*/ 489022 h 4077840"/>
                  <a:gd name="connsiteX1081" fmla="*/ 1690412 w 12084394"/>
                  <a:gd name="connsiteY1081" fmla="*/ 538132 h 4077840"/>
                  <a:gd name="connsiteX1082" fmla="*/ 1641302 w 12084394"/>
                  <a:gd name="connsiteY1082" fmla="*/ 489022 h 4077840"/>
                  <a:gd name="connsiteX1083" fmla="*/ 1690412 w 12084394"/>
                  <a:gd name="connsiteY1083" fmla="*/ 439913 h 4077840"/>
                  <a:gd name="connsiteX1084" fmla="*/ 1178353 w 12084394"/>
                  <a:gd name="connsiteY1084" fmla="*/ 439913 h 4077840"/>
                  <a:gd name="connsiteX1085" fmla="*/ 1227462 w 12084394"/>
                  <a:gd name="connsiteY1085" fmla="*/ 489022 h 4077840"/>
                  <a:gd name="connsiteX1086" fmla="*/ 1178353 w 12084394"/>
                  <a:gd name="connsiteY1086" fmla="*/ 538132 h 4077840"/>
                  <a:gd name="connsiteX1087" fmla="*/ 1129243 w 12084394"/>
                  <a:gd name="connsiteY1087" fmla="*/ 489022 h 4077840"/>
                  <a:gd name="connsiteX1088" fmla="*/ 1178353 w 12084394"/>
                  <a:gd name="connsiteY1088" fmla="*/ 439913 h 4077840"/>
                  <a:gd name="connsiteX1089" fmla="*/ 666483 w 12084394"/>
                  <a:gd name="connsiteY1089" fmla="*/ 439913 h 4077840"/>
                  <a:gd name="connsiteX1090" fmla="*/ 715592 w 12084394"/>
                  <a:gd name="connsiteY1090" fmla="*/ 489022 h 4077840"/>
                  <a:gd name="connsiteX1091" fmla="*/ 666483 w 12084394"/>
                  <a:gd name="connsiteY1091" fmla="*/ 538132 h 4077840"/>
                  <a:gd name="connsiteX1092" fmla="*/ 617373 w 12084394"/>
                  <a:gd name="connsiteY1092" fmla="*/ 489022 h 4077840"/>
                  <a:gd name="connsiteX1093" fmla="*/ 666483 w 12084394"/>
                  <a:gd name="connsiteY1093" fmla="*/ 439913 h 4077840"/>
                  <a:gd name="connsiteX1094" fmla="*/ 154424 w 12084394"/>
                  <a:gd name="connsiteY1094" fmla="*/ 439913 h 4077840"/>
                  <a:gd name="connsiteX1095" fmla="*/ 203534 w 12084394"/>
                  <a:gd name="connsiteY1095" fmla="*/ 489022 h 4077840"/>
                  <a:gd name="connsiteX1096" fmla="*/ 154424 w 12084394"/>
                  <a:gd name="connsiteY1096" fmla="*/ 538132 h 4077840"/>
                  <a:gd name="connsiteX1097" fmla="*/ 105315 w 12084394"/>
                  <a:gd name="connsiteY1097" fmla="*/ 489022 h 4077840"/>
                  <a:gd name="connsiteX1098" fmla="*/ 154424 w 12084394"/>
                  <a:gd name="connsiteY1098" fmla="*/ 439913 h 4077840"/>
                  <a:gd name="connsiteX1099" fmla="*/ 11929966 w 12084394"/>
                  <a:gd name="connsiteY1099" fmla="*/ 439912 h 4077840"/>
                  <a:gd name="connsiteX1100" fmla="*/ 11979075 w 12084394"/>
                  <a:gd name="connsiteY1100" fmla="*/ 489022 h 4077840"/>
                  <a:gd name="connsiteX1101" fmla="*/ 11929966 w 12084394"/>
                  <a:gd name="connsiteY1101" fmla="*/ 538132 h 4077840"/>
                  <a:gd name="connsiteX1102" fmla="*/ 11880856 w 12084394"/>
                  <a:gd name="connsiteY1102" fmla="*/ 489022 h 4077840"/>
                  <a:gd name="connsiteX1103" fmla="*/ 11929966 w 12084394"/>
                  <a:gd name="connsiteY1103" fmla="*/ 439912 h 4077840"/>
                  <a:gd name="connsiteX1104" fmla="*/ 11929965 w 12084394"/>
                  <a:gd name="connsiteY1104" fmla="*/ 0 h 4077840"/>
                  <a:gd name="connsiteX1105" fmla="*/ 11964908 w 12084394"/>
                  <a:gd name="connsiteY1105" fmla="*/ 34944 h 4077840"/>
                  <a:gd name="connsiteX1106" fmla="*/ 11929965 w 12084394"/>
                  <a:gd name="connsiteY1106" fmla="*/ 69887 h 4077840"/>
                  <a:gd name="connsiteX1107" fmla="*/ 11895022 w 12084394"/>
                  <a:gd name="connsiteY1107" fmla="*/ 34944 h 4077840"/>
                  <a:gd name="connsiteX1108" fmla="*/ 11929965 w 12084394"/>
                  <a:gd name="connsiteY1108" fmla="*/ 0 h 4077840"/>
                  <a:gd name="connsiteX1109" fmla="*/ 11417900 w 12084394"/>
                  <a:gd name="connsiteY1109" fmla="*/ 0 h 4077840"/>
                  <a:gd name="connsiteX1110" fmla="*/ 11452843 w 12084394"/>
                  <a:gd name="connsiteY1110" fmla="*/ 34944 h 4077840"/>
                  <a:gd name="connsiteX1111" fmla="*/ 11417900 w 12084394"/>
                  <a:gd name="connsiteY1111" fmla="*/ 69887 h 4077840"/>
                  <a:gd name="connsiteX1112" fmla="*/ 11382957 w 12084394"/>
                  <a:gd name="connsiteY1112" fmla="*/ 34944 h 4077840"/>
                  <a:gd name="connsiteX1113" fmla="*/ 11417900 w 12084394"/>
                  <a:gd name="connsiteY1113" fmla="*/ 0 h 4077840"/>
                  <a:gd name="connsiteX1114" fmla="*/ 10906023 w 12084394"/>
                  <a:gd name="connsiteY1114" fmla="*/ 0 h 4077840"/>
                  <a:gd name="connsiteX1115" fmla="*/ 10940966 w 12084394"/>
                  <a:gd name="connsiteY1115" fmla="*/ 34944 h 4077840"/>
                  <a:gd name="connsiteX1116" fmla="*/ 10906023 w 12084394"/>
                  <a:gd name="connsiteY1116" fmla="*/ 69887 h 4077840"/>
                  <a:gd name="connsiteX1117" fmla="*/ 10871080 w 12084394"/>
                  <a:gd name="connsiteY1117" fmla="*/ 34944 h 4077840"/>
                  <a:gd name="connsiteX1118" fmla="*/ 10906023 w 12084394"/>
                  <a:gd name="connsiteY1118" fmla="*/ 0 h 4077840"/>
                  <a:gd name="connsiteX1119" fmla="*/ 10393958 w 12084394"/>
                  <a:gd name="connsiteY1119" fmla="*/ 0 h 4077840"/>
                  <a:gd name="connsiteX1120" fmla="*/ 10428901 w 12084394"/>
                  <a:gd name="connsiteY1120" fmla="*/ 34944 h 4077840"/>
                  <a:gd name="connsiteX1121" fmla="*/ 10393958 w 12084394"/>
                  <a:gd name="connsiteY1121" fmla="*/ 69887 h 4077840"/>
                  <a:gd name="connsiteX1122" fmla="*/ 10359014 w 12084394"/>
                  <a:gd name="connsiteY1122" fmla="*/ 34944 h 4077840"/>
                  <a:gd name="connsiteX1123" fmla="*/ 10393958 w 12084394"/>
                  <a:gd name="connsiteY1123" fmla="*/ 0 h 4077840"/>
                  <a:gd name="connsiteX1124" fmla="*/ 9882080 w 12084394"/>
                  <a:gd name="connsiteY1124" fmla="*/ 0 h 4077840"/>
                  <a:gd name="connsiteX1125" fmla="*/ 9917023 w 12084394"/>
                  <a:gd name="connsiteY1125" fmla="*/ 34944 h 4077840"/>
                  <a:gd name="connsiteX1126" fmla="*/ 9882080 w 12084394"/>
                  <a:gd name="connsiteY1126" fmla="*/ 69887 h 4077840"/>
                  <a:gd name="connsiteX1127" fmla="*/ 9847137 w 12084394"/>
                  <a:gd name="connsiteY1127" fmla="*/ 34944 h 4077840"/>
                  <a:gd name="connsiteX1128" fmla="*/ 9882080 w 12084394"/>
                  <a:gd name="connsiteY1128" fmla="*/ 0 h 4077840"/>
                  <a:gd name="connsiteX1129" fmla="*/ 9370014 w 12084394"/>
                  <a:gd name="connsiteY1129" fmla="*/ 0 h 4077840"/>
                  <a:gd name="connsiteX1130" fmla="*/ 9404958 w 12084394"/>
                  <a:gd name="connsiteY1130" fmla="*/ 34944 h 4077840"/>
                  <a:gd name="connsiteX1131" fmla="*/ 9370014 w 12084394"/>
                  <a:gd name="connsiteY1131" fmla="*/ 69887 h 4077840"/>
                  <a:gd name="connsiteX1132" fmla="*/ 9335070 w 12084394"/>
                  <a:gd name="connsiteY1132" fmla="*/ 34944 h 4077840"/>
                  <a:gd name="connsiteX1133" fmla="*/ 9370014 w 12084394"/>
                  <a:gd name="connsiteY1133" fmla="*/ 0 h 4077840"/>
                  <a:gd name="connsiteX1134" fmla="*/ 8857948 w 12084394"/>
                  <a:gd name="connsiteY1134" fmla="*/ 0 h 4077840"/>
                  <a:gd name="connsiteX1135" fmla="*/ 8892891 w 12084394"/>
                  <a:gd name="connsiteY1135" fmla="*/ 34944 h 4077840"/>
                  <a:gd name="connsiteX1136" fmla="*/ 8857948 w 12084394"/>
                  <a:gd name="connsiteY1136" fmla="*/ 69887 h 4077840"/>
                  <a:gd name="connsiteX1137" fmla="*/ 8823004 w 12084394"/>
                  <a:gd name="connsiteY1137" fmla="*/ 34944 h 4077840"/>
                  <a:gd name="connsiteX1138" fmla="*/ 8857948 w 12084394"/>
                  <a:gd name="connsiteY1138" fmla="*/ 0 h 4077840"/>
                  <a:gd name="connsiteX1139" fmla="*/ 8346071 w 12084394"/>
                  <a:gd name="connsiteY1139" fmla="*/ 0 h 4077840"/>
                  <a:gd name="connsiteX1140" fmla="*/ 8381015 w 12084394"/>
                  <a:gd name="connsiteY1140" fmla="*/ 34944 h 4077840"/>
                  <a:gd name="connsiteX1141" fmla="*/ 8346071 w 12084394"/>
                  <a:gd name="connsiteY1141" fmla="*/ 69887 h 4077840"/>
                  <a:gd name="connsiteX1142" fmla="*/ 8311127 w 12084394"/>
                  <a:gd name="connsiteY1142" fmla="*/ 34944 h 4077840"/>
                  <a:gd name="connsiteX1143" fmla="*/ 8346071 w 12084394"/>
                  <a:gd name="connsiteY1143" fmla="*/ 0 h 4077840"/>
                  <a:gd name="connsiteX1144" fmla="*/ 7834004 w 12084394"/>
                  <a:gd name="connsiteY1144" fmla="*/ 0 h 4077840"/>
                  <a:gd name="connsiteX1145" fmla="*/ 7868948 w 12084394"/>
                  <a:gd name="connsiteY1145" fmla="*/ 34944 h 4077840"/>
                  <a:gd name="connsiteX1146" fmla="*/ 7834004 w 12084394"/>
                  <a:gd name="connsiteY1146" fmla="*/ 69887 h 4077840"/>
                  <a:gd name="connsiteX1147" fmla="*/ 7799061 w 12084394"/>
                  <a:gd name="connsiteY1147" fmla="*/ 34944 h 4077840"/>
                  <a:gd name="connsiteX1148" fmla="*/ 7834004 w 12084394"/>
                  <a:gd name="connsiteY1148" fmla="*/ 0 h 4077840"/>
                  <a:gd name="connsiteX1149" fmla="*/ 7322128 w 12084394"/>
                  <a:gd name="connsiteY1149" fmla="*/ 0 h 4077840"/>
                  <a:gd name="connsiteX1150" fmla="*/ 7357071 w 12084394"/>
                  <a:gd name="connsiteY1150" fmla="*/ 34944 h 4077840"/>
                  <a:gd name="connsiteX1151" fmla="*/ 7322128 w 12084394"/>
                  <a:gd name="connsiteY1151" fmla="*/ 69887 h 4077840"/>
                  <a:gd name="connsiteX1152" fmla="*/ 7287184 w 12084394"/>
                  <a:gd name="connsiteY1152" fmla="*/ 34944 h 4077840"/>
                  <a:gd name="connsiteX1153" fmla="*/ 7322128 w 12084394"/>
                  <a:gd name="connsiteY1153" fmla="*/ 0 h 4077840"/>
                  <a:gd name="connsiteX1154" fmla="*/ 6810062 w 12084394"/>
                  <a:gd name="connsiteY1154" fmla="*/ 0 h 4077840"/>
                  <a:gd name="connsiteX1155" fmla="*/ 6845006 w 12084394"/>
                  <a:gd name="connsiteY1155" fmla="*/ 34944 h 4077840"/>
                  <a:gd name="connsiteX1156" fmla="*/ 6810062 w 12084394"/>
                  <a:gd name="connsiteY1156" fmla="*/ 69887 h 4077840"/>
                  <a:gd name="connsiteX1157" fmla="*/ 6775118 w 12084394"/>
                  <a:gd name="connsiteY1157" fmla="*/ 34944 h 4077840"/>
                  <a:gd name="connsiteX1158" fmla="*/ 6810062 w 12084394"/>
                  <a:gd name="connsiteY1158" fmla="*/ 0 h 4077840"/>
                  <a:gd name="connsiteX1159" fmla="*/ 6298186 w 12084394"/>
                  <a:gd name="connsiteY1159" fmla="*/ 0 h 4077840"/>
                  <a:gd name="connsiteX1160" fmla="*/ 6333129 w 12084394"/>
                  <a:gd name="connsiteY1160" fmla="*/ 34944 h 4077840"/>
                  <a:gd name="connsiteX1161" fmla="*/ 6298186 w 12084394"/>
                  <a:gd name="connsiteY1161" fmla="*/ 69887 h 4077840"/>
                  <a:gd name="connsiteX1162" fmla="*/ 6263242 w 12084394"/>
                  <a:gd name="connsiteY1162" fmla="*/ 34944 h 4077840"/>
                  <a:gd name="connsiteX1163" fmla="*/ 6298186 w 12084394"/>
                  <a:gd name="connsiteY1163" fmla="*/ 0 h 4077840"/>
                  <a:gd name="connsiteX1164" fmla="*/ 5786126 w 12084394"/>
                  <a:gd name="connsiteY1164" fmla="*/ 0 h 4077840"/>
                  <a:gd name="connsiteX1165" fmla="*/ 5821068 w 12084394"/>
                  <a:gd name="connsiteY1165" fmla="*/ 34944 h 4077840"/>
                  <a:gd name="connsiteX1166" fmla="*/ 5786126 w 12084394"/>
                  <a:gd name="connsiteY1166" fmla="*/ 69887 h 4077840"/>
                  <a:gd name="connsiteX1167" fmla="*/ 5751183 w 12084394"/>
                  <a:gd name="connsiteY1167" fmla="*/ 34944 h 4077840"/>
                  <a:gd name="connsiteX1168" fmla="*/ 5786126 w 12084394"/>
                  <a:gd name="connsiteY1168" fmla="*/ 0 h 4077840"/>
                  <a:gd name="connsiteX1169" fmla="*/ 5274270 w 12084394"/>
                  <a:gd name="connsiteY1169" fmla="*/ 0 h 4077840"/>
                  <a:gd name="connsiteX1170" fmla="*/ 5309213 w 12084394"/>
                  <a:gd name="connsiteY1170" fmla="*/ 34944 h 4077840"/>
                  <a:gd name="connsiteX1171" fmla="*/ 5274270 w 12084394"/>
                  <a:gd name="connsiteY1171" fmla="*/ 69887 h 4077840"/>
                  <a:gd name="connsiteX1172" fmla="*/ 5239326 w 12084394"/>
                  <a:gd name="connsiteY1172" fmla="*/ 34944 h 4077840"/>
                  <a:gd name="connsiteX1173" fmla="*/ 5274270 w 12084394"/>
                  <a:gd name="connsiteY1173" fmla="*/ 0 h 4077840"/>
                  <a:gd name="connsiteX1174" fmla="*/ 4762180 w 12084394"/>
                  <a:gd name="connsiteY1174" fmla="*/ 0 h 4077840"/>
                  <a:gd name="connsiteX1175" fmla="*/ 4797138 w 12084394"/>
                  <a:gd name="connsiteY1175" fmla="*/ 34944 h 4077840"/>
                  <a:gd name="connsiteX1176" fmla="*/ 4762180 w 12084394"/>
                  <a:gd name="connsiteY1176" fmla="*/ 69887 h 4077840"/>
                  <a:gd name="connsiteX1177" fmla="*/ 4727244 w 12084394"/>
                  <a:gd name="connsiteY1177" fmla="*/ 34944 h 4077840"/>
                  <a:gd name="connsiteX1178" fmla="*/ 4762180 w 12084394"/>
                  <a:gd name="connsiteY1178" fmla="*/ 0 h 4077840"/>
                  <a:gd name="connsiteX1179" fmla="*/ 4250316 w 12084394"/>
                  <a:gd name="connsiteY1179" fmla="*/ 0 h 4077840"/>
                  <a:gd name="connsiteX1180" fmla="*/ 4285260 w 12084394"/>
                  <a:gd name="connsiteY1180" fmla="*/ 34944 h 4077840"/>
                  <a:gd name="connsiteX1181" fmla="*/ 4250316 w 12084394"/>
                  <a:gd name="connsiteY1181" fmla="*/ 69887 h 4077840"/>
                  <a:gd name="connsiteX1182" fmla="*/ 4215371 w 12084394"/>
                  <a:gd name="connsiteY1182" fmla="*/ 34944 h 4077840"/>
                  <a:gd name="connsiteX1183" fmla="*/ 4250316 w 12084394"/>
                  <a:gd name="connsiteY1183" fmla="*/ 0 h 4077840"/>
                  <a:gd name="connsiteX1184" fmla="*/ 3738287 w 12084394"/>
                  <a:gd name="connsiteY1184" fmla="*/ 0 h 4077840"/>
                  <a:gd name="connsiteX1185" fmla="*/ 3773228 w 12084394"/>
                  <a:gd name="connsiteY1185" fmla="*/ 34944 h 4077840"/>
                  <a:gd name="connsiteX1186" fmla="*/ 3738287 w 12084394"/>
                  <a:gd name="connsiteY1186" fmla="*/ 69887 h 4077840"/>
                  <a:gd name="connsiteX1187" fmla="*/ 3703339 w 12084394"/>
                  <a:gd name="connsiteY1187" fmla="*/ 34944 h 4077840"/>
                  <a:gd name="connsiteX1188" fmla="*/ 3738287 w 12084394"/>
                  <a:gd name="connsiteY1188" fmla="*/ 0 h 4077840"/>
                  <a:gd name="connsiteX1189" fmla="*/ 3226239 w 12084394"/>
                  <a:gd name="connsiteY1189" fmla="*/ 0 h 4077840"/>
                  <a:gd name="connsiteX1190" fmla="*/ 3261187 w 12084394"/>
                  <a:gd name="connsiteY1190" fmla="*/ 34944 h 4077840"/>
                  <a:gd name="connsiteX1191" fmla="*/ 3226239 w 12084394"/>
                  <a:gd name="connsiteY1191" fmla="*/ 69887 h 4077840"/>
                  <a:gd name="connsiteX1192" fmla="*/ 3191293 w 12084394"/>
                  <a:gd name="connsiteY1192" fmla="*/ 34944 h 4077840"/>
                  <a:gd name="connsiteX1193" fmla="*/ 3226239 w 12084394"/>
                  <a:gd name="connsiteY1193" fmla="*/ 0 h 4077840"/>
                  <a:gd name="connsiteX1194" fmla="*/ 2714361 w 12084394"/>
                  <a:gd name="connsiteY1194" fmla="*/ 0 h 4077840"/>
                  <a:gd name="connsiteX1195" fmla="*/ 2749305 w 12084394"/>
                  <a:gd name="connsiteY1195" fmla="*/ 34944 h 4077840"/>
                  <a:gd name="connsiteX1196" fmla="*/ 2714361 w 12084394"/>
                  <a:gd name="connsiteY1196" fmla="*/ 69887 h 4077840"/>
                  <a:gd name="connsiteX1197" fmla="*/ 2679418 w 12084394"/>
                  <a:gd name="connsiteY1197" fmla="*/ 34944 h 4077840"/>
                  <a:gd name="connsiteX1198" fmla="*/ 2714361 w 12084394"/>
                  <a:gd name="connsiteY1198" fmla="*/ 0 h 4077840"/>
                  <a:gd name="connsiteX1199" fmla="*/ 2202305 w 12084394"/>
                  <a:gd name="connsiteY1199" fmla="*/ 0 h 4077840"/>
                  <a:gd name="connsiteX1200" fmla="*/ 2237248 w 12084394"/>
                  <a:gd name="connsiteY1200" fmla="*/ 34944 h 4077840"/>
                  <a:gd name="connsiteX1201" fmla="*/ 2202305 w 12084394"/>
                  <a:gd name="connsiteY1201" fmla="*/ 69887 h 4077840"/>
                  <a:gd name="connsiteX1202" fmla="*/ 2167360 w 12084394"/>
                  <a:gd name="connsiteY1202" fmla="*/ 34944 h 4077840"/>
                  <a:gd name="connsiteX1203" fmla="*/ 2202305 w 12084394"/>
                  <a:gd name="connsiteY1203" fmla="*/ 0 h 4077840"/>
                  <a:gd name="connsiteX1204" fmla="*/ 1690412 w 12084394"/>
                  <a:gd name="connsiteY1204" fmla="*/ 0 h 4077840"/>
                  <a:gd name="connsiteX1205" fmla="*/ 1725355 w 12084394"/>
                  <a:gd name="connsiteY1205" fmla="*/ 34944 h 4077840"/>
                  <a:gd name="connsiteX1206" fmla="*/ 1690412 w 12084394"/>
                  <a:gd name="connsiteY1206" fmla="*/ 69887 h 4077840"/>
                  <a:gd name="connsiteX1207" fmla="*/ 1655468 w 12084394"/>
                  <a:gd name="connsiteY1207" fmla="*/ 34944 h 4077840"/>
                  <a:gd name="connsiteX1208" fmla="*/ 1690412 w 12084394"/>
                  <a:gd name="connsiteY1208" fmla="*/ 0 h 4077840"/>
                  <a:gd name="connsiteX1209" fmla="*/ 1178353 w 12084394"/>
                  <a:gd name="connsiteY1209" fmla="*/ 0 h 4077840"/>
                  <a:gd name="connsiteX1210" fmla="*/ 1213295 w 12084394"/>
                  <a:gd name="connsiteY1210" fmla="*/ 34944 h 4077840"/>
                  <a:gd name="connsiteX1211" fmla="*/ 1178353 w 12084394"/>
                  <a:gd name="connsiteY1211" fmla="*/ 69887 h 4077840"/>
                  <a:gd name="connsiteX1212" fmla="*/ 1143409 w 12084394"/>
                  <a:gd name="connsiteY1212" fmla="*/ 34944 h 4077840"/>
                  <a:gd name="connsiteX1213" fmla="*/ 1178353 w 12084394"/>
                  <a:gd name="connsiteY1213" fmla="*/ 0 h 4077840"/>
                  <a:gd name="connsiteX1214" fmla="*/ 666483 w 12084394"/>
                  <a:gd name="connsiteY1214" fmla="*/ 0 h 4077840"/>
                  <a:gd name="connsiteX1215" fmla="*/ 701425 w 12084394"/>
                  <a:gd name="connsiteY1215" fmla="*/ 34944 h 4077840"/>
                  <a:gd name="connsiteX1216" fmla="*/ 666483 w 12084394"/>
                  <a:gd name="connsiteY1216" fmla="*/ 69887 h 4077840"/>
                  <a:gd name="connsiteX1217" fmla="*/ 631539 w 12084394"/>
                  <a:gd name="connsiteY1217" fmla="*/ 34944 h 4077840"/>
                  <a:gd name="connsiteX1218" fmla="*/ 666483 w 12084394"/>
                  <a:gd name="connsiteY1218" fmla="*/ 0 h 4077840"/>
                  <a:gd name="connsiteX1219" fmla="*/ 154424 w 12084394"/>
                  <a:gd name="connsiteY1219" fmla="*/ 0 h 4077840"/>
                  <a:gd name="connsiteX1220" fmla="*/ 189367 w 12084394"/>
                  <a:gd name="connsiteY1220" fmla="*/ 34944 h 4077840"/>
                  <a:gd name="connsiteX1221" fmla="*/ 154424 w 12084394"/>
                  <a:gd name="connsiteY1221" fmla="*/ 69887 h 4077840"/>
                  <a:gd name="connsiteX1222" fmla="*/ 119480 w 12084394"/>
                  <a:gd name="connsiteY1222" fmla="*/ 34944 h 4077840"/>
                  <a:gd name="connsiteX1223" fmla="*/ 154424 w 12084394"/>
                  <a:gd name="connsiteY1223" fmla="*/ 0 h 40778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  <a:cxn ang="0">
                    <a:pos x="connsiteX330" y="connsiteY330"/>
                  </a:cxn>
                  <a:cxn ang="0">
                    <a:pos x="connsiteX331" y="connsiteY331"/>
                  </a:cxn>
                  <a:cxn ang="0">
                    <a:pos x="connsiteX332" y="connsiteY332"/>
                  </a:cxn>
                  <a:cxn ang="0">
                    <a:pos x="connsiteX333" y="connsiteY333"/>
                  </a:cxn>
                  <a:cxn ang="0">
                    <a:pos x="connsiteX334" y="connsiteY334"/>
                  </a:cxn>
                  <a:cxn ang="0">
                    <a:pos x="connsiteX335" y="connsiteY335"/>
                  </a:cxn>
                  <a:cxn ang="0">
                    <a:pos x="connsiteX336" y="connsiteY336"/>
                  </a:cxn>
                  <a:cxn ang="0">
                    <a:pos x="connsiteX337" y="connsiteY337"/>
                  </a:cxn>
                  <a:cxn ang="0">
                    <a:pos x="connsiteX338" y="connsiteY338"/>
                  </a:cxn>
                  <a:cxn ang="0">
                    <a:pos x="connsiteX339" y="connsiteY339"/>
                  </a:cxn>
                  <a:cxn ang="0">
                    <a:pos x="connsiteX340" y="connsiteY340"/>
                  </a:cxn>
                  <a:cxn ang="0">
                    <a:pos x="connsiteX341" y="connsiteY341"/>
                  </a:cxn>
                  <a:cxn ang="0">
                    <a:pos x="connsiteX342" y="connsiteY342"/>
                  </a:cxn>
                  <a:cxn ang="0">
                    <a:pos x="connsiteX343" y="connsiteY343"/>
                  </a:cxn>
                  <a:cxn ang="0">
                    <a:pos x="connsiteX344" y="connsiteY344"/>
                  </a:cxn>
                  <a:cxn ang="0">
                    <a:pos x="connsiteX345" y="connsiteY345"/>
                  </a:cxn>
                  <a:cxn ang="0">
                    <a:pos x="connsiteX346" y="connsiteY346"/>
                  </a:cxn>
                  <a:cxn ang="0">
                    <a:pos x="connsiteX347" y="connsiteY347"/>
                  </a:cxn>
                  <a:cxn ang="0">
                    <a:pos x="connsiteX348" y="connsiteY348"/>
                  </a:cxn>
                  <a:cxn ang="0">
                    <a:pos x="connsiteX349" y="connsiteY349"/>
                  </a:cxn>
                  <a:cxn ang="0">
                    <a:pos x="connsiteX350" y="connsiteY350"/>
                  </a:cxn>
                  <a:cxn ang="0">
                    <a:pos x="connsiteX351" y="connsiteY351"/>
                  </a:cxn>
                  <a:cxn ang="0">
                    <a:pos x="connsiteX352" y="connsiteY352"/>
                  </a:cxn>
                  <a:cxn ang="0">
                    <a:pos x="connsiteX353" y="connsiteY353"/>
                  </a:cxn>
                  <a:cxn ang="0">
                    <a:pos x="connsiteX354" y="connsiteY354"/>
                  </a:cxn>
                  <a:cxn ang="0">
                    <a:pos x="connsiteX355" y="connsiteY355"/>
                  </a:cxn>
                  <a:cxn ang="0">
                    <a:pos x="connsiteX356" y="connsiteY356"/>
                  </a:cxn>
                  <a:cxn ang="0">
                    <a:pos x="connsiteX357" y="connsiteY357"/>
                  </a:cxn>
                  <a:cxn ang="0">
                    <a:pos x="connsiteX358" y="connsiteY358"/>
                  </a:cxn>
                  <a:cxn ang="0">
                    <a:pos x="connsiteX359" y="connsiteY359"/>
                  </a:cxn>
                  <a:cxn ang="0">
                    <a:pos x="connsiteX360" y="connsiteY360"/>
                  </a:cxn>
                  <a:cxn ang="0">
                    <a:pos x="connsiteX361" y="connsiteY361"/>
                  </a:cxn>
                  <a:cxn ang="0">
                    <a:pos x="connsiteX362" y="connsiteY362"/>
                  </a:cxn>
                  <a:cxn ang="0">
                    <a:pos x="connsiteX363" y="connsiteY363"/>
                  </a:cxn>
                  <a:cxn ang="0">
                    <a:pos x="connsiteX364" y="connsiteY364"/>
                  </a:cxn>
                  <a:cxn ang="0">
                    <a:pos x="connsiteX365" y="connsiteY365"/>
                  </a:cxn>
                  <a:cxn ang="0">
                    <a:pos x="connsiteX366" y="connsiteY366"/>
                  </a:cxn>
                  <a:cxn ang="0">
                    <a:pos x="connsiteX367" y="connsiteY367"/>
                  </a:cxn>
                  <a:cxn ang="0">
                    <a:pos x="connsiteX368" y="connsiteY368"/>
                  </a:cxn>
                  <a:cxn ang="0">
                    <a:pos x="connsiteX369" y="connsiteY369"/>
                  </a:cxn>
                  <a:cxn ang="0">
                    <a:pos x="connsiteX370" y="connsiteY370"/>
                  </a:cxn>
                  <a:cxn ang="0">
                    <a:pos x="connsiteX371" y="connsiteY371"/>
                  </a:cxn>
                  <a:cxn ang="0">
                    <a:pos x="connsiteX372" y="connsiteY372"/>
                  </a:cxn>
                  <a:cxn ang="0">
                    <a:pos x="connsiteX373" y="connsiteY373"/>
                  </a:cxn>
                  <a:cxn ang="0">
                    <a:pos x="connsiteX374" y="connsiteY374"/>
                  </a:cxn>
                  <a:cxn ang="0">
                    <a:pos x="connsiteX375" y="connsiteY375"/>
                  </a:cxn>
                  <a:cxn ang="0">
                    <a:pos x="connsiteX376" y="connsiteY376"/>
                  </a:cxn>
                  <a:cxn ang="0">
                    <a:pos x="connsiteX377" y="connsiteY377"/>
                  </a:cxn>
                  <a:cxn ang="0">
                    <a:pos x="connsiteX378" y="connsiteY378"/>
                  </a:cxn>
                  <a:cxn ang="0">
                    <a:pos x="connsiteX379" y="connsiteY379"/>
                  </a:cxn>
                  <a:cxn ang="0">
                    <a:pos x="connsiteX380" y="connsiteY380"/>
                  </a:cxn>
                  <a:cxn ang="0">
                    <a:pos x="connsiteX381" y="connsiteY381"/>
                  </a:cxn>
                  <a:cxn ang="0">
                    <a:pos x="connsiteX382" y="connsiteY382"/>
                  </a:cxn>
                  <a:cxn ang="0">
                    <a:pos x="connsiteX383" y="connsiteY383"/>
                  </a:cxn>
                  <a:cxn ang="0">
                    <a:pos x="connsiteX384" y="connsiteY384"/>
                  </a:cxn>
                  <a:cxn ang="0">
                    <a:pos x="connsiteX385" y="connsiteY385"/>
                  </a:cxn>
                  <a:cxn ang="0">
                    <a:pos x="connsiteX386" y="connsiteY386"/>
                  </a:cxn>
                  <a:cxn ang="0">
                    <a:pos x="connsiteX387" y="connsiteY387"/>
                  </a:cxn>
                  <a:cxn ang="0">
                    <a:pos x="connsiteX388" y="connsiteY388"/>
                  </a:cxn>
                  <a:cxn ang="0">
                    <a:pos x="connsiteX389" y="connsiteY389"/>
                  </a:cxn>
                  <a:cxn ang="0">
                    <a:pos x="connsiteX390" y="connsiteY390"/>
                  </a:cxn>
                  <a:cxn ang="0">
                    <a:pos x="connsiteX391" y="connsiteY391"/>
                  </a:cxn>
                  <a:cxn ang="0">
                    <a:pos x="connsiteX392" y="connsiteY392"/>
                  </a:cxn>
                  <a:cxn ang="0">
                    <a:pos x="connsiteX393" y="connsiteY393"/>
                  </a:cxn>
                  <a:cxn ang="0">
                    <a:pos x="connsiteX394" y="connsiteY394"/>
                  </a:cxn>
                  <a:cxn ang="0">
                    <a:pos x="connsiteX395" y="connsiteY395"/>
                  </a:cxn>
                  <a:cxn ang="0">
                    <a:pos x="connsiteX396" y="connsiteY396"/>
                  </a:cxn>
                  <a:cxn ang="0">
                    <a:pos x="connsiteX397" y="connsiteY397"/>
                  </a:cxn>
                  <a:cxn ang="0">
                    <a:pos x="connsiteX398" y="connsiteY398"/>
                  </a:cxn>
                  <a:cxn ang="0">
                    <a:pos x="connsiteX399" y="connsiteY399"/>
                  </a:cxn>
                  <a:cxn ang="0">
                    <a:pos x="connsiteX400" y="connsiteY400"/>
                  </a:cxn>
                  <a:cxn ang="0">
                    <a:pos x="connsiteX401" y="connsiteY401"/>
                  </a:cxn>
                  <a:cxn ang="0">
                    <a:pos x="connsiteX402" y="connsiteY402"/>
                  </a:cxn>
                  <a:cxn ang="0">
                    <a:pos x="connsiteX403" y="connsiteY403"/>
                  </a:cxn>
                  <a:cxn ang="0">
                    <a:pos x="connsiteX404" y="connsiteY404"/>
                  </a:cxn>
                  <a:cxn ang="0">
                    <a:pos x="connsiteX405" y="connsiteY405"/>
                  </a:cxn>
                  <a:cxn ang="0">
                    <a:pos x="connsiteX406" y="connsiteY406"/>
                  </a:cxn>
                  <a:cxn ang="0">
                    <a:pos x="connsiteX407" y="connsiteY407"/>
                  </a:cxn>
                  <a:cxn ang="0">
                    <a:pos x="connsiteX408" y="connsiteY408"/>
                  </a:cxn>
                  <a:cxn ang="0">
                    <a:pos x="connsiteX409" y="connsiteY409"/>
                  </a:cxn>
                  <a:cxn ang="0">
                    <a:pos x="connsiteX410" y="connsiteY410"/>
                  </a:cxn>
                  <a:cxn ang="0">
                    <a:pos x="connsiteX411" y="connsiteY411"/>
                  </a:cxn>
                  <a:cxn ang="0">
                    <a:pos x="connsiteX412" y="connsiteY412"/>
                  </a:cxn>
                  <a:cxn ang="0">
                    <a:pos x="connsiteX413" y="connsiteY413"/>
                  </a:cxn>
                  <a:cxn ang="0">
                    <a:pos x="connsiteX414" y="connsiteY414"/>
                  </a:cxn>
                  <a:cxn ang="0">
                    <a:pos x="connsiteX415" y="connsiteY415"/>
                  </a:cxn>
                  <a:cxn ang="0">
                    <a:pos x="connsiteX416" y="connsiteY416"/>
                  </a:cxn>
                  <a:cxn ang="0">
                    <a:pos x="connsiteX417" y="connsiteY417"/>
                  </a:cxn>
                  <a:cxn ang="0">
                    <a:pos x="connsiteX418" y="connsiteY418"/>
                  </a:cxn>
                  <a:cxn ang="0">
                    <a:pos x="connsiteX419" y="connsiteY419"/>
                  </a:cxn>
                  <a:cxn ang="0">
                    <a:pos x="connsiteX420" y="connsiteY420"/>
                  </a:cxn>
                  <a:cxn ang="0">
                    <a:pos x="connsiteX421" y="connsiteY421"/>
                  </a:cxn>
                  <a:cxn ang="0">
                    <a:pos x="connsiteX422" y="connsiteY422"/>
                  </a:cxn>
                  <a:cxn ang="0">
                    <a:pos x="connsiteX423" y="connsiteY423"/>
                  </a:cxn>
                  <a:cxn ang="0">
                    <a:pos x="connsiteX424" y="connsiteY424"/>
                  </a:cxn>
                  <a:cxn ang="0">
                    <a:pos x="connsiteX425" y="connsiteY425"/>
                  </a:cxn>
                  <a:cxn ang="0">
                    <a:pos x="connsiteX426" y="connsiteY426"/>
                  </a:cxn>
                  <a:cxn ang="0">
                    <a:pos x="connsiteX427" y="connsiteY427"/>
                  </a:cxn>
                  <a:cxn ang="0">
                    <a:pos x="connsiteX428" y="connsiteY428"/>
                  </a:cxn>
                  <a:cxn ang="0">
                    <a:pos x="connsiteX429" y="connsiteY429"/>
                  </a:cxn>
                  <a:cxn ang="0">
                    <a:pos x="connsiteX430" y="connsiteY430"/>
                  </a:cxn>
                  <a:cxn ang="0">
                    <a:pos x="connsiteX431" y="connsiteY431"/>
                  </a:cxn>
                  <a:cxn ang="0">
                    <a:pos x="connsiteX432" y="connsiteY432"/>
                  </a:cxn>
                  <a:cxn ang="0">
                    <a:pos x="connsiteX433" y="connsiteY433"/>
                  </a:cxn>
                  <a:cxn ang="0">
                    <a:pos x="connsiteX434" y="connsiteY434"/>
                  </a:cxn>
                  <a:cxn ang="0">
                    <a:pos x="connsiteX435" y="connsiteY435"/>
                  </a:cxn>
                  <a:cxn ang="0">
                    <a:pos x="connsiteX436" y="connsiteY436"/>
                  </a:cxn>
                  <a:cxn ang="0">
                    <a:pos x="connsiteX437" y="connsiteY437"/>
                  </a:cxn>
                  <a:cxn ang="0">
                    <a:pos x="connsiteX438" y="connsiteY438"/>
                  </a:cxn>
                  <a:cxn ang="0">
                    <a:pos x="connsiteX439" y="connsiteY439"/>
                  </a:cxn>
                  <a:cxn ang="0">
                    <a:pos x="connsiteX440" y="connsiteY440"/>
                  </a:cxn>
                  <a:cxn ang="0">
                    <a:pos x="connsiteX441" y="connsiteY441"/>
                  </a:cxn>
                  <a:cxn ang="0">
                    <a:pos x="connsiteX442" y="connsiteY442"/>
                  </a:cxn>
                  <a:cxn ang="0">
                    <a:pos x="connsiteX443" y="connsiteY443"/>
                  </a:cxn>
                  <a:cxn ang="0">
                    <a:pos x="connsiteX444" y="connsiteY444"/>
                  </a:cxn>
                  <a:cxn ang="0">
                    <a:pos x="connsiteX445" y="connsiteY445"/>
                  </a:cxn>
                  <a:cxn ang="0">
                    <a:pos x="connsiteX446" y="connsiteY446"/>
                  </a:cxn>
                  <a:cxn ang="0">
                    <a:pos x="connsiteX447" y="connsiteY447"/>
                  </a:cxn>
                  <a:cxn ang="0">
                    <a:pos x="connsiteX448" y="connsiteY448"/>
                  </a:cxn>
                  <a:cxn ang="0">
                    <a:pos x="connsiteX449" y="connsiteY449"/>
                  </a:cxn>
                  <a:cxn ang="0">
                    <a:pos x="connsiteX450" y="connsiteY450"/>
                  </a:cxn>
                  <a:cxn ang="0">
                    <a:pos x="connsiteX451" y="connsiteY451"/>
                  </a:cxn>
                  <a:cxn ang="0">
                    <a:pos x="connsiteX452" y="connsiteY452"/>
                  </a:cxn>
                  <a:cxn ang="0">
                    <a:pos x="connsiteX453" y="connsiteY453"/>
                  </a:cxn>
                  <a:cxn ang="0">
                    <a:pos x="connsiteX454" y="connsiteY454"/>
                  </a:cxn>
                  <a:cxn ang="0">
                    <a:pos x="connsiteX455" y="connsiteY455"/>
                  </a:cxn>
                  <a:cxn ang="0">
                    <a:pos x="connsiteX456" y="connsiteY456"/>
                  </a:cxn>
                  <a:cxn ang="0">
                    <a:pos x="connsiteX457" y="connsiteY457"/>
                  </a:cxn>
                  <a:cxn ang="0">
                    <a:pos x="connsiteX458" y="connsiteY458"/>
                  </a:cxn>
                  <a:cxn ang="0">
                    <a:pos x="connsiteX459" y="connsiteY459"/>
                  </a:cxn>
                  <a:cxn ang="0">
                    <a:pos x="connsiteX460" y="connsiteY460"/>
                  </a:cxn>
                  <a:cxn ang="0">
                    <a:pos x="connsiteX461" y="connsiteY461"/>
                  </a:cxn>
                  <a:cxn ang="0">
                    <a:pos x="connsiteX462" y="connsiteY462"/>
                  </a:cxn>
                  <a:cxn ang="0">
                    <a:pos x="connsiteX463" y="connsiteY463"/>
                  </a:cxn>
                  <a:cxn ang="0">
                    <a:pos x="connsiteX464" y="connsiteY464"/>
                  </a:cxn>
                  <a:cxn ang="0">
                    <a:pos x="connsiteX465" y="connsiteY465"/>
                  </a:cxn>
                  <a:cxn ang="0">
                    <a:pos x="connsiteX466" y="connsiteY466"/>
                  </a:cxn>
                  <a:cxn ang="0">
                    <a:pos x="connsiteX467" y="connsiteY467"/>
                  </a:cxn>
                  <a:cxn ang="0">
                    <a:pos x="connsiteX468" y="connsiteY468"/>
                  </a:cxn>
                  <a:cxn ang="0">
                    <a:pos x="connsiteX469" y="connsiteY469"/>
                  </a:cxn>
                  <a:cxn ang="0">
                    <a:pos x="connsiteX470" y="connsiteY470"/>
                  </a:cxn>
                  <a:cxn ang="0">
                    <a:pos x="connsiteX471" y="connsiteY471"/>
                  </a:cxn>
                  <a:cxn ang="0">
                    <a:pos x="connsiteX472" y="connsiteY472"/>
                  </a:cxn>
                  <a:cxn ang="0">
                    <a:pos x="connsiteX473" y="connsiteY473"/>
                  </a:cxn>
                  <a:cxn ang="0">
                    <a:pos x="connsiteX474" y="connsiteY474"/>
                  </a:cxn>
                  <a:cxn ang="0">
                    <a:pos x="connsiteX475" y="connsiteY475"/>
                  </a:cxn>
                  <a:cxn ang="0">
                    <a:pos x="connsiteX476" y="connsiteY476"/>
                  </a:cxn>
                  <a:cxn ang="0">
                    <a:pos x="connsiteX477" y="connsiteY477"/>
                  </a:cxn>
                  <a:cxn ang="0">
                    <a:pos x="connsiteX478" y="connsiteY478"/>
                  </a:cxn>
                  <a:cxn ang="0">
                    <a:pos x="connsiteX479" y="connsiteY479"/>
                  </a:cxn>
                  <a:cxn ang="0">
                    <a:pos x="connsiteX480" y="connsiteY480"/>
                  </a:cxn>
                  <a:cxn ang="0">
                    <a:pos x="connsiteX481" y="connsiteY481"/>
                  </a:cxn>
                  <a:cxn ang="0">
                    <a:pos x="connsiteX482" y="connsiteY482"/>
                  </a:cxn>
                  <a:cxn ang="0">
                    <a:pos x="connsiteX483" y="connsiteY483"/>
                  </a:cxn>
                  <a:cxn ang="0">
                    <a:pos x="connsiteX484" y="connsiteY484"/>
                  </a:cxn>
                  <a:cxn ang="0">
                    <a:pos x="connsiteX485" y="connsiteY485"/>
                  </a:cxn>
                  <a:cxn ang="0">
                    <a:pos x="connsiteX486" y="connsiteY486"/>
                  </a:cxn>
                  <a:cxn ang="0">
                    <a:pos x="connsiteX487" y="connsiteY487"/>
                  </a:cxn>
                  <a:cxn ang="0">
                    <a:pos x="connsiteX488" y="connsiteY488"/>
                  </a:cxn>
                  <a:cxn ang="0">
                    <a:pos x="connsiteX489" y="connsiteY489"/>
                  </a:cxn>
                  <a:cxn ang="0">
                    <a:pos x="connsiteX490" y="connsiteY490"/>
                  </a:cxn>
                  <a:cxn ang="0">
                    <a:pos x="connsiteX491" y="connsiteY491"/>
                  </a:cxn>
                  <a:cxn ang="0">
                    <a:pos x="connsiteX492" y="connsiteY492"/>
                  </a:cxn>
                  <a:cxn ang="0">
                    <a:pos x="connsiteX493" y="connsiteY493"/>
                  </a:cxn>
                  <a:cxn ang="0">
                    <a:pos x="connsiteX494" y="connsiteY494"/>
                  </a:cxn>
                  <a:cxn ang="0">
                    <a:pos x="connsiteX495" y="connsiteY495"/>
                  </a:cxn>
                  <a:cxn ang="0">
                    <a:pos x="connsiteX496" y="connsiteY496"/>
                  </a:cxn>
                  <a:cxn ang="0">
                    <a:pos x="connsiteX497" y="connsiteY497"/>
                  </a:cxn>
                  <a:cxn ang="0">
                    <a:pos x="connsiteX498" y="connsiteY498"/>
                  </a:cxn>
                  <a:cxn ang="0">
                    <a:pos x="connsiteX499" y="connsiteY499"/>
                  </a:cxn>
                  <a:cxn ang="0">
                    <a:pos x="connsiteX500" y="connsiteY500"/>
                  </a:cxn>
                  <a:cxn ang="0">
                    <a:pos x="connsiteX501" y="connsiteY501"/>
                  </a:cxn>
                  <a:cxn ang="0">
                    <a:pos x="connsiteX502" y="connsiteY502"/>
                  </a:cxn>
                  <a:cxn ang="0">
                    <a:pos x="connsiteX503" y="connsiteY503"/>
                  </a:cxn>
                  <a:cxn ang="0">
                    <a:pos x="connsiteX504" y="connsiteY504"/>
                  </a:cxn>
                  <a:cxn ang="0">
                    <a:pos x="connsiteX505" y="connsiteY505"/>
                  </a:cxn>
                  <a:cxn ang="0">
                    <a:pos x="connsiteX506" y="connsiteY506"/>
                  </a:cxn>
                  <a:cxn ang="0">
                    <a:pos x="connsiteX507" y="connsiteY507"/>
                  </a:cxn>
                  <a:cxn ang="0">
                    <a:pos x="connsiteX508" y="connsiteY508"/>
                  </a:cxn>
                  <a:cxn ang="0">
                    <a:pos x="connsiteX509" y="connsiteY509"/>
                  </a:cxn>
                  <a:cxn ang="0">
                    <a:pos x="connsiteX510" y="connsiteY510"/>
                  </a:cxn>
                  <a:cxn ang="0">
                    <a:pos x="connsiteX511" y="connsiteY511"/>
                  </a:cxn>
                  <a:cxn ang="0">
                    <a:pos x="connsiteX512" y="connsiteY512"/>
                  </a:cxn>
                  <a:cxn ang="0">
                    <a:pos x="connsiteX513" y="connsiteY513"/>
                  </a:cxn>
                  <a:cxn ang="0">
                    <a:pos x="connsiteX514" y="connsiteY514"/>
                  </a:cxn>
                  <a:cxn ang="0">
                    <a:pos x="connsiteX515" y="connsiteY515"/>
                  </a:cxn>
                  <a:cxn ang="0">
                    <a:pos x="connsiteX516" y="connsiteY516"/>
                  </a:cxn>
                  <a:cxn ang="0">
                    <a:pos x="connsiteX517" y="connsiteY517"/>
                  </a:cxn>
                  <a:cxn ang="0">
                    <a:pos x="connsiteX518" y="connsiteY518"/>
                  </a:cxn>
                  <a:cxn ang="0">
                    <a:pos x="connsiteX519" y="connsiteY519"/>
                  </a:cxn>
                  <a:cxn ang="0">
                    <a:pos x="connsiteX520" y="connsiteY520"/>
                  </a:cxn>
                  <a:cxn ang="0">
                    <a:pos x="connsiteX521" y="connsiteY521"/>
                  </a:cxn>
                  <a:cxn ang="0">
                    <a:pos x="connsiteX522" y="connsiteY522"/>
                  </a:cxn>
                  <a:cxn ang="0">
                    <a:pos x="connsiteX523" y="connsiteY523"/>
                  </a:cxn>
                  <a:cxn ang="0">
                    <a:pos x="connsiteX524" y="connsiteY524"/>
                  </a:cxn>
                  <a:cxn ang="0">
                    <a:pos x="connsiteX525" y="connsiteY525"/>
                  </a:cxn>
                  <a:cxn ang="0">
                    <a:pos x="connsiteX526" y="connsiteY526"/>
                  </a:cxn>
                  <a:cxn ang="0">
                    <a:pos x="connsiteX527" y="connsiteY527"/>
                  </a:cxn>
                  <a:cxn ang="0">
                    <a:pos x="connsiteX528" y="connsiteY528"/>
                  </a:cxn>
                  <a:cxn ang="0">
                    <a:pos x="connsiteX529" y="connsiteY529"/>
                  </a:cxn>
                  <a:cxn ang="0">
                    <a:pos x="connsiteX530" y="connsiteY530"/>
                  </a:cxn>
                  <a:cxn ang="0">
                    <a:pos x="connsiteX531" y="connsiteY531"/>
                  </a:cxn>
                  <a:cxn ang="0">
                    <a:pos x="connsiteX532" y="connsiteY532"/>
                  </a:cxn>
                  <a:cxn ang="0">
                    <a:pos x="connsiteX533" y="connsiteY533"/>
                  </a:cxn>
                  <a:cxn ang="0">
                    <a:pos x="connsiteX534" y="connsiteY534"/>
                  </a:cxn>
                  <a:cxn ang="0">
                    <a:pos x="connsiteX535" y="connsiteY535"/>
                  </a:cxn>
                  <a:cxn ang="0">
                    <a:pos x="connsiteX536" y="connsiteY536"/>
                  </a:cxn>
                  <a:cxn ang="0">
                    <a:pos x="connsiteX537" y="connsiteY537"/>
                  </a:cxn>
                  <a:cxn ang="0">
                    <a:pos x="connsiteX538" y="connsiteY538"/>
                  </a:cxn>
                  <a:cxn ang="0">
                    <a:pos x="connsiteX539" y="connsiteY539"/>
                  </a:cxn>
                  <a:cxn ang="0">
                    <a:pos x="connsiteX540" y="connsiteY540"/>
                  </a:cxn>
                  <a:cxn ang="0">
                    <a:pos x="connsiteX541" y="connsiteY541"/>
                  </a:cxn>
                  <a:cxn ang="0">
                    <a:pos x="connsiteX542" y="connsiteY542"/>
                  </a:cxn>
                  <a:cxn ang="0">
                    <a:pos x="connsiteX543" y="connsiteY543"/>
                  </a:cxn>
                  <a:cxn ang="0">
                    <a:pos x="connsiteX544" y="connsiteY544"/>
                  </a:cxn>
                  <a:cxn ang="0">
                    <a:pos x="connsiteX545" y="connsiteY545"/>
                  </a:cxn>
                  <a:cxn ang="0">
                    <a:pos x="connsiteX546" y="connsiteY546"/>
                  </a:cxn>
                  <a:cxn ang="0">
                    <a:pos x="connsiteX547" y="connsiteY547"/>
                  </a:cxn>
                  <a:cxn ang="0">
                    <a:pos x="connsiteX548" y="connsiteY548"/>
                  </a:cxn>
                  <a:cxn ang="0">
                    <a:pos x="connsiteX549" y="connsiteY549"/>
                  </a:cxn>
                  <a:cxn ang="0">
                    <a:pos x="connsiteX550" y="connsiteY550"/>
                  </a:cxn>
                  <a:cxn ang="0">
                    <a:pos x="connsiteX551" y="connsiteY551"/>
                  </a:cxn>
                  <a:cxn ang="0">
                    <a:pos x="connsiteX552" y="connsiteY552"/>
                  </a:cxn>
                  <a:cxn ang="0">
                    <a:pos x="connsiteX553" y="connsiteY553"/>
                  </a:cxn>
                  <a:cxn ang="0">
                    <a:pos x="connsiteX554" y="connsiteY554"/>
                  </a:cxn>
                  <a:cxn ang="0">
                    <a:pos x="connsiteX555" y="connsiteY555"/>
                  </a:cxn>
                  <a:cxn ang="0">
                    <a:pos x="connsiteX556" y="connsiteY556"/>
                  </a:cxn>
                  <a:cxn ang="0">
                    <a:pos x="connsiteX557" y="connsiteY557"/>
                  </a:cxn>
                  <a:cxn ang="0">
                    <a:pos x="connsiteX558" y="connsiteY558"/>
                  </a:cxn>
                  <a:cxn ang="0">
                    <a:pos x="connsiteX559" y="connsiteY559"/>
                  </a:cxn>
                  <a:cxn ang="0">
                    <a:pos x="connsiteX560" y="connsiteY560"/>
                  </a:cxn>
                  <a:cxn ang="0">
                    <a:pos x="connsiteX561" y="connsiteY561"/>
                  </a:cxn>
                  <a:cxn ang="0">
                    <a:pos x="connsiteX562" y="connsiteY562"/>
                  </a:cxn>
                  <a:cxn ang="0">
                    <a:pos x="connsiteX563" y="connsiteY563"/>
                  </a:cxn>
                  <a:cxn ang="0">
                    <a:pos x="connsiteX564" y="connsiteY564"/>
                  </a:cxn>
                  <a:cxn ang="0">
                    <a:pos x="connsiteX565" y="connsiteY565"/>
                  </a:cxn>
                  <a:cxn ang="0">
                    <a:pos x="connsiteX566" y="connsiteY566"/>
                  </a:cxn>
                  <a:cxn ang="0">
                    <a:pos x="connsiteX567" y="connsiteY567"/>
                  </a:cxn>
                  <a:cxn ang="0">
                    <a:pos x="connsiteX568" y="connsiteY568"/>
                  </a:cxn>
                  <a:cxn ang="0">
                    <a:pos x="connsiteX569" y="connsiteY569"/>
                  </a:cxn>
                  <a:cxn ang="0">
                    <a:pos x="connsiteX570" y="connsiteY570"/>
                  </a:cxn>
                  <a:cxn ang="0">
                    <a:pos x="connsiteX571" y="connsiteY571"/>
                  </a:cxn>
                  <a:cxn ang="0">
                    <a:pos x="connsiteX572" y="connsiteY572"/>
                  </a:cxn>
                  <a:cxn ang="0">
                    <a:pos x="connsiteX573" y="connsiteY573"/>
                  </a:cxn>
                  <a:cxn ang="0">
                    <a:pos x="connsiteX574" y="connsiteY574"/>
                  </a:cxn>
                  <a:cxn ang="0">
                    <a:pos x="connsiteX575" y="connsiteY575"/>
                  </a:cxn>
                  <a:cxn ang="0">
                    <a:pos x="connsiteX576" y="connsiteY576"/>
                  </a:cxn>
                  <a:cxn ang="0">
                    <a:pos x="connsiteX577" y="connsiteY577"/>
                  </a:cxn>
                  <a:cxn ang="0">
                    <a:pos x="connsiteX578" y="connsiteY578"/>
                  </a:cxn>
                  <a:cxn ang="0">
                    <a:pos x="connsiteX579" y="connsiteY579"/>
                  </a:cxn>
                  <a:cxn ang="0">
                    <a:pos x="connsiteX580" y="connsiteY580"/>
                  </a:cxn>
                  <a:cxn ang="0">
                    <a:pos x="connsiteX581" y="connsiteY581"/>
                  </a:cxn>
                  <a:cxn ang="0">
                    <a:pos x="connsiteX582" y="connsiteY582"/>
                  </a:cxn>
                  <a:cxn ang="0">
                    <a:pos x="connsiteX583" y="connsiteY583"/>
                  </a:cxn>
                  <a:cxn ang="0">
                    <a:pos x="connsiteX584" y="connsiteY584"/>
                  </a:cxn>
                  <a:cxn ang="0">
                    <a:pos x="connsiteX585" y="connsiteY585"/>
                  </a:cxn>
                  <a:cxn ang="0">
                    <a:pos x="connsiteX586" y="connsiteY586"/>
                  </a:cxn>
                  <a:cxn ang="0">
                    <a:pos x="connsiteX587" y="connsiteY587"/>
                  </a:cxn>
                  <a:cxn ang="0">
                    <a:pos x="connsiteX588" y="connsiteY588"/>
                  </a:cxn>
                  <a:cxn ang="0">
                    <a:pos x="connsiteX589" y="connsiteY589"/>
                  </a:cxn>
                  <a:cxn ang="0">
                    <a:pos x="connsiteX590" y="connsiteY590"/>
                  </a:cxn>
                  <a:cxn ang="0">
                    <a:pos x="connsiteX591" y="connsiteY591"/>
                  </a:cxn>
                  <a:cxn ang="0">
                    <a:pos x="connsiteX592" y="connsiteY592"/>
                  </a:cxn>
                  <a:cxn ang="0">
                    <a:pos x="connsiteX593" y="connsiteY593"/>
                  </a:cxn>
                  <a:cxn ang="0">
                    <a:pos x="connsiteX594" y="connsiteY594"/>
                  </a:cxn>
                  <a:cxn ang="0">
                    <a:pos x="connsiteX595" y="connsiteY595"/>
                  </a:cxn>
                  <a:cxn ang="0">
                    <a:pos x="connsiteX596" y="connsiteY596"/>
                  </a:cxn>
                  <a:cxn ang="0">
                    <a:pos x="connsiteX597" y="connsiteY597"/>
                  </a:cxn>
                  <a:cxn ang="0">
                    <a:pos x="connsiteX598" y="connsiteY598"/>
                  </a:cxn>
                  <a:cxn ang="0">
                    <a:pos x="connsiteX599" y="connsiteY599"/>
                  </a:cxn>
                  <a:cxn ang="0">
                    <a:pos x="connsiteX600" y="connsiteY600"/>
                  </a:cxn>
                  <a:cxn ang="0">
                    <a:pos x="connsiteX601" y="connsiteY601"/>
                  </a:cxn>
                  <a:cxn ang="0">
                    <a:pos x="connsiteX602" y="connsiteY602"/>
                  </a:cxn>
                  <a:cxn ang="0">
                    <a:pos x="connsiteX603" y="connsiteY603"/>
                  </a:cxn>
                  <a:cxn ang="0">
                    <a:pos x="connsiteX604" y="connsiteY604"/>
                  </a:cxn>
                  <a:cxn ang="0">
                    <a:pos x="connsiteX605" y="connsiteY605"/>
                  </a:cxn>
                  <a:cxn ang="0">
                    <a:pos x="connsiteX606" y="connsiteY606"/>
                  </a:cxn>
                  <a:cxn ang="0">
                    <a:pos x="connsiteX607" y="connsiteY607"/>
                  </a:cxn>
                  <a:cxn ang="0">
                    <a:pos x="connsiteX608" y="connsiteY608"/>
                  </a:cxn>
                  <a:cxn ang="0">
                    <a:pos x="connsiteX609" y="connsiteY609"/>
                  </a:cxn>
                  <a:cxn ang="0">
                    <a:pos x="connsiteX610" y="connsiteY610"/>
                  </a:cxn>
                  <a:cxn ang="0">
                    <a:pos x="connsiteX611" y="connsiteY611"/>
                  </a:cxn>
                  <a:cxn ang="0">
                    <a:pos x="connsiteX612" y="connsiteY612"/>
                  </a:cxn>
                  <a:cxn ang="0">
                    <a:pos x="connsiteX613" y="connsiteY613"/>
                  </a:cxn>
                  <a:cxn ang="0">
                    <a:pos x="connsiteX614" y="connsiteY614"/>
                  </a:cxn>
                  <a:cxn ang="0">
                    <a:pos x="connsiteX615" y="connsiteY615"/>
                  </a:cxn>
                  <a:cxn ang="0">
                    <a:pos x="connsiteX616" y="connsiteY616"/>
                  </a:cxn>
                  <a:cxn ang="0">
                    <a:pos x="connsiteX617" y="connsiteY617"/>
                  </a:cxn>
                  <a:cxn ang="0">
                    <a:pos x="connsiteX618" y="connsiteY618"/>
                  </a:cxn>
                  <a:cxn ang="0">
                    <a:pos x="connsiteX619" y="connsiteY619"/>
                  </a:cxn>
                  <a:cxn ang="0">
                    <a:pos x="connsiteX620" y="connsiteY620"/>
                  </a:cxn>
                  <a:cxn ang="0">
                    <a:pos x="connsiteX621" y="connsiteY621"/>
                  </a:cxn>
                  <a:cxn ang="0">
                    <a:pos x="connsiteX622" y="connsiteY622"/>
                  </a:cxn>
                  <a:cxn ang="0">
                    <a:pos x="connsiteX623" y="connsiteY623"/>
                  </a:cxn>
                  <a:cxn ang="0">
                    <a:pos x="connsiteX624" y="connsiteY624"/>
                  </a:cxn>
                  <a:cxn ang="0">
                    <a:pos x="connsiteX625" y="connsiteY625"/>
                  </a:cxn>
                  <a:cxn ang="0">
                    <a:pos x="connsiteX626" y="connsiteY626"/>
                  </a:cxn>
                  <a:cxn ang="0">
                    <a:pos x="connsiteX627" y="connsiteY627"/>
                  </a:cxn>
                  <a:cxn ang="0">
                    <a:pos x="connsiteX628" y="connsiteY628"/>
                  </a:cxn>
                  <a:cxn ang="0">
                    <a:pos x="connsiteX629" y="connsiteY629"/>
                  </a:cxn>
                  <a:cxn ang="0">
                    <a:pos x="connsiteX630" y="connsiteY630"/>
                  </a:cxn>
                  <a:cxn ang="0">
                    <a:pos x="connsiteX631" y="connsiteY631"/>
                  </a:cxn>
                  <a:cxn ang="0">
                    <a:pos x="connsiteX632" y="connsiteY632"/>
                  </a:cxn>
                  <a:cxn ang="0">
                    <a:pos x="connsiteX633" y="connsiteY633"/>
                  </a:cxn>
                  <a:cxn ang="0">
                    <a:pos x="connsiteX634" y="connsiteY634"/>
                  </a:cxn>
                  <a:cxn ang="0">
                    <a:pos x="connsiteX635" y="connsiteY635"/>
                  </a:cxn>
                  <a:cxn ang="0">
                    <a:pos x="connsiteX636" y="connsiteY636"/>
                  </a:cxn>
                  <a:cxn ang="0">
                    <a:pos x="connsiteX637" y="connsiteY637"/>
                  </a:cxn>
                  <a:cxn ang="0">
                    <a:pos x="connsiteX638" y="connsiteY638"/>
                  </a:cxn>
                  <a:cxn ang="0">
                    <a:pos x="connsiteX639" y="connsiteY639"/>
                  </a:cxn>
                  <a:cxn ang="0">
                    <a:pos x="connsiteX640" y="connsiteY640"/>
                  </a:cxn>
                  <a:cxn ang="0">
                    <a:pos x="connsiteX641" y="connsiteY641"/>
                  </a:cxn>
                  <a:cxn ang="0">
                    <a:pos x="connsiteX642" y="connsiteY642"/>
                  </a:cxn>
                  <a:cxn ang="0">
                    <a:pos x="connsiteX643" y="connsiteY643"/>
                  </a:cxn>
                  <a:cxn ang="0">
                    <a:pos x="connsiteX644" y="connsiteY644"/>
                  </a:cxn>
                  <a:cxn ang="0">
                    <a:pos x="connsiteX645" y="connsiteY645"/>
                  </a:cxn>
                  <a:cxn ang="0">
                    <a:pos x="connsiteX646" y="connsiteY646"/>
                  </a:cxn>
                  <a:cxn ang="0">
                    <a:pos x="connsiteX647" y="connsiteY647"/>
                  </a:cxn>
                  <a:cxn ang="0">
                    <a:pos x="connsiteX648" y="connsiteY648"/>
                  </a:cxn>
                  <a:cxn ang="0">
                    <a:pos x="connsiteX649" y="connsiteY649"/>
                  </a:cxn>
                  <a:cxn ang="0">
                    <a:pos x="connsiteX650" y="connsiteY650"/>
                  </a:cxn>
                  <a:cxn ang="0">
                    <a:pos x="connsiteX651" y="connsiteY651"/>
                  </a:cxn>
                  <a:cxn ang="0">
                    <a:pos x="connsiteX652" y="connsiteY652"/>
                  </a:cxn>
                  <a:cxn ang="0">
                    <a:pos x="connsiteX653" y="connsiteY653"/>
                  </a:cxn>
                  <a:cxn ang="0">
                    <a:pos x="connsiteX654" y="connsiteY654"/>
                  </a:cxn>
                  <a:cxn ang="0">
                    <a:pos x="connsiteX655" y="connsiteY655"/>
                  </a:cxn>
                  <a:cxn ang="0">
                    <a:pos x="connsiteX656" y="connsiteY656"/>
                  </a:cxn>
                  <a:cxn ang="0">
                    <a:pos x="connsiteX657" y="connsiteY657"/>
                  </a:cxn>
                  <a:cxn ang="0">
                    <a:pos x="connsiteX658" y="connsiteY658"/>
                  </a:cxn>
                  <a:cxn ang="0">
                    <a:pos x="connsiteX659" y="connsiteY659"/>
                  </a:cxn>
                  <a:cxn ang="0">
                    <a:pos x="connsiteX660" y="connsiteY660"/>
                  </a:cxn>
                  <a:cxn ang="0">
                    <a:pos x="connsiteX661" y="connsiteY661"/>
                  </a:cxn>
                  <a:cxn ang="0">
                    <a:pos x="connsiteX662" y="connsiteY662"/>
                  </a:cxn>
                  <a:cxn ang="0">
                    <a:pos x="connsiteX663" y="connsiteY663"/>
                  </a:cxn>
                  <a:cxn ang="0">
                    <a:pos x="connsiteX664" y="connsiteY664"/>
                  </a:cxn>
                  <a:cxn ang="0">
                    <a:pos x="connsiteX665" y="connsiteY665"/>
                  </a:cxn>
                  <a:cxn ang="0">
                    <a:pos x="connsiteX666" y="connsiteY666"/>
                  </a:cxn>
                  <a:cxn ang="0">
                    <a:pos x="connsiteX667" y="connsiteY667"/>
                  </a:cxn>
                  <a:cxn ang="0">
                    <a:pos x="connsiteX668" y="connsiteY668"/>
                  </a:cxn>
                  <a:cxn ang="0">
                    <a:pos x="connsiteX669" y="connsiteY669"/>
                  </a:cxn>
                  <a:cxn ang="0">
                    <a:pos x="connsiteX670" y="connsiteY670"/>
                  </a:cxn>
                  <a:cxn ang="0">
                    <a:pos x="connsiteX671" y="connsiteY671"/>
                  </a:cxn>
                  <a:cxn ang="0">
                    <a:pos x="connsiteX672" y="connsiteY672"/>
                  </a:cxn>
                  <a:cxn ang="0">
                    <a:pos x="connsiteX673" y="connsiteY673"/>
                  </a:cxn>
                  <a:cxn ang="0">
                    <a:pos x="connsiteX674" y="connsiteY674"/>
                  </a:cxn>
                  <a:cxn ang="0">
                    <a:pos x="connsiteX675" y="connsiteY675"/>
                  </a:cxn>
                  <a:cxn ang="0">
                    <a:pos x="connsiteX676" y="connsiteY676"/>
                  </a:cxn>
                  <a:cxn ang="0">
                    <a:pos x="connsiteX677" y="connsiteY677"/>
                  </a:cxn>
                  <a:cxn ang="0">
                    <a:pos x="connsiteX678" y="connsiteY678"/>
                  </a:cxn>
                  <a:cxn ang="0">
                    <a:pos x="connsiteX679" y="connsiteY679"/>
                  </a:cxn>
                  <a:cxn ang="0">
                    <a:pos x="connsiteX680" y="connsiteY680"/>
                  </a:cxn>
                  <a:cxn ang="0">
                    <a:pos x="connsiteX681" y="connsiteY681"/>
                  </a:cxn>
                  <a:cxn ang="0">
                    <a:pos x="connsiteX682" y="connsiteY682"/>
                  </a:cxn>
                  <a:cxn ang="0">
                    <a:pos x="connsiteX683" y="connsiteY683"/>
                  </a:cxn>
                  <a:cxn ang="0">
                    <a:pos x="connsiteX684" y="connsiteY684"/>
                  </a:cxn>
                  <a:cxn ang="0">
                    <a:pos x="connsiteX685" y="connsiteY685"/>
                  </a:cxn>
                  <a:cxn ang="0">
                    <a:pos x="connsiteX686" y="connsiteY686"/>
                  </a:cxn>
                  <a:cxn ang="0">
                    <a:pos x="connsiteX687" y="connsiteY687"/>
                  </a:cxn>
                  <a:cxn ang="0">
                    <a:pos x="connsiteX688" y="connsiteY688"/>
                  </a:cxn>
                  <a:cxn ang="0">
                    <a:pos x="connsiteX689" y="connsiteY689"/>
                  </a:cxn>
                  <a:cxn ang="0">
                    <a:pos x="connsiteX690" y="connsiteY690"/>
                  </a:cxn>
                  <a:cxn ang="0">
                    <a:pos x="connsiteX691" y="connsiteY691"/>
                  </a:cxn>
                  <a:cxn ang="0">
                    <a:pos x="connsiteX692" y="connsiteY692"/>
                  </a:cxn>
                  <a:cxn ang="0">
                    <a:pos x="connsiteX693" y="connsiteY693"/>
                  </a:cxn>
                  <a:cxn ang="0">
                    <a:pos x="connsiteX694" y="connsiteY694"/>
                  </a:cxn>
                  <a:cxn ang="0">
                    <a:pos x="connsiteX695" y="connsiteY695"/>
                  </a:cxn>
                  <a:cxn ang="0">
                    <a:pos x="connsiteX696" y="connsiteY696"/>
                  </a:cxn>
                  <a:cxn ang="0">
                    <a:pos x="connsiteX697" y="connsiteY697"/>
                  </a:cxn>
                  <a:cxn ang="0">
                    <a:pos x="connsiteX698" y="connsiteY698"/>
                  </a:cxn>
                  <a:cxn ang="0">
                    <a:pos x="connsiteX699" y="connsiteY699"/>
                  </a:cxn>
                  <a:cxn ang="0">
                    <a:pos x="connsiteX700" y="connsiteY700"/>
                  </a:cxn>
                  <a:cxn ang="0">
                    <a:pos x="connsiteX701" y="connsiteY701"/>
                  </a:cxn>
                  <a:cxn ang="0">
                    <a:pos x="connsiteX702" y="connsiteY702"/>
                  </a:cxn>
                  <a:cxn ang="0">
                    <a:pos x="connsiteX703" y="connsiteY703"/>
                  </a:cxn>
                  <a:cxn ang="0">
                    <a:pos x="connsiteX704" y="connsiteY704"/>
                  </a:cxn>
                  <a:cxn ang="0">
                    <a:pos x="connsiteX705" y="connsiteY705"/>
                  </a:cxn>
                  <a:cxn ang="0">
                    <a:pos x="connsiteX706" y="connsiteY706"/>
                  </a:cxn>
                  <a:cxn ang="0">
                    <a:pos x="connsiteX707" y="connsiteY707"/>
                  </a:cxn>
                  <a:cxn ang="0">
                    <a:pos x="connsiteX708" y="connsiteY708"/>
                  </a:cxn>
                  <a:cxn ang="0">
                    <a:pos x="connsiteX709" y="connsiteY709"/>
                  </a:cxn>
                  <a:cxn ang="0">
                    <a:pos x="connsiteX710" y="connsiteY710"/>
                  </a:cxn>
                  <a:cxn ang="0">
                    <a:pos x="connsiteX711" y="connsiteY711"/>
                  </a:cxn>
                  <a:cxn ang="0">
                    <a:pos x="connsiteX712" y="connsiteY712"/>
                  </a:cxn>
                  <a:cxn ang="0">
                    <a:pos x="connsiteX713" y="connsiteY713"/>
                  </a:cxn>
                  <a:cxn ang="0">
                    <a:pos x="connsiteX714" y="connsiteY714"/>
                  </a:cxn>
                  <a:cxn ang="0">
                    <a:pos x="connsiteX715" y="connsiteY715"/>
                  </a:cxn>
                  <a:cxn ang="0">
                    <a:pos x="connsiteX716" y="connsiteY716"/>
                  </a:cxn>
                  <a:cxn ang="0">
                    <a:pos x="connsiteX717" y="connsiteY717"/>
                  </a:cxn>
                  <a:cxn ang="0">
                    <a:pos x="connsiteX718" y="connsiteY718"/>
                  </a:cxn>
                  <a:cxn ang="0">
                    <a:pos x="connsiteX719" y="connsiteY719"/>
                  </a:cxn>
                  <a:cxn ang="0">
                    <a:pos x="connsiteX720" y="connsiteY720"/>
                  </a:cxn>
                  <a:cxn ang="0">
                    <a:pos x="connsiteX721" y="connsiteY721"/>
                  </a:cxn>
                  <a:cxn ang="0">
                    <a:pos x="connsiteX722" y="connsiteY722"/>
                  </a:cxn>
                  <a:cxn ang="0">
                    <a:pos x="connsiteX723" y="connsiteY723"/>
                  </a:cxn>
                  <a:cxn ang="0">
                    <a:pos x="connsiteX724" y="connsiteY724"/>
                  </a:cxn>
                  <a:cxn ang="0">
                    <a:pos x="connsiteX725" y="connsiteY725"/>
                  </a:cxn>
                  <a:cxn ang="0">
                    <a:pos x="connsiteX726" y="connsiteY726"/>
                  </a:cxn>
                  <a:cxn ang="0">
                    <a:pos x="connsiteX727" y="connsiteY727"/>
                  </a:cxn>
                  <a:cxn ang="0">
                    <a:pos x="connsiteX728" y="connsiteY728"/>
                  </a:cxn>
                  <a:cxn ang="0">
                    <a:pos x="connsiteX729" y="connsiteY729"/>
                  </a:cxn>
                  <a:cxn ang="0">
                    <a:pos x="connsiteX730" y="connsiteY730"/>
                  </a:cxn>
                  <a:cxn ang="0">
                    <a:pos x="connsiteX731" y="connsiteY731"/>
                  </a:cxn>
                  <a:cxn ang="0">
                    <a:pos x="connsiteX732" y="connsiteY732"/>
                  </a:cxn>
                  <a:cxn ang="0">
                    <a:pos x="connsiteX733" y="connsiteY733"/>
                  </a:cxn>
                  <a:cxn ang="0">
                    <a:pos x="connsiteX734" y="connsiteY734"/>
                  </a:cxn>
                  <a:cxn ang="0">
                    <a:pos x="connsiteX735" y="connsiteY735"/>
                  </a:cxn>
                  <a:cxn ang="0">
                    <a:pos x="connsiteX736" y="connsiteY736"/>
                  </a:cxn>
                  <a:cxn ang="0">
                    <a:pos x="connsiteX737" y="connsiteY737"/>
                  </a:cxn>
                  <a:cxn ang="0">
                    <a:pos x="connsiteX738" y="connsiteY738"/>
                  </a:cxn>
                  <a:cxn ang="0">
                    <a:pos x="connsiteX739" y="connsiteY739"/>
                  </a:cxn>
                  <a:cxn ang="0">
                    <a:pos x="connsiteX740" y="connsiteY740"/>
                  </a:cxn>
                  <a:cxn ang="0">
                    <a:pos x="connsiteX741" y="connsiteY741"/>
                  </a:cxn>
                  <a:cxn ang="0">
                    <a:pos x="connsiteX742" y="connsiteY742"/>
                  </a:cxn>
                  <a:cxn ang="0">
                    <a:pos x="connsiteX743" y="connsiteY743"/>
                  </a:cxn>
                  <a:cxn ang="0">
                    <a:pos x="connsiteX744" y="connsiteY744"/>
                  </a:cxn>
                  <a:cxn ang="0">
                    <a:pos x="connsiteX745" y="connsiteY745"/>
                  </a:cxn>
                  <a:cxn ang="0">
                    <a:pos x="connsiteX746" y="connsiteY746"/>
                  </a:cxn>
                  <a:cxn ang="0">
                    <a:pos x="connsiteX747" y="connsiteY747"/>
                  </a:cxn>
                  <a:cxn ang="0">
                    <a:pos x="connsiteX748" y="connsiteY748"/>
                  </a:cxn>
                  <a:cxn ang="0">
                    <a:pos x="connsiteX749" y="connsiteY749"/>
                  </a:cxn>
                  <a:cxn ang="0">
                    <a:pos x="connsiteX750" y="connsiteY750"/>
                  </a:cxn>
                  <a:cxn ang="0">
                    <a:pos x="connsiteX751" y="connsiteY751"/>
                  </a:cxn>
                  <a:cxn ang="0">
                    <a:pos x="connsiteX752" y="connsiteY752"/>
                  </a:cxn>
                  <a:cxn ang="0">
                    <a:pos x="connsiteX753" y="connsiteY753"/>
                  </a:cxn>
                  <a:cxn ang="0">
                    <a:pos x="connsiteX754" y="connsiteY754"/>
                  </a:cxn>
                  <a:cxn ang="0">
                    <a:pos x="connsiteX755" y="connsiteY755"/>
                  </a:cxn>
                  <a:cxn ang="0">
                    <a:pos x="connsiteX756" y="connsiteY756"/>
                  </a:cxn>
                  <a:cxn ang="0">
                    <a:pos x="connsiteX757" y="connsiteY757"/>
                  </a:cxn>
                  <a:cxn ang="0">
                    <a:pos x="connsiteX758" y="connsiteY758"/>
                  </a:cxn>
                  <a:cxn ang="0">
                    <a:pos x="connsiteX759" y="connsiteY759"/>
                  </a:cxn>
                  <a:cxn ang="0">
                    <a:pos x="connsiteX760" y="connsiteY760"/>
                  </a:cxn>
                  <a:cxn ang="0">
                    <a:pos x="connsiteX761" y="connsiteY761"/>
                  </a:cxn>
                  <a:cxn ang="0">
                    <a:pos x="connsiteX762" y="connsiteY762"/>
                  </a:cxn>
                  <a:cxn ang="0">
                    <a:pos x="connsiteX763" y="connsiteY763"/>
                  </a:cxn>
                  <a:cxn ang="0">
                    <a:pos x="connsiteX764" y="connsiteY764"/>
                  </a:cxn>
                  <a:cxn ang="0">
                    <a:pos x="connsiteX765" y="connsiteY765"/>
                  </a:cxn>
                  <a:cxn ang="0">
                    <a:pos x="connsiteX766" y="connsiteY766"/>
                  </a:cxn>
                  <a:cxn ang="0">
                    <a:pos x="connsiteX767" y="connsiteY767"/>
                  </a:cxn>
                  <a:cxn ang="0">
                    <a:pos x="connsiteX768" y="connsiteY768"/>
                  </a:cxn>
                  <a:cxn ang="0">
                    <a:pos x="connsiteX769" y="connsiteY769"/>
                  </a:cxn>
                  <a:cxn ang="0">
                    <a:pos x="connsiteX770" y="connsiteY770"/>
                  </a:cxn>
                  <a:cxn ang="0">
                    <a:pos x="connsiteX771" y="connsiteY771"/>
                  </a:cxn>
                  <a:cxn ang="0">
                    <a:pos x="connsiteX772" y="connsiteY772"/>
                  </a:cxn>
                  <a:cxn ang="0">
                    <a:pos x="connsiteX773" y="connsiteY773"/>
                  </a:cxn>
                  <a:cxn ang="0">
                    <a:pos x="connsiteX774" y="connsiteY774"/>
                  </a:cxn>
                  <a:cxn ang="0">
                    <a:pos x="connsiteX775" y="connsiteY775"/>
                  </a:cxn>
                  <a:cxn ang="0">
                    <a:pos x="connsiteX776" y="connsiteY776"/>
                  </a:cxn>
                  <a:cxn ang="0">
                    <a:pos x="connsiteX777" y="connsiteY777"/>
                  </a:cxn>
                  <a:cxn ang="0">
                    <a:pos x="connsiteX778" y="connsiteY778"/>
                  </a:cxn>
                  <a:cxn ang="0">
                    <a:pos x="connsiteX779" y="connsiteY779"/>
                  </a:cxn>
                  <a:cxn ang="0">
                    <a:pos x="connsiteX780" y="connsiteY780"/>
                  </a:cxn>
                  <a:cxn ang="0">
                    <a:pos x="connsiteX781" y="connsiteY781"/>
                  </a:cxn>
                  <a:cxn ang="0">
                    <a:pos x="connsiteX782" y="connsiteY782"/>
                  </a:cxn>
                  <a:cxn ang="0">
                    <a:pos x="connsiteX783" y="connsiteY783"/>
                  </a:cxn>
                  <a:cxn ang="0">
                    <a:pos x="connsiteX784" y="connsiteY784"/>
                  </a:cxn>
                  <a:cxn ang="0">
                    <a:pos x="connsiteX785" y="connsiteY785"/>
                  </a:cxn>
                  <a:cxn ang="0">
                    <a:pos x="connsiteX786" y="connsiteY786"/>
                  </a:cxn>
                  <a:cxn ang="0">
                    <a:pos x="connsiteX787" y="connsiteY787"/>
                  </a:cxn>
                  <a:cxn ang="0">
                    <a:pos x="connsiteX788" y="connsiteY788"/>
                  </a:cxn>
                  <a:cxn ang="0">
                    <a:pos x="connsiteX789" y="connsiteY789"/>
                  </a:cxn>
                  <a:cxn ang="0">
                    <a:pos x="connsiteX790" y="connsiteY790"/>
                  </a:cxn>
                  <a:cxn ang="0">
                    <a:pos x="connsiteX791" y="connsiteY791"/>
                  </a:cxn>
                  <a:cxn ang="0">
                    <a:pos x="connsiteX792" y="connsiteY792"/>
                  </a:cxn>
                  <a:cxn ang="0">
                    <a:pos x="connsiteX793" y="connsiteY793"/>
                  </a:cxn>
                  <a:cxn ang="0">
                    <a:pos x="connsiteX794" y="connsiteY794"/>
                  </a:cxn>
                  <a:cxn ang="0">
                    <a:pos x="connsiteX795" y="connsiteY795"/>
                  </a:cxn>
                  <a:cxn ang="0">
                    <a:pos x="connsiteX796" y="connsiteY796"/>
                  </a:cxn>
                  <a:cxn ang="0">
                    <a:pos x="connsiteX797" y="connsiteY797"/>
                  </a:cxn>
                  <a:cxn ang="0">
                    <a:pos x="connsiteX798" y="connsiteY798"/>
                  </a:cxn>
                  <a:cxn ang="0">
                    <a:pos x="connsiteX799" y="connsiteY799"/>
                  </a:cxn>
                  <a:cxn ang="0">
                    <a:pos x="connsiteX800" y="connsiteY800"/>
                  </a:cxn>
                  <a:cxn ang="0">
                    <a:pos x="connsiteX801" y="connsiteY801"/>
                  </a:cxn>
                  <a:cxn ang="0">
                    <a:pos x="connsiteX802" y="connsiteY802"/>
                  </a:cxn>
                  <a:cxn ang="0">
                    <a:pos x="connsiteX803" y="connsiteY803"/>
                  </a:cxn>
                  <a:cxn ang="0">
                    <a:pos x="connsiteX804" y="connsiteY804"/>
                  </a:cxn>
                  <a:cxn ang="0">
                    <a:pos x="connsiteX805" y="connsiteY805"/>
                  </a:cxn>
                  <a:cxn ang="0">
                    <a:pos x="connsiteX806" y="connsiteY806"/>
                  </a:cxn>
                  <a:cxn ang="0">
                    <a:pos x="connsiteX807" y="connsiteY807"/>
                  </a:cxn>
                  <a:cxn ang="0">
                    <a:pos x="connsiteX808" y="connsiteY808"/>
                  </a:cxn>
                  <a:cxn ang="0">
                    <a:pos x="connsiteX809" y="connsiteY809"/>
                  </a:cxn>
                  <a:cxn ang="0">
                    <a:pos x="connsiteX810" y="connsiteY810"/>
                  </a:cxn>
                  <a:cxn ang="0">
                    <a:pos x="connsiteX811" y="connsiteY811"/>
                  </a:cxn>
                  <a:cxn ang="0">
                    <a:pos x="connsiteX812" y="connsiteY812"/>
                  </a:cxn>
                  <a:cxn ang="0">
                    <a:pos x="connsiteX813" y="connsiteY813"/>
                  </a:cxn>
                  <a:cxn ang="0">
                    <a:pos x="connsiteX814" y="connsiteY814"/>
                  </a:cxn>
                  <a:cxn ang="0">
                    <a:pos x="connsiteX815" y="connsiteY815"/>
                  </a:cxn>
                  <a:cxn ang="0">
                    <a:pos x="connsiteX816" y="connsiteY816"/>
                  </a:cxn>
                  <a:cxn ang="0">
                    <a:pos x="connsiteX817" y="connsiteY817"/>
                  </a:cxn>
                  <a:cxn ang="0">
                    <a:pos x="connsiteX818" y="connsiteY818"/>
                  </a:cxn>
                  <a:cxn ang="0">
                    <a:pos x="connsiteX819" y="connsiteY819"/>
                  </a:cxn>
                  <a:cxn ang="0">
                    <a:pos x="connsiteX820" y="connsiteY820"/>
                  </a:cxn>
                  <a:cxn ang="0">
                    <a:pos x="connsiteX821" y="connsiteY821"/>
                  </a:cxn>
                  <a:cxn ang="0">
                    <a:pos x="connsiteX822" y="connsiteY822"/>
                  </a:cxn>
                  <a:cxn ang="0">
                    <a:pos x="connsiteX823" y="connsiteY823"/>
                  </a:cxn>
                  <a:cxn ang="0">
                    <a:pos x="connsiteX824" y="connsiteY824"/>
                  </a:cxn>
                  <a:cxn ang="0">
                    <a:pos x="connsiteX825" y="connsiteY825"/>
                  </a:cxn>
                  <a:cxn ang="0">
                    <a:pos x="connsiteX826" y="connsiteY826"/>
                  </a:cxn>
                  <a:cxn ang="0">
                    <a:pos x="connsiteX827" y="connsiteY827"/>
                  </a:cxn>
                  <a:cxn ang="0">
                    <a:pos x="connsiteX828" y="connsiteY828"/>
                  </a:cxn>
                  <a:cxn ang="0">
                    <a:pos x="connsiteX829" y="connsiteY829"/>
                  </a:cxn>
                  <a:cxn ang="0">
                    <a:pos x="connsiteX830" y="connsiteY830"/>
                  </a:cxn>
                  <a:cxn ang="0">
                    <a:pos x="connsiteX831" y="connsiteY831"/>
                  </a:cxn>
                  <a:cxn ang="0">
                    <a:pos x="connsiteX832" y="connsiteY832"/>
                  </a:cxn>
                  <a:cxn ang="0">
                    <a:pos x="connsiteX833" y="connsiteY833"/>
                  </a:cxn>
                  <a:cxn ang="0">
                    <a:pos x="connsiteX834" y="connsiteY834"/>
                  </a:cxn>
                  <a:cxn ang="0">
                    <a:pos x="connsiteX835" y="connsiteY835"/>
                  </a:cxn>
                  <a:cxn ang="0">
                    <a:pos x="connsiteX836" y="connsiteY836"/>
                  </a:cxn>
                  <a:cxn ang="0">
                    <a:pos x="connsiteX837" y="connsiteY837"/>
                  </a:cxn>
                  <a:cxn ang="0">
                    <a:pos x="connsiteX838" y="connsiteY838"/>
                  </a:cxn>
                  <a:cxn ang="0">
                    <a:pos x="connsiteX839" y="connsiteY839"/>
                  </a:cxn>
                  <a:cxn ang="0">
                    <a:pos x="connsiteX840" y="connsiteY840"/>
                  </a:cxn>
                  <a:cxn ang="0">
                    <a:pos x="connsiteX841" y="connsiteY841"/>
                  </a:cxn>
                  <a:cxn ang="0">
                    <a:pos x="connsiteX842" y="connsiteY842"/>
                  </a:cxn>
                  <a:cxn ang="0">
                    <a:pos x="connsiteX843" y="connsiteY843"/>
                  </a:cxn>
                  <a:cxn ang="0">
                    <a:pos x="connsiteX844" y="connsiteY844"/>
                  </a:cxn>
                  <a:cxn ang="0">
                    <a:pos x="connsiteX845" y="connsiteY845"/>
                  </a:cxn>
                  <a:cxn ang="0">
                    <a:pos x="connsiteX846" y="connsiteY846"/>
                  </a:cxn>
                  <a:cxn ang="0">
                    <a:pos x="connsiteX847" y="connsiteY847"/>
                  </a:cxn>
                  <a:cxn ang="0">
                    <a:pos x="connsiteX848" y="connsiteY848"/>
                  </a:cxn>
                  <a:cxn ang="0">
                    <a:pos x="connsiteX849" y="connsiteY849"/>
                  </a:cxn>
                  <a:cxn ang="0">
                    <a:pos x="connsiteX850" y="connsiteY850"/>
                  </a:cxn>
                  <a:cxn ang="0">
                    <a:pos x="connsiteX851" y="connsiteY851"/>
                  </a:cxn>
                  <a:cxn ang="0">
                    <a:pos x="connsiteX852" y="connsiteY852"/>
                  </a:cxn>
                  <a:cxn ang="0">
                    <a:pos x="connsiteX853" y="connsiteY853"/>
                  </a:cxn>
                  <a:cxn ang="0">
                    <a:pos x="connsiteX854" y="connsiteY854"/>
                  </a:cxn>
                  <a:cxn ang="0">
                    <a:pos x="connsiteX855" y="connsiteY855"/>
                  </a:cxn>
                  <a:cxn ang="0">
                    <a:pos x="connsiteX856" y="connsiteY856"/>
                  </a:cxn>
                  <a:cxn ang="0">
                    <a:pos x="connsiteX857" y="connsiteY857"/>
                  </a:cxn>
                  <a:cxn ang="0">
                    <a:pos x="connsiteX858" y="connsiteY858"/>
                  </a:cxn>
                  <a:cxn ang="0">
                    <a:pos x="connsiteX859" y="connsiteY859"/>
                  </a:cxn>
                  <a:cxn ang="0">
                    <a:pos x="connsiteX860" y="connsiteY860"/>
                  </a:cxn>
                  <a:cxn ang="0">
                    <a:pos x="connsiteX861" y="connsiteY861"/>
                  </a:cxn>
                  <a:cxn ang="0">
                    <a:pos x="connsiteX862" y="connsiteY862"/>
                  </a:cxn>
                  <a:cxn ang="0">
                    <a:pos x="connsiteX863" y="connsiteY863"/>
                  </a:cxn>
                  <a:cxn ang="0">
                    <a:pos x="connsiteX864" y="connsiteY864"/>
                  </a:cxn>
                  <a:cxn ang="0">
                    <a:pos x="connsiteX865" y="connsiteY865"/>
                  </a:cxn>
                  <a:cxn ang="0">
                    <a:pos x="connsiteX866" y="connsiteY866"/>
                  </a:cxn>
                  <a:cxn ang="0">
                    <a:pos x="connsiteX867" y="connsiteY867"/>
                  </a:cxn>
                  <a:cxn ang="0">
                    <a:pos x="connsiteX868" y="connsiteY868"/>
                  </a:cxn>
                  <a:cxn ang="0">
                    <a:pos x="connsiteX869" y="connsiteY869"/>
                  </a:cxn>
                  <a:cxn ang="0">
                    <a:pos x="connsiteX870" y="connsiteY870"/>
                  </a:cxn>
                  <a:cxn ang="0">
                    <a:pos x="connsiteX871" y="connsiteY871"/>
                  </a:cxn>
                  <a:cxn ang="0">
                    <a:pos x="connsiteX872" y="connsiteY872"/>
                  </a:cxn>
                  <a:cxn ang="0">
                    <a:pos x="connsiteX873" y="connsiteY873"/>
                  </a:cxn>
                  <a:cxn ang="0">
                    <a:pos x="connsiteX874" y="connsiteY874"/>
                  </a:cxn>
                  <a:cxn ang="0">
                    <a:pos x="connsiteX875" y="connsiteY875"/>
                  </a:cxn>
                  <a:cxn ang="0">
                    <a:pos x="connsiteX876" y="connsiteY876"/>
                  </a:cxn>
                  <a:cxn ang="0">
                    <a:pos x="connsiteX877" y="connsiteY877"/>
                  </a:cxn>
                  <a:cxn ang="0">
                    <a:pos x="connsiteX878" y="connsiteY878"/>
                  </a:cxn>
                  <a:cxn ang="0">
                    <a:pos x="connsiteX879" y="connsiteY879"/>
                  </a:cxn>
                  <a:cxn ang="0">
                    <a:pos x="connsiteX880" y="connsiteY880"/>
                  </a:cxn>
                  <a:cxn ang="0">
                    <a:pos x="connsiteX881" y="connsiteY881"/>
                  </a:cxn>
                  <a:cxn ang="0">
                    <a:pos x="connsiteX882" y="connsiteY882"/>
                  </a:cxn>
                  <a:cxn ang="0">
                    <a:pos x="connsiteX883" y="connsiteY883"/>
                  </a:cxn>
                  <a:cxn ang="0">
                    <a:pos x="connsiteX884" y="connsiteY884"/>
                  </a:cxn>
                  <a:cxn ang="0">
                    <a:pos x="connsiteX885" y="connsiteY885"/>
                  </a:cxn>
                  <a:cxn ang="0">
                    <a:pos x="connsiteX886" y="connsiteY886"/>
                  </a:cxn>
                  <a:cxn ang="0">
                    <a:pos x="connsiteX887" y="connsiteY887"/>
                  </a:cxn>
                  <a:cxn ang="0">
                    <a:pos x="connsiteX888" y="connsiteY888"/>
                  </a:cxn>
                  <a:cxn ang="0">
                    <a:pos x="connsiteX889" y="connsiteY889"/>
                  </a:cxn>
                  <a:cxn ang="0">
                    <a:pos x="connsiteX890" y="connsiteY890"/>
                  </a:cxn>
                  <a:cxn ang="0">
                    <a:pos x="connsiteX891" y="connsiteY891"/>
                  </a:cxn>
                  <a:cxn ang="0">
                    <a:pos x="connsiteX892" y="connsiteY892"/>
                  </a:cxn>
                  <a:cxn ang="0">
                    <a:pos x="connsiteX893" y="connsiteY893"/>
                  </a:cxn>
                  <a:cxn ang="0">
                    <a:pos x="connsiteX894" y="connsiteY894"/>
                  </a:cxn>
                  <a:cxn ang="0">
                    <a:pos x="connsiteX895" y="connsiteY895"/>
                  </a:cxn>
                  <a:cxn ang="0">
                    <a:pos x="connsiteX896" y="connsiteY896"/>
                  </a:cxn>
                  <a:cxn ang="0">
                    <a:pos x="connsiteX897" y="connsiteY897"/>
                  </a:cxn>
                  <a:cxn ang="0">
                    <a:pos x="connsiteX898" y="connsiteY898"/>
                  </a:cxn>
                  <a:cxn ang="0">
                    <a:pos x="connsiteX899" y="connsiteY899"/>
                  </a:cxn>
                  <a:cxn ang="0">
                    <a:pos x="connsiteX900" y="connsiteY900"/>
                  </a:cxn>
                  <a:cxn ang="0">
                    <a:pos x="connsiteX901" y="connsiteY901"/>
                  </a:cxn>
                  <a:cxn ang="0">
                    <a:pos x="connsiteX902" y="connsiteY902"/>
                  </a:cxn>
                  <a:cxn ang="0">
                    <a:pos x="connsiteX903" y="connsiteY903"/>
                  </a:cxn>
                  <a:cxn ang="0">
                    <a:pos x="connsiteX904" y="connsiteY904"/>
                  </a:cxn>
                  <a:cxn ang="0">
                    <a:pos x="connsiteX905" y="connsiteY905"/>
                  </a:cxn>
                  <a:cxn ang="0">
                    <a:pos x="connsiteX906" y="connsiteY906"/>
                  </a:cxn>
                  <a:cxn ang="0">
                    <a:pos x="connsiteX907" y="connsiteY907"/>
                  </a:cxn>
                  <a:cxn ang="0">
                    <a:pos x="connsiteX908" y="connsiteY908"/>
                  </a:cxn>
                  <a:cxn ang="0">
                    <a:pos x="connsiteX909" y="connsiteY909"/>
                  </a:cxn>
                  <a:cxn ang="0">
                    <a:pos x="connsiteX910" y="connsiteY910"/>
                  </a:cxn>
                  <a:cxn ang="0">
                    <a:pos x="connsiteX911" y="connsiteY911"/>
                  </a:cxn>
                  <a:cxn ang="0">
                    <a:pos x="connsiteX912" y="connsiteY912"/>
                  </a:cxn>
                  <a:cxn ang="0">
                    <a:pos x="connsiteX913" y="connsiteY913"/>
                  </a:cxn>
                  <a:cxn ang="0">
                    <a:pos x="connsiteX914" y="connsiteY914"/>
                  </a:cxn>
                  <a:cxn ang="0">
                    <a:pos x="connsiteX915" y="connsiteY915"/>
                  </a:cxn>
                  <a:cxn ang="0">
                    <a:pos x="connsiteX916" y="connsiteY916"/>
                  </a:cxn>
                  <a:cxn ang="0">
                    <a:pos x="connsiteX917" y="connsiteY917"/>
                  </a:cxn>
                  <a:cxn ang="0">
                    <a:pos x="connsiteX918" y="connsiteY918"/>
                  </a:cxn>
                  <a:cxn ang="0">
                    <a:pos x="connsiteX919" y="connsiteY919"/>
                  </a:cxn>
                  <a:cxn ang="0">
                    <a:pos x="connsiteX920" y="connsiteY920"/>
                  </a:cxn>
                  <a:cxn ang="0">
                    <a:pos x="connsiteX921" y="connsiteY921"/>
                  </a:cxn>
                  <a:cxn ang="0">
                    <a:pos x="connsiteX922" y="connsiteY922"/>
                  </a:cxn>
                  <a:cxn ang="0">
                    <a:pos x="connsiteX923" y="connsiteY923"/>
                  </a:cxn>
                  <a:cxn ang="0">
                    <a:pos x="connsiteX924" y="connsiteY924"/>
                  </a:cxn>
                  <a:cxn ang="0">
                    <a:pos x="connsiteX925" y="connsiteY925"/>
                  </a:cxn>
                  <a:cxn ang="0">
                    <a:pos x="connsiteX926" y="connsiteY926"/>
                  </a:cxn>
                  <a:cxn ang="0">
                    <a:pos x="connsiteX927" y="connsiteY927"/>
                  </a:cxn>
                  <a:cxn ang="0">
                    <a:pos x="connsiteX928" y="connsiteY928"/>
                  </a:cxn>
                  <a:cxn ang="0">
                    <a:pos x="connsiteX929" y="connsiteY929"/>
                  </a:cxn>
                  <a:cxn ang="0">
                    <a:pos x="connsiteX930" y="connsiteY930"/>
                  </a:cxn>
                  <a:cxn ang="0">
                    <a:pos x="connsiteX931" y="connsiteY931"/>
                  </a:cxn>
                  <a:cxn ang="0">
                    <a:pos x="connsiteX932" y="connsiteY932"/>
                  </a:cxn>
                  <a:cxn ang="0">
                    <a:pos x="connsiteX933" y="connsiteY933"/>
                  </a:cxn>
                  <a:cxn ang="0">
                    <a:pos x="connsiteX934" y="connsiteY934"/>
                  </a:cxn>
                  <a:cxn ang="0">
                    <a:pos x="connsiteX935" y="connsiteY935"/>
                  </a:cxn>
                  <a:cxn ang="0">
                    <a:pos x="connsiteX936" y="connsiteY936"/>
                  </a:cxn>
                  <a:cxn ang="0">
                    <a:pos x="connsiteX937" y="connsiteY937"/>
                  </a:cxn>
                  <a:cxn ang="0">
                    <a:pos x="connsiteX938" y="connsiteY938"/>
                  </a:cxn>
                  <a:cxn ang="0">
                    <a:pos x="connsiteX939" y="connsiteY939"/>
                  </a:cxn>
                  <a:cxn ang="0">
                    <a:pos x="connsiteX940" y="connsiteY940"/>
                  </a:cxn>
                  <a:cxn ang="0">
                    <a:pos x="connsiteX941" y="connsiteY941"/>
                  </a:cxn>
                  <a:cxn ang="0">
                    <a:pos x="connsiteX942" y="connsiteY942"/>
                  </a:cxn>
                  <a:cxn ang="0">
                    <a:pos x="connsiteX943" y="connsiteY943"/>
                  </a:cxn>
                  <a:cxn ang="0">
                    <a:pos x="connsiteX944" y="connsiteY944"/>
                  </a:cxn>
                  <a:cxn ang="0">
                    <a:pos x="connsiteX945" y="connsiteY945"/>
                  </a:cxn>
                  <a:cxn ang="0">
                    <a:pos x="connsiteX946" y="connsiteY946"/>
                  </a:cxn>
                  <a:cxn ang="0">
                    <a:pos x="connsiteX947" y="connsiteY947"/>
                  </a:cxn>
                  <a:cxn ang="0">
                    <a:pos x="connsiteX948" y="connsiteY948"/>
                  </a:cxn>
                  <a:cxn ang="0">
                    <a:pos x="connsiteX949" y="connsiteY949"/>
                  </a:cxn>
                  <a:cxn ang="0">
                    <a:pos x="connsiteX950" y="connsiteY950"/>
                  </a:cxn>
                  <a:cxn ang="0">
                    <a:pos x="connsiteX951" y="connsiteY951"/>
                  </a:cxn>
                  <a:cxn ang="0">
                    <a:pos x="connsiteX952" y="connsiteY952"/>
                  </a:cxn>
                  <a:cxn ang="0">
                    <a:pos x="connsiteX953" y="connsiteY953"/>
                  </a:cxn>
                  <a:cxn ang="0">
                    <a:pos x="connsiteX954" y="connsiteY954"/>
                  </a:cxn>
                  <a:cxn ang="0">
                    <a:pos x="connsiteX955" y="connsiteY955"/>
                  </a:cxn>
                  <a:cxn ang="0">
                    <a:pos x="connsiteX956" y="connsiteY956"/>
                  </a:cxn>
                  <a:cxn ang="0">
                    <a:pos x="connsiteX957" y="connsiteY957"/>
                  </a:cxn>
                  <a:cxn ang="0">
                    <a:pos x="connsiteX958" y="connsiteY958"/>
                  </a:cxn>
                  <a:cxn ang="0">
                    <a:pos x="connsiteX959" y="connsiteY959"/>
                  </a:cxn>
                  <a:cxn ang="0">
                    <a:pos x="connsiteX960" y="connsiteY960"/>
                  </a:cxn>
                  <a:cxn ang="0">
                    <a:pos x="connsiteX961" y="connsiteY961"/>
                  </a:cxn>
                  <a:cxn ang="0">
                    <a:pos x="connsiteX962" y="connsiteY962"/>
                  </a:cxn>
                  <a:cxn ang="0">
                    <a:pos x="connsiteX963" y="connsiteY963"/>
                  </a:cxn>
                  <a:cxn ang="0">
                    <a:pos x="connsiteX964" y="connsiteY964"/>
                  </a:cxn>
                  <a:cxn ang="0">
                    <a:pos x="connsiteX965" y="connsiteY965"/>
                  </a:cxn>
                  <a:cxn ang="0">
                    <a:pos x="connsiteX966" y="connsiteY966"/>
                  </a:cxn>
                  <a:cxn ang="0">
                    <a:pos x="connsiteX967" y="connsiteY967"/>
                  </a:cxn>
                  <a:cxn ang="0">
                    <a:pos x="connsiteX968" y="connsiteY968"/>
                  </a:cxn>
                  <a:cxn ang="0">
                    <a:pos x="connsiteX969" y="connsiteY969"/>
                  </a:cxn>
                  <a:cxn ang="0">
                    <a:pos x="connsiteX970" y="connsiteY970"/>
                  </a:cxn>
                  <a:cxn ang="0">
                    <a:pos x="connsiteX971" y="connsiteY971"/>
                  </a:cxn>
                  <a:cxn ang="0">
                    <a:pos x="connsiteX972" y="connsiteY972"/>
                  </a:cxn>
                  <a:cxn ang="0">
                    <a:pos x="connsiteX973" y="connsiteY973"/>
                  </a:cxn>
                  <a:cxn ang="0">
                    <a:pos x="connsiteX974" y="connsiteY974"/>
                  </a:cxn>
                  <a:cxn ang="0">
                    <a:pos x="connsiteX975" y="connsiteY975"/>
                  </a:cxn>
                  <a:cxn ang="0">
                    <a:pos x="connsiteX976" y="connsiteY976"/>
                  </a:cxn>
                  <a:cxn ang="0">
                    <a:pos x="connsiteX977" y="connsiteY977"/>
                  </a:cxn>
                  <a:cxn ang="0">
                    <a:pos x="connsiteX978" y="connsiteY978"/>
                  </a:cxn>
                  <a:cxn ang="0">
                    <a:pos x="connsiteX979" y="connsiteY979"/>
                  </a:cxn>
                  <a:cxn ang="0">
                    <a:pos x="connsiteX980" y="connsiteY980"/>
                  </a:cxn>
                  <a:cxn ang="0">
                    <a:pos x="connsiteX981" y="connsiteY981"/>
                  </a:cxn>
                  <a:cxn ang="0">
                    <a:pos x="connsiteX982" y="connsiteY982"/>
                  </a:cxn>
                  <a:cxn ang="0">
                    <a:pos x="connsiteX983" y="connsiteY983"/>
                  </a:cxn>
                  <a:cxn ang="0">
                    <a:pos x="connsiteX984" y="connsiteY984"/>
                  </a:cxn>
                  <a:cxn ang="0">
                    <a:pos x="connsiteX985" y="connsiteY985"/>
                  </a:cxn>
                  <a:cxn ang="0">
                    <a:pos x="connsiteX986" y="connsiteY986"/>
                  </a:cxn>
                  <a:cxn ang="0">
                    <a:pos x="connsiteX987" y="connsiteY987"/>
                  </a:cxn>
                  <a:cxn ang="0">
                    <a:pos x="connsiteX988" y="connsiteY988"/>
                  </a:cxn>
                  <a:cxn ang="0">
                    <a:pos x="connsiteX989" y="connsiteY989"/>
                  </a:cxn>
                  <a:cxn ang="0">
                    <a:pos x="connsiteX990" y="connsiteY990"/>
                  </a:cxn>
                  <a:cxn ang="0">
                    <a:pos x="connsiteX991" y="connsiteY991"/>
                  </a:cxn>
                  <a:cxn ang="0">
                    <a:pos x="connsiteX992" y="connsiteY992"/>
                  </a:cxn>
                  <a:cxn ang="0">
                    <a:pos x="connsiteX993" y="connsiteY993"/>
                  </a:cxn>
                  <a:cxn ang="0">
                    <a:pos x="connsiteX994" y="connsiteY994"/>
                  </a:cxn>
                  <a:cxn ang="0">
                    <a:pos x="connsiteX995" y="connsiteY995"/>
                  </a:cxn>
                  <a:cxn ang="0">
                    <a:pos x="connsiteX996" y="connsiteY996"/>
                  </a:cxn>
                  <a:cxn ang="0">
                    <a:pos x="connsiteX997" y="connsiteY997"/>
                  </a:cxn>
                  <a:cxn ang="0">
                    <a:pos x="connsiteX998" y="connsiteY998"/>
                  </a:cxn>
                  <a:cxn ang="0">
                    <a:pos x="connsiteX999" y="connsiteY999"/>
                  </a:cxn>
                  <a:cxn ang="0">
                    <a:pos x="connsiteX1000" y="connsiteY1000"/>
                  </a:cxn>
                  <a:cxn ang="0">
                    <a:pos x="connsiteX1001" y="connsiteY1001"/>
                  </a:cxn>
                  <a:cxn ang="0">
                    <a:pos x="connsiteX1002" y="connsiteY1002"/>
                  </a:cxn>
                  <a:cxn ang="0">
                    <a:pos x="connsiteX1003" y="connsiteY1003"/>
                  </a:cxn>
                  <a:cxn ang="0">
                    <a:pos x="connsiteX1004" y="connsiteY1004"/>
                  </a:cxn>
                  <a:cxn ang="0">
                    <a:pos x="connsiteX1005" y="connsiteY1005"/>
                  </a:cxn>
                  <a:cxn ang="0">
                    <a:pos x="connsiteX1006" y="connsiteY1006"/>
                  </a:cxn>
                  <a:cxn ang="0">
                    <a:pos x="connsiteX1007" y="connsiteY1007"/>
                  </a:cxn>
                  <a:cxn ang="0">
                    <a:pos x="connsiteX1008" y="connsiteY1008"/>
                  </a:cxn>
                  <a:cxn ang="0">
                    <a:pos x="connsiteX1009" y="connsiteY1009"/>
                  </a:cxn>
                  <a:cxn ang="0">
                    <a:pos x="connsiteX1010" y="connsiteY1010"/>
                  </a:cxn>
                  <a:cxn ang="0">
                    <a:pos x="connsiteX1011" y="connsiteY1011"/>
                  </a:cxn>
                  <a:cxn ang="0">
                    <a:pos x="connsiteX1012" y="connsiteY1012"/>
                  </a:cxn>
                  <a:cxn ang="0">
                    <a:pos x="connsiteX1013" y="connsiteY1013"/>
                  </a:cxn>
                  <a:cxn ang="0">
                    <a:pos x="connsiteX1014" y="connsiteY1014"/>
                  </a:cxn>
                  <a:cxn ang="0">
                    <a:pos x="connsiteX1015" y="connsiteY1015"/>
                  </a:cxn>
                  <a:cxn ang="0">
                    <a:pos x="connsiteX1016" y="connsiteY1016"/>
                  </a:cxn>
                  <a:cxn ang="0">
                    <a:pos x="connsiteX1017" y="connsiteY1017"/>
                  </a:cxn>
                  <a:cxn ang="0">
                    <a:pos x="connsiteX1018" y="connsiteY1018"/>
                  </a:cxn>
                  <a:cxn ang="0">
                    <a:pos x="connsiteX1019" y="connsiteY1019"/>
                  </a:cxn>
                  <a:cxn ang="0">
                    <a:pos x="connsiteX1020" y="connsiteY1020"/>
                  </a:cxn>
                  <a:cxn ang="0">
                    <a:pos x="connsiteX1021" y="connsiteY1021"/>
                  </a:cxn>
                  <a:cxn ang="0">
                    <a:pos x="connsiteX1022" y="connsiteY1022"/>
                  </a:cxn>
                  <a:cxn ang="0">
                    <a:pos x="connsiteX1023" y="connsiteY1023"/>
                  </a:cxn>
                  <a:cxn ang="0">
                    <a:pos x="connsiteX1024" y="connsiteY1024"/>
                  </a:cxn>
                  <a:cxn ang="0">
                    <a:pos x="connsiteX1025" y="connsiteY1025"/>
                  </a:cxn>
                  <a:cxn ang="0">
                    <a:pos x="connsiteX1026" y="connsiteY1026"/>
                  </a:cxn>
                  <a:cxn ang="0">
                    <a:pos x="connsiteX1027" y="connsiteY1027"/>
                  </a:cxn>
                  <a:cxn ang="0">
                    <a:pos x="connsiteX1028" y="connsiteY1028"/>
                  </a:cxn>
                  <a:cxn ang="0">
                    <a:pos x="connsiteX1029" y="connsiteY1029"/>
                  </a:cxn>
                  <a:cxn ang="0">
                    <a:pos x="connsiteX1030" y="connsiteY1030"/>
                  </a:cxn>
                  <a:cxn ang="0">
                    <a:pos x="connsiteX1031" y="connsiteY1031"/>
                  </a:cxn>
                  <a:cxn ang="0">
                    <a:pos x="connsiteX1032" y="connsiteY1032"/>
                  </a:cxn>
                  <a:cxn ang="0">
                    <a:pos x="connsiteX1033" y="connsiteY1033"/>
                  </a:cxn>
                  <a:cxn ang="0">
                    <a:pos x="connsiteX1034" y="connsiteY1034"/>
                  </a:cxn>
                  <a:cxn ang="0">
                    <a:pos x="connsiteX1035" y="connsiteY1035"/>
                  </a:cxn>
                  <a:cxn ang="0">
                    <a:pos x="connsiteX1036" y="connsiteY1036"/>
                  </a:cxn>
                  <a:cxn ang="0">
                    <a:pos x="connsiteX1037" y="connsiteY1037"/>
                  </a:cxn>
                  <a:cxn ang="0">
                    <a:pos x="connsiteX1038" y="connsiteY1038"/>
                  </a:cxn>
                  <a:cxn ang="0">
                    <a:pos x="connsiteX1039" y="connsiteY1039"/>
                  </a:cxn>
                  <a:cxn ang="0">
                    <a:pos x="connsiteX1040" y="connsiteY1040"/>
                  </a:cxn>
                  <a:cxn ang="0">
                    <a:pos x="connsiteX1041" y="connsiteY1041"/>
                  </a:cxn>
                  <a:cxn ang="0">
                    <a:pos x="connsiteX1042" y="connsiteY1042"/>
                  </a:cxn>
                  <a:cxn ang="0">
                    <a:pos x="connsiteX1043" y="connsiteY1043"/>
                  </a:cxn>
                  <a:cxn ang="0">
                    <a:pos x="connsiteX1044" y="connsiteY1044"/>
                  </a:cxn>
                  <a:cxn ang="0">
                    <a:pos x="connsiteX1045" y="connsiteY1045"/>
                  </a:cxn>
                  <a:cxn ang="0">
                    <a:pos x="connsiteX1046" y="connsiteY1046"/>
                  </a:cxn>
                  <a:cxn ang="0">
                    <a:pos x="connsiteX1047" y="connsiteY1047"/>
                  </a:cxn>
                  <a:cxn ang="0">
                    <a:pos x="connsiteX1048" y="connsiteY1048"/>
                  </a:cxn>
                  <a:cxn ang="0">
                    <a:pos x="connsiteX1049" y="connsiteY1049"/>
                  </a:cxn>
                  <a:cxn ang="0">
                    <a:pos x="connsiteX1050" y="connsiteY1050"/>
                  </a:cxn>
                  <a:cxn ang="0">
                    <a:pos x="connsiteX1051" y="connsiteY1051"/>
                  </a:cxn>
                  <a:cxn ang="0">
                    <a:pos x="connsiteX1052" y="connsiteY1052"/>
                  </a:cxn>
                  <a:cxn ang="0">
                    <a:pos x="connsiteX1053" y="connsiteY1053"/>
                  </a:cxn>
                  <a:cxn ang="0">
                    <a:pos x="connsiteX1054" y="connsiteY1054"/>
                  </a:cxn>
                  <a:cxn ang="0">
                    <a:pos x="connsiteX1055" y="connsiteY1055"/>
                  </a:cxn>
                  <a:cxn ang="0">
                    <a:pos x="connsiteX1056" y="connsiteY1056"/>
                  </a:cxn>
                  <a:cxn ang="0">
                    <a:pos x="connsiteX1057" y="connsiteY1057"/>
                  </a:cxn>
                  <a:cxn ang="0">
                    <a:pos x="connsiteX1058" y="connsiteY1058"/>
                  </a:cxn>
                  <a:cxn ang="0">
                    <a:pos x="connsiteX1059" y="connsiteY1059"/>
                  </a:cxn>
                  <a:cxn ang="0">
                    <a:pos x="connsiteX1060" y="connsiteY1060"/>
                  </a:cxn>
                  <a:cxn ang="0">
                    <a:pos x="connsiteX1061" y="connsiteY1061"/>
                  </a:cxn>
                  <a:cxn ang="0">
                    <a:pos x="connsiteX1062" y="connsiteY1062"/>
                  </a:cxn>
                  <a:cxn ang="0">
                    <a:pos x="connsiteX1063" y="connsiteY1063"/>
                  </a:cxn>
                  <a:cxn ang="0">
                    <a:pos x="connsiteX1064" y="connsiteY1064"/>
                  </a:cxn>
                  <a:cxn ang="0">
                    <a:pos x="connsiteX1065" y="connsiteY1065"/>
                  </a:cxn>
                  <a:cxn ang="0">
                    <a:pos x="connsiteX1066" y="connsiteY1066"/>
                  </a:cxn>
                  <a:cxn ang="0">
                    <a:pos x="connsiteX1067" y="connsiteY1067"/>
                  </a:cxn>
                  <a:cxn ang="0">
                    <a:pos x="connsiteX1068" y="connsiteY1068"/>
                  </a:cxn>
                  <a:cxn ang="0">
                    <a:pos x="connsiteX1069" y="connsiteY1069"/>
                  </a:cxn>
                  <a:cxn ang="0">
                    <a:pos x="connsiteX1070" y="connsiteY1070"/>
                  </a:cxn>
                  <a:cxn ang="0">
                    <a:pos x="connsiteX1071" y="connsiteY1071"/>
                  </a:cxn>
                  <a:cxn ang="0">
                    <a:pos x="connsiteX1072" y="connsiteY1072"/>
                  </a:cxn>
                  <a:cxn ang="0">
                    <a:pos x="connsiteX1073" y="connsiteY1073"/>
                  </a:cxn>
                  <a:cxn ang="0">
                    <a:pos x="connsiteX1074" y="connsiteY1074"/>
                  </a:cxn>
                  <a:cxn ang="0">
                    <a:pos x="connsiteX1075" y="connsiteY1075"/>
                  </a:cxn>
                  <a:cxn ang="0">
                    <a:pos x="connsiteX1076" y="connsiteY1076"/>
                  </a:cxn>
                  <a:cxn ang="0">
                    <a:pos x="connsiteX1077" y="connsiteY1077"/>
                  </a:cxn>
                  <a:cxn ang="0">
                    <a:pos x="connsiteX1078" y="connsiteY1078"/>
                  </a:cxn>
                  <a:cxn ang="0">
                    <a:pos x="connsiteX1079" y="connsiteY1079"/>
                  </a:cxn>
                  <a:cxn ang="0">
                    <a:pos x="connsiteX1080" y="connsiteY1080"/>
                  </a:cxn>
                  <a:cxn ang="0">
                    <a:pos x="connsiteX1081" y="connsiteY1081"/>
                  </a:cxn>
                  <a:cxn ang="0">
                    <a:pos x="connsiteX1082" y="connsiteY1082"/>
                  </a:cxn>
                  <a:cxn ang="0">
                    <a:pos x="connsiteX1083" y="connsiteY1083"/>
                  </a:cxn>
                  <a:cxn ang="0">
                    <a:pos x="connsiteX1084" y="connsiteY1084"/>
                  </a:cxn>
                  <a:cxn ang="0">
                    <a:pos x="connsiteX1085" y="connsiteY1085"/>
                  </a:cxn>
                  <a:cxn ang="0">
                    <a:pos x="connsiteX1086" y="connsiteY1086"/>
                  </a:cxn>
                  <a:cxn ang="0">
                    <a:pos x="connsiteX1087" y="connsiteY1087"/>
                  </a:cxn>
                  <a:cxn ang="0">
                    <a:pos x="connsiteX1088" y="connsiteY1088"/>
                  </a:cxn>
                  <a:cxn ang="0">
                    <a:pos x="connsiteX1089" y="connsiteY1089"/>
                  </a:cxn>
                  <a:cxn ang="0">
                    <a:pos x="connsiteX1090" y="connsiteY1090"/>
                  </a:cxn>
                  <a:cxn ang="0">
                    <a:pos x="connsiteX1091" y="connsiteY1091"/>
                  </a:cxn>
                  <a:cxn ang="0">
                    <a:pos x="connsiteX1092" y="connsiteY1092"/>
                  </a:cxn>
                  <a:cxn ang="0">
                    <a:pos x="connsiteX1093" y="connsiteY1093"/>
                  </a:cxn>
                  <a:cxn ang="0">
                    <a:pos x="connsiteX1094" y="connsiteY1094"/>
                  </a:cxn>
                  <a:cxn ang="0">
                    <a:pos x="connsiteX1095" y="connsiteY1095"/>
                  </a:cxn>
                  <a:cxn ang="0">
                    <a:pos x="connsiteX1096" y="connsiteY1096"/>
                  </a:cxn>
                  <a:cxn ang="0">
                    <a:pos x="connsiteX1097" y="connsiteY1097"/>
                  </a:cxn>
                  <a:cxn ang="0">
                    <a:pos x="connsiteX1098" y="connsiteY1098"/>
                  </a:cxn>
                  <a:cxn ang="0">
                    <a:pos x="connsiteX1099" y="connsiteY1099"/>
                  </a:cxn>
                  <a:cxn ang="0">
                    <a:pos x="connsiteX1100" y="connsiteY1100"/>
                  </a:cxn>
                  <a:cxn ang="0">
                    <a:pos x="connsiteX1101" y="connsiteY1101"/>
                  </a:cxn>
                  <a:cxn ang="0">
                    <a:pos x="connsiteX1102" y="connsiteY1102"/>
                  </a:cxn>
                  <a:cxn ang="0">
                    <a:pos x="connsiteX1103" y="connsiteY1103"/>
                  </a:cxn>
                  <a:cxn ang="0">
                    <a:pos x="connsiteX1104" y="connsiteY1104"/>
                  </a:cxn>
                  <a:cxn ang="0">
                    <a:pos x="connsiteX1105" y="connsiteY1105"/>
                  </a:cxn>
                  <a:cxn ang="0">
                    <a:pos x="connsiteX1106" y="connsiteY1106"/>
                  </a:cxn>
                  <a:cxn ang="0">
                    <a:pos x="connsiteX1107" y="connsiteY1107"/>
                  </a:cxn>
                  <a:cxn ang="0">
                    <a:pos x="connsiteX1108" y="connsiteY1108"/>
                  </a:cxn>
                  <a:cxn ang="0">
                    <a:pos x="connsiteX1109" y="connsiteY1109"/>
                  </a:cxn>
                  <a:cxn ang="0">
                    <a:pos x="connsiteX1110" y="connsiteY1110"/>
                  </a:cxn>
                  <a:cxn ang="0">
                    <a:pos x="connsiteX1111" y="connsiteY1111"/>
                  </a:cxn>
                  <a:cxn ang="0">
                    <a:pos x="connsiteX1112" y="connsiteY1112"/>
                  </a:cxn>
                  <a:cxn ang="0">
                    <a:pos x="connsiteX1113" y="connsiteY1113"/>
                  </a:cxn>
                  <a:cxn ang="0">
                    <a:pos x="connsiteX1114" y="connsiteY1114"/>
                  </a:cxn>
                  <a:cxn ang="0">
                    <a:pos x="connsiteX1115" y="connsiteY1115"/>
                  </a:cxn>
                  <a:cxn ang="0">
                    <a:pos x="connsiteX1116" y="connsiteY1116"/>
                  </a:cxn>
                  <a:cxn ang="0">
                    <a:pos x="connsiteX1117" y="connsiteY1117"/>
                  </a:cxn>
                  <a:cxn ang="0">
                    <a:pos x="connsiteX1118" y="connsiteY1118"/>
                  </a:cxn>
                  <a:cxn ang="0">
                    <a:pos x="connsiteX1119" y="connsiteY1119"/>
                  </a:cxn>
                  <a:cxn ang="0">
                    <a:pos x="connsiteX1120" y="connsiteY1120"/>
                  </a:cxn>
                  <a:cxn ang="0">
                    <a:pos x="connsiteX1121" y="connsiteY1121"/>
                  </a:cxn>
                  <a:cxn ang="0">
                    <a:pos x="connsiteX1122" y="connsiteY1122"/>
                  </a:cxn>
                  <a:cxn ang="0">
                    <a:pos x="connsiteX1123" y="connsiteY1123"/>
                  </a:cxn>
                  <a:cxn ang="0">
                    <a:pos x="connsiteX1124" y="connsiteY1124"/>
                  </a:cxn>
                  <a:cxn ang="0">
                    <a:pos x="connsiteX1125" y="connsiteY1125"/>
                  </a:cxn>
                  <a:cxn ang="0">
                    <a:pos x="connsiteX1126" y="connsiteY1126"/>
                  </a:cxn>
                  <a:cxn ang="0">
                    <a:pos x="connsiteX1127" y="connsiteY1127"/>
                  </a:cxn>
                  <a:cxn ang="0">
                    <a:pos x="connsiteX1128" y="connsiteY1128"/>
                  </a:cxn>
                  <a:cxn ang="0">
                    <a:pos x="connsiteX1129" y="connsiteY1129"/>
                  </a:cxn>
                  <a:cxn ang="0">
                    <a:pos x="connsiteX1130" y="connsiteY1130"/>
                  </a:cxn>
                  <a:cxn ang="0">
                    <a:pos x="connsiteX1131" y="connsiteY1131"/>
                  </a:cxn>
                  <a:cxn ang="0">
                    <a:pos x="connsiteX1132" y="connsiteY1132"/>
                  </a:cxn>
                  <a:cxn ang="0">
                    <a:pos x="connsiteX1133" y="connsiteY1133"/>
                  </a:cxn>
                  <a:cxn ang="0">
                    <a:pos x="connsiteX1134" y="connsiteY1134"/>
                  </a:cxn>
                  <a:cxn ang="0">
                    <a:pos x="connsiteX1135" y="connsiteY1135"/>
                  </a:cxn>
                  <a:cxn ang="0">
                    <a:pos x="connsiteX1136" y="connsiteY1136"/>
                  </a:cxn>
                  <a:cxn ang="0">
                    <a:pos x="connsiteX1137" y="connsiteY1137"/>
                  </a:cxn>
                  <a:cxn ang="0">
                    <a:pos x="connsiteX1138" y="connsiteY1138"/>
                  </a:cxn>
                  <a:cxn ang="0">
                    <a:pos x="connsiteX1139" y="connsiteY1139"/>
                  </a:cxn>
                  <a:cxn ang="0">
                    <a:pos x="connsiteX1140" y="connsiteY1140"/>
                  </a:cxn>
                  <a:cxn ang="0">
                    <a:pos x="connsiteX1141" y="connsiteY1141"/>
                  </a:cxn>
                  <a:cxn ang="0">
                    <a:pos x="connsiteX1142" y="connsiteY1142"/>
                  </a:cxn>
                  <a:cxn ang="0">
                    <a:pos x="connsiteX1143" y="connsiteY1143"/>
                  </a:cxn>
                  <a:cxn ang="0">
                    <a:pos x="connsiteX1144" y="connsiteY1144"/>
                  </a:cxn>
                  <a:cxn ang="0">
                    <a:pos x="connsiteX1145" y="connsiteY1145"/>
                  </a:cxn>
                  <a:cxn ang="0">
                    <a:pos x="connsiteX1146" y="connsiteY1146"/>
                  </a:cxn>
                  <a:cxn ang="0">
                    <a:pos x="connsiteX1147" y="connsiteY1147"/>
                  </a:cxn>
                  <a:cxn ang="0">
                    <a:pos x="connsiteX1148" y="connsiteY1148"/>
                  </a:cxn>
                  <a:cxn ang="0">
                    <a:pos x="connsiteX1149" y="connsiteY1149"/>
                  </a:cxn>
                  <a:cxn ang="0">
                    <a:pos x="connsiteX1150" y="connsiteY1150"/>
                  </a:cxn>
                  <a:cxn ang="0">
                    <a:pos x="connsiteX1151" y="connsiteY1151"/>
                  </a:cxn>
                  <a:cxn ang="0">
                    <a:pos x="connsiteX1152" y="connsiteY1152"/>
                  </a:cxn>
                  <a:cxn ang="0">
                    <a:pos x="connsiteX1153" y="connsiteY1153"/>
                  </a:cxn>
                  <a:cxn ang="0">
                    <a:pos x="connsiteX1154" y="connsiteY1154"/>
                  </a:cxn>
                  <a:cxn ang="0">
                    <a:pos x="connsiteX1155" y="connsiteY1155"/>
                  </a:cxn>
                  <a:cxn ang="0">
                    <a:pos x="connsiteX1156" y="connsiteY1156"/>
                  </a:cxn>
                  <a:cxn ang="0">
                    <a:pos x="connsiteX1157" y="connsiteY1157"/>
                  </a:cxn>
                  <a:cxn ang="0">
                    <a:pos x="connsiteX1158" y="connsiteY1158"/>
                  </a:cxn>
                  <a:cxn ang="0">
                    <a:pos x="connsiteX1159" y="connsiteY1159"/>
                  </a:cxn>
                  <a:cxn ang="0">
                    <a:pos x="connsiteX1160" y="connsiteY1160"/>
                  </a:cxn>
                  <a:cxn ang="0">
                    <a:pos x="connsiteX1161" y="connsiteY1161"/>
                  </a:cxn>
                  <a:cxn ang="0">
                    <a:pos x="connsiteX1162" y="connsiteY1162"/>
                  </a:cxn>
                  <a:cxn ang="0">
                    <a:pos x="connsiteX1163" y="connsiteY1163"/>
                  </a:cxn>
                  <a:cxn ang="0">
                    <a:pos x="connsiteX1164" y="connsiteY1164"/>
                  </a:cxn>
                  <a:cxn ang="0">
                    <a:pos x="connsiteX1165" y="connsiteY1165"/>
                  </a:cxn>
                  <a:cxn ang="0">
                    <a:pos x="connsiteX1166" y="connsiteY1166"/>
                  </a:cxn>
                  <a:cxn ang="0">
                    <a:pos x="connsiteX1167" y="connsiteY1167"/>
                  </a:cxn>
                  <a:cxn ang="0">
                    <a:pos x="connsiteX1168" y="connsiteY1168"/>
                  </a:cxn>
                  <a:cxn ang="0">
                    <a:pos x="connsiteX1169" y="connsiteY1169"/>
                  </a:cxn>
                  <a:cxn ang="0">
                    <a:pos x="connsiteX1170" y="connsiteY1170"/>
                  </a:cxn>
                  <a:cxn ang="0">
                    <a:pos x="connsiteX1171" y="connsiteY1171"/>
                  </a:cxn>
                  <a:cxn ang="0">
                    <a:pos x="connsiteX1172" y="connsiteY1172"/>
                  </a:cxn>
                  <a:cxn ang="0">
                    <a:pos x="connsiteX1173" y="connsiteY1173"/>
                  </a:cxn>
                  <a:cxn ang="0">
                    <a:pos x="connsiteX1174" y="connsiteY1174"/>
                  </a:cxn>
                  <a:cxn ang="0">
                    <a:pos x="connsiteX1175" y="connsiteY1175"/>
                  </a:cxn>
                  <a:cxn ang="0">
                    <a:pos x="connsiteX1176" y="connsiteY1176"/>
                  </a:cxn>
                  <a:cxn ang="0">
                    <a:pos x="connsiteX1177" y="connsiteY1177"/>
                  </a:cxn>
                  <a:cxn ang="0">
                    <a:pos x="connsiteX1178" y="connsiteY1178"/>
                  </a:cxn>
                  <a:cxn ang="0">
                    <a:pos x="connsiteX1179" y="connsiteY1179"/>
                  </a:cxn>
                  <a:cxn ang="0">
                    <a:pos x="connsiteX1180" y="connsiteY1180"/>
                  </a:cxn>
                  <a:cxn ang="0">
                    <a:pos x="connsiteX1181" y="connsiteY1181"/>
                  </a:cxn>
                  <a:cxn ang="0">
                    <a:pos x="connsiteX1182" y="connsiteY1182"/>
                  </a:cxn>
                  <a:cxn ang="0">
                    <a:pos x="connsiteX1183" y="connsiteY1183"/>
                  </a:cxn>
                  <a:cxn ang="0">
                    <a:pos x="connsiteX1184" y="connsiteY1184"/>
                  </a:cxn>
                  <a:cxn ang="0">
                    <a:pos x="connsiteX1185" y="connsiteY1185"/>
                  </a:cxn>
                  <a:cxn ang="0">
                    <a:pos x="connsiteX1186" y="connsiteY1186"/>
                  </a:cxn>
                  <a:cxn ang="0">
                    <a:pos x="connsiteX1187" y="connsiteY1187"/>
                  </a:cxn>
                  <a:cxn ang="0">
                    <a:pos x="connsiteX1188" y="connsiteY1188"/>
                  </a:cxn>
                  <a:cxn ang="0">
                    <a:pos x="connsiteX1189" y="connsiteY1189"/>
                  </a:cxn>
                  <a:cxn ang="0">
                    <a:pos x="connsiteX1190" y="connsiteY1190"/>
                  </a:cxn>
                  <a:cxn ang="0">
                    <a:pos x="connsiteX1191" y="connsiteY1191"/>
                  </a:cxn>
                  <a:cxn ang="0">
                    <a:pos x="connsiteX1192" y="connsiteY1192"/>
                  </a:cxn>
                  <a:cxn ang="0">
                    <a:pos x="connsiteX1193" y="connsiteY1193"/>
                  </a:cxn>
                  <a:cxn ang="0">
                    <a:pos x="connsiteX1194" y="connsiteY1194"/>
                  </a:cxn>
                  <a:cxn ang="0">
                    <a:pos x="connsiteX1195" y="connsiteY1195"/>
                  </a:cxn>
                  <a:cxn ang="0">
                    <a:pos x="connsiteX1196" y="connsiteY1196"/>
                  </a:cxn>
                  <a:cxn ang="0">
                    <a:pos x="connsiteX1197" y="connsiteY1197"/>
                  </a:cxn>
                  <a:cxn ang="0">
                    <a:pos x="connsiteX1198" y="connsiteY1198"/>
                  </a:cxn>
                  <a:cxn ang="0">
                    <a:pos x="connsiteX1199" y="connsiteY1199"/>
                  </a:cxn>
                  <a:cxn ang="0">
                    <a:pos x="connsiteX1200" y="connsiteY1200"/>
                  </a:cxn>
                  <a:cxn ang="0">
                    <a:pos x="connsiteX1201" y="connsiteY1201"/>
                  </a:cxn>
                  <a:cxn ang="0">
                    <a:pos x="connsiteX1202" y="connsiteY1202"/>
                  </a:cxn>
                  <a:cxn ang="0">
                    <a:pos x="connsiteX1203" y="connsiteY1203"/>
                  </a:cxn>
                  <a:cxn ang="0">
                    <a:pos x="connsiteX1204" y="connsiteY1204"/>
                  </a:cxn>
                  <a:cxn ang="0">
                    <a:pos x="connsiteX1205" y="connsiteY1205"/>
                  </a:cxn>
                  <a:cxn ang="0">
                    <a:pos x="connsiteX1206" y="connsiteY1206"/>
                  </a:cxn>
                  <a:cxn ang="0">
                    <a:pos x="connsiteX1207" y="connsiteY1207"/>
                  </a:cxn>
                  <a:cxn ang="0">
                    <a:pos x="connsiteX1208" y="connsiteY1208"/>
                  </a:cxn>
                  <a:cxn ang="0">
                    <a:pos x="connsiteX1209" y="connsiteY1209"/>
                  </a:cxn>
                  <a:cxn ang="0">
                    <a:pos x="connsiteX1210" y="connsiteY1210"/>
                  </a:cxn>
                  <a:cxn ang="0">
                    <a:pos x="connsiteX1211" y="connsiteY1211"/>
                  </a:cxn>
                  <a:cxn ang="0">
                    <a:pos x="connsiteX1212" y="connsiteY1212"/>
                  </a:cxn>
                  <a:cxn ang="0">
                    <a:pos x="connsiteX1213" y="connsiteY1213"/>
                  </a:cxn>
                  <a:cxn ang="0">
                    <a:pos x="connsiteX1214" y="connsiteY1214"/>
                  </a:cxn>
                  <a:cxn ang="0">
                    <a:pos x="connsiteX1215" y="connsiteY1215"/>
                  </a:cxn>
                  <a:cxn ang="0">
                    <a:pos x="connsiteX1216" y="connsiteY1216"/>
                  </a:cxn>
                  <a:cxn ang="0">
                    <a:pos x="connsiteX1217" y="connsiteY1217"/>
                  </a:cxn>
                  <a:cxn ang="0">
                    <a:pos x="connsiteX1218" y="connsiteY1218"/>
                  </a:cxn>
                  <a:cxn ang="0">
                    <a:pos x="connsiteX1219" y="connsiteY1219"/>
                  </a:cxn>
                  <a:cxn ang="0">
                    <a:pos x="connsiteX1220" y="connsiteY1220"/>
                  </a:cxn>
                  <a:cxn ang="0">
                    <a:pos x="connsiteX1221" y="connsiteY1221"/>
                  </a:cxn>
                  <a:cxn ang="0">
                    <a:pos x="connsiteX1222" y="connsiteY1222"/>
                  </a:cxn>
                  <a:cxn ang="0">
                    <a:pos x="connsiteX1223" y="connsiteY1223"/>
                  </a:cxn>
                </a:cxnLst>
                <a:rect l="l" t="t" r="r" b="b"/>
                <a:pathLst>
                  <a:path w="12084394" h="4077840">
                    <a:moveTo>
                      <a:pt x="11929965" y="3958074"/>
                    </a:moveTo>
                    <a:cubicBezTo>
                      <a:pt x="11997563" y="3958074"/>
                      <a:pt x="12055562" y="3999174"/>
                      <a:pt x="12080337" y="4057748"/>
                    </a:cubicBezTo>
                    <a:lnTo>
                      <a:pt x="12084394" y="4077840"/>
                    </a:lnTo>
                    <a:lnTo>
                      <a:pt x="11775537" y="4077840"/>
                    </a:lnTo>
                    <a:lnTo>
                      <a:pt x="11779594" y="4057748"/>
                    </a:lnTo>
                    <a:cubicBezTo>
                      <a:pt x="11804369" y="3999174"/>
                      <a:pt x="11862367" y="3958074"/>
                      <a:pt x="11929965" y="3958074"/>
                    </a:cubicBezTo>
                    <a:close/>
                    <a:moveTo>
                      <a:pt x="11417899" y="3958074"/>
                    </a:moveTo>
                    <a:cubicBezTo>
                      <a:pt x="11485497" y="3958074"/>
                      <a:pt x="11543496" y="3999174"/>
                      <a:pt x="11568271" y="4057748"/>
                    </a:cubicBezTo>
                    <a:lnTo>
                      <a:pt x="11572328" y="4077840"/>
                    </a:lnTo>
                    <a:lnTo>
                      <a:pt x="11263471" y="4077840"/>
                    </a:lnTo>
                    <a:lnTo>
                      <a:pt x="11267528" y="4057748"/>
                    </a:lnTo>
                    <a:cubicBezTo>
                      <a:pt x="11292303" y="3999174"/>
                      <a:pt x="11350302" y="3958074"/>
                      <a:pt x="11417899" y="3958074"/>
                    </a:cubicBezTo>
                    <a:close/>
                    <a:moveTo>
                      <a:pt x="10906022" y="3958074"/>
                    </a:moveTo>
                    <a:cubicBezTo>
                      <a:pt x="10973620" y="3958074"/>
                      <a:pt x="11031619" y="3999174"/>
                      <a:pt x="11056393" y="4057748"/>
                    </a:cubicBezTo>
                    <a:lnTo>
                      <a:pt x="11060450" y="4077840"/>
                    </a:lnTo>
                    <a:lnTo>
                      <a:pt x="10751593" y="4077840"/>
                    </a:lnTo>
                    <a:lnTo>
                      <a:pt x="10755650" y="4057748"/>
                    </a:lnTo>
                    <a:cubicBezTo>
                      <a:pt x="10780425" y="3999174"/>
                      <a:pt x="10838424" y="3958074"/>
                      <a:pt x="10906022" y="3958074"/>
                    </a:cubicBezTo>
                    <a:close/>
                    <a:moveTo>
                      <a:pt x="10393956" y="3958074"/>
                    </a:moveTo>
                    <a:cubicBezTo>
                      <a:pt x="10461554" y="3958074"/>
                      <a:pt x="10519553" y="3999174"/>
                      <a:pt x="10544328" y="4057748"/>
                    </a:cubicBezTo>
                    <a:lnTo>
                      <a:pt x="10548385" y="4077840"/>
                    </a:lnTo>
                    <a:lnTo>
                      <a:pt x="10239527" y="4077840"/>
                    </a:lnTo>
                    <a:lnTo>
                      <a:pt x="10243584" y="4057748"/>
                    </a:lnTo>
                    <a:cubicBezTo>
                      <a:pt x="10268359" y="3999174"/>
                      <a:pt x="10326358" y="3958074"/>
                      <a:pt x="10393956" y="3958074"/>
                    </a:cubicBezTo>
                    <a:close/>
                    <a:moveTo>
                      <a:pt x="9882079" y="3958074"/>
                    </a:moveTo>
                    <a:cubicBezTo>
                      <a:pt x="9949677" y="3958074"/>
                      <a:pt x="10007676" y="3999174"/>
                      <a:pt x="10032451" y="4057748"/>
                    </a:cubicBezTo>
                    <a:lnTo>
                      <a:pt x="10036508" y="4077840"/>
                    </a:lnTo>
                    <a:lnTo>
                      <a:pt x="9727651" y="4077840"/>
                    </a:lnTo>
                    <a:lnTo>
                      <a:pt x="9731708" y="4057748"/>
                    </a:lnTo>
                    <a:cubicBezTo>
                      <a:pt x="9756482" y="3999174"/>
                      <a:pt x="9814482" y="3958074"/>
                      <a:pt x="9882079" y="3958074"/>
                    </a:cubicBezTo>
                    <a:close/>
                    <a:moveTo>
                      <a:pt x="9370013" y="3958074"/>
                    </a:moveTo>
                    <a:cubicBezTo>
                      <a:pt x="9437610" y="3958074"/>
                      <a:pt x="9495610" y="3999174"/>
                      <a:pt x="9520384" y="4057748"/>
                    </a:cubicBezTo>
                    <a:lnTo>
                      <a:pt x="9524441" y="4077840"/>
                    </a:lnTo>
                    <a:lnTo>
                      <a:pt x="9215584" y="4077840"/>
                    </a:lnTo>
                    <a:lnTo>
                      <a:pt x="9219641" y="4057748"/>
                    </a:lnTo>
                    <a:cubicBezTo>
                      <a:pt x="9244415" y="3999174"/>
                      <a:pt x="9302414" y="3958074"/>
                      <a:pt x="9370013" y="3958074"/>
                    </a:cubicBezTo>
                    <a:close/>
                    <a:moveTo>
                      <a:pt x="8858136" y="3958074"/>
                    </a:moveTo>
                    <a:cubicBezTo>
                      <a:pt x="8925734" y="3958074"/>
                      <a:pt x="8983733" y="3999174"/>
                      <a:pt x="9008508" y="4057748"/>
                    </a:cubicBezTo>
                    <a:lnTo>
                      <a:pt x="9012565" y="4077840"/>
                    </a:lnTo>
                    <a:lnTo>
                      <a:pt x="8703708" y="4077840"/>
                    </a:lnTo>
                    <a:lnTo>
                      <a:pt x="8707765" y="4057748"/>
                    </a:lnTo>
                    <a:cubicBezTo>
                      <a:pt x="8732539" y="3999174"/>
                      <a:pt x="8790538" y="3958074"/>
                      <a:pt x="8858136" y="3958074"/>
                    </a:cubicBezTo>
                    <a:close/>
                    <a:moveTo>
                      <a:pt x="8346070" y="3958074"/>
                    </a:moveTo>
                    <a:cubicBezTo>
                      <a:pt x="8413668" y="3958074"/>
                      <a:pt x="8471666" y="3999174"/>
                      <a:pt x="8496441" y="4057748"/>
                    </a:cubicBezTo>
                    <a:lnTo>
                      <a:pt x="8500498" y="4077840"/>
                    </a:lnTo>
                    <a:lnTo>
                      <a:pt x="8191642" y="4077840"/>
                    </a:lnTo>
                    <a:lnTo>
                      <a:pt x="8195698" y="4057748"/>
                    </a:lnTo>
                    <a:cubicBezTo>
                      <a:pt x="8220473" y="3999174"/>
                      <a:pt x="8278472" y="3958074"/>
                      <a:pt x="8346070" y="3958074"/>
                    </a:cubicBezTo>
                    <a:close/>
                    <a:moveTo>
                      <a:pt x="7834193" y="3958074"/>
                    </a:moveTo>
                    <a:cubicBezTo>
                      <a:pt x="7901792" y="3958074"/>
                      <a:pt x="7959791" y="3999174"/>
                      <a:pt x="7984565" y="4057748"/>
                    </a:cubicBezTo>
                    <a:lnTo>
                      <a:pt x="7988622" y="4077840"/>
                    </a:lnTo>
                    <a:lnTo>
                      <a:pt x="7679765" y="4077840"/>
                    </a:lnTo>
                    <a:lnTo>
                      <a:pt x="7683822" y="4057748"/>
                    </a:lnTo>
                    <a:cubicBezTo>
                      <a:pt x="7708596" y="3999174"/>
                      <a:pt x="7766595" y="3958074"/>
                      <a:pt x="7834193" y="3958074"/>
                    </a:cubicBezTo>
                    <a:close/>
                    <a:moveTo>
                      <a:pt x="7322127" y="3958074"/>
                    </a:moveTo>
                    <a:cubicBezTo>
                      <a:pt x="7389725" y="3958074"/>
                      <a:pt x="7447724" y="3999174"/>
                      <a:pt x="7472498" y="4057748"/>
                    </a:cubicBezTo>
                    <a:lnTo>
                      <a:pt x="7476555" y="4077840"/>
                    </a:lnTo>
                    <a:lnTo>
                      <a:pt x="7167699" y="4077840"/>
                    </a:lnTo>
                    <a:lnTo>
                      <a:pt x="7171755" y="4057748"/>
                    </a:lnTo>
                    <a:cubicBezTo>
                      <a:pt x="7196530" y="3999174"/>
                      <a:pt x="7254529" y="3958074"/>
                      <a:pt x="7322127" y="3958074"/>
                    </a:cubicBezTo>
                    <a:close/>
                    <a:moveTo>
                      <a:pt x="6810062" y="3958074"/>
                    </a:moveTo>
                    <a:cubicBezTo>
                      <a:pt x="6877661" y="3958074"/>
                      <a:pt x="6935660" y="3999174"/>
                      <a:pt x="6960434" y="4057748"/>
                    </a:cubicBezTo>
                    <a:lnTo>
                      <a:pt x="6964491" y="4077840"/>
                    </a:lnTo>
                    <a:lnTo>
                      <a:pt x="6655635" y="4077840"/>
                    </a:lnTo>
                    <a:lnTo>
                      <a:pt x="6659691" y="4057748"/>
                    </a:lnTo>
                    <a:cubicBezTo>
                      <a:pt x="6684466" y="3999174"/>
                      <a:pt x="6742464" y="3958074"/>
                      <a:pt x="6810062" y="3958074"/>
                    </a:cubicBezTo>
                    <a:close/>
                    <a:moveTo>
                      <a:pt x="6298184" y="3958074"/>
                    </a:moveTo>
                    <a:cubicBezTo>
                      <a:pt x="6365783" y="3958074"/>
                      <a:pt x="6423782" y="3999174"/>
                      <a:pt x="6448557" y="4057748"/>
                    </a:cubicBezTo>
                    <a:lnTo>
                      <a:pt x="6452613" y="4077840"/>
                    </a:lnTo>
                    <a:lnTo>
                      <a:pt x="6143757" y="4077840"/>
                    </a:lnTo>
                    <a:lnTo>
                      <a:pt x="6147813" y="4057748"/>
                    </a:lnTo>
                    <a:cubicBezTo>
                      <a:pt x="6172588" y="3999174"/>
                      <a:pt x="6230586" y="3958074"/>
                      <a:pt x="6298184" y="3958074"/>
                    </a:cubicBezTo>
                    <a:close/>
                    <a:moveTo>
                      <a:pt x="5786126" y="3958074"/>
                    </a:moveTo>
                    <a:cubicBezTo>
                      <a:pt x="5853721" y="3958074"/>
                      <a:pt x="5911718" y="3999174"/>
                      <a:pt x="5936491" y="4057748"/>
                    </a:cubicBezTo>
                    <a:lnTo>
                      <a:pt x="5940548" y="4077840"/>
                    </a:lnTo>
                    <a:lnTo>
                      <a:pt x="5631705" y="4077840"/>
                    </a:lnTo>
                    <a:lnTo>
                      <a:pt x="5635761" y="4057748"/>
                    </a:lnTo>
                    <a:cubicBezTo>
                      <a:pt x="5660535" y="3999174"/>
                      <a:pt x="5718532" y="3958074"/>
                      <a:pt x="5786126" y="3958074"/>
                    </a:cubicBezTo>
                    <a:close/>
                    <a:moveTo>
                      <a:pt x="5274270" y="3958074"/>
                    </a:moveTo>
                    <a:cubicBezTo>
                      <a:pt x="5341866" y="3958074"/>
                      <a:pt x="5399863" y="3999174"/>
                      <a:pt x="5424637" y="4057748"/>
                    </a:cubicBezTo>
                    <a:lnTo>
                      <a:pt x="5428693" y="4077840"/>
                    </a:lnTo>
                    <a:lnTo>
                      <a:pt x="5119842" y="4077840"/>
                    </a:lnTo>
                    <a:lnTo>
                      <a:pt x="5123898" y="4057748"/>
                    </a:lnTo>
                    <a:cubicBezTo>
                      <a:pt x="5148673" y="3999174"/>
                      <a:pt x="5206672" y="3958074"/>
                      <a:pt x="5274270" y="3958074"/>
                    </a:cubicBezTo>
                    <a:close/>
                    <a:moveTo>
                      <a:pt x="4762180" y="3958074"/>
                    </a:moveTo>
                    <a:cubicBezTo>
                      <a:pt x="4829804" y="3958074"/>
                      <a:pt x="4887811" y="3999174"/>
                      <a:pt x="4912588" y="4057748"/>
                    </a:cubicBezTo>
                    <a:lnTo>
                      <a:pt x="4916645" y="4077840"/>
                    </a:lnTo>
                    <a:lnTo>
                      <a:pt x="4607771" y="4077840"/>
                    </a:lnTo>
                    <a:lnTo>
                      <a:pt x="4611827" y="4057748"/>
                    </a:lnTo>
                    <a:cubicBezTo>
                      <a:pt x="4636599" y="3999174"/>
                      <a:pt x="4694593" y="3958074"/>
                      <a:pt x="4762180" y="3958074"/>
                    </a:cubicBezTo>
                    <a:close/>
                    <a:moveTo>
                      <a:pt x="4250316" y="3958074"/>
                    </a:moveTo>
                    <a:cubicBezTo>
                      <a:pt x="4317919" y="3958074"/>
                      <a:pt x="4375920" y="3999174"/>
                      <a:pt x="4400696" y="4057748"/>
                    </a:cubicBezTo>
                    <a:lnTo>
                      <a:pt x="4404753" y="4077840"/>
                    </a:lnTo>
                    <a:lnTo>
                      <a:pt x="4095930" y="4077840"/>
                    </a:lnTo>
                    <a:lnTo>
                      <a:pt x="4099984" y="4057748"/>
                    </a:lnTo>
                    <a:cubicBezTo>
                      <a:pt x="4124744" y="3999174"/>
                      <a:pt x="4182715" y="3958074"/>
                      <a:pt x="4250316" y="3958074"/>
                    </a:cubicBezTo>
                    <a:close/>
                    <a:moveTo>
                      <a:pt x="3738289" y="3958074"/>
                    </a:moveTo>
                    <a:cubicBezTo>
                      <a:pt x="3805888" y="3958074"/>
                      <a:pt x="3863888" y="3999174"/>
                      <a:pt x="3888663" y="4057748"/>
                    </a:cubicBezTo>
                    <a:lnTo>
                      <a:pt x="3892720" y="4077840"/>
                    </a:lnTo>
                    <a:lnTo>
                      <a:pt x="3583860" y="4077840"/>
                    </a:lnTo>
                    <a:lnTo>
                      <a:pt x="3587916" y="4057748"/>
                    </a:lnTo>
                    <a:cubicBezTo>
                      <a:pt x="3612688" y="3999174"/>
                      <a:pt x="3670683" y="3958074"/>
                      <a:pt x="3738289" y="3958074"/>
                    </a:cubicBezTo>
                    <a:close/>
                    <a:moveTo>
                      <a:pt x="3226242" y="3958074"/>
                    </a:moveTo>
                    <a:cubicBezTo>
                      <a:pt x="3293846" y="3958074"/>
                      <a:pt x="3351848" y="3999174"/>
                      <a:pt x="3376624" y="4057748"/>
                    </a:cubicBezTo>
                    <a:lnTo>
                      <a:pt x="3380681" y="4077840"/>
                    </a:lnTo>
                    <a:lnTo>
                      <a:pt x="3071812" y="4077840"/>
                    </a:lnTo>
                    <a:lnTo>
                      <a:pt x="3075868" y="4057748"/>
                    </a:lnTo>
                    <a:cubicBezTo>
                      <a:pt x="3100643" y="3999174"/>
                      <a:pt x="3158643" y="3958074"/>
                      <a:pt x="3226242" y="3958074"/>
                    </a:cubicBezTo>
                    <a:close/>
                    <a:moveTo>
                      <a:pt x="2714363" y="3958074"/>
                    </a:moveTo>
                    <a:cubicBezTo>
                      <a:pt x="2781962" y="3958074"/>
                      <a:pt x="2839961" y="3999174"/>
                      <a:pt x="2864736" y="4057748"/>
                    </a:cubicBezTo>
                    <a:lnTo>
                      <a:pt x="2868792" y="4077840"/>
                    </a:lnTo>
                    <a:lnTo>
                      <a:pt x="2559936" y="4077840"/>
                    </a:lnTo>
                    <a:lnTo>
                      <a:pt x="2563993" y="4057748"/>
                    </a:lnTo>
                    <a:cubicBezTo>
                      <a:pt x="2588767" y="3999174"/>
                      <a:pt x="2646765" y="3958074"/>
                      <a:pt x="2714363" y="3958074"/>
                    </a:cubicBezTo>
                    <a:close/>
                    <a:moveTo>
                      <a:pt x="2202307" y="3958074"/>
                    </a:moveTo>
                    <a:cubicBezTo>
                      <a:pt x="2269904" y="3958074"/>
                      <a:pt x="2327902" y="3999174"/>
                      <a:pt x="2352676" y="4057748"/>
                    </a:cubicBezTo>
                    <a:lnTo>
                      <a:pt x="2356732" y="4077840"/>
                    </a:lnTo>
                    <a:lnTo>
                      <a:pt x="2047866" y="4077840"/>
                    </a:lnTo>
                    <a:lnTo>
                      <a:pt x="2051924" y="4057748"/>
                    </a:lnTo>
                    <a:cubicBezTo>
                      <a:pt x="2076703" y="3999174"/>
                      <a:pt x="2134711" y="3958074"/>
                      <a:pt x="2202307" y="3958074"/>
                    </a:cubicBezTo>
                    <a:close/>
                    <a:moveTo>
                      <a:pt x="1690413" y="3958074"/>
                    </a:moveTo>
                    <a:cubicBezTo>
                      <a:pt x="1758012" y="3958074"/>
                      <a:pt x="1816010" y="3999174"/>
                      <a:pt x="1840785" y="4057748"/>
                    </a:cubicBezTo>
                    <a:lnTo>
                      <a:pt x="1844841" y="4077840"/>
                    </a:lnTo>
                    <a:lnTo>
                      <a:pt x="1535987" y="4077840"/>
                    </a:lnTo>
                    <a:lnTo>
                      <a:pt x="1540043" y="4057748"/>
                    </a:lnTo>
                    <a:cubicBezTo>
                      <a:pt x="1564818" y="3999174"/>
                      <a:pt x="1622817" y="3958074"/>
                      <a:pt x="1690413" y="3958074"/>
                    </a:cubicBezTo>
                    <a:close/>
                    <a:moveTo>
                      <a:pt x="1178354" y="3958074"/>
                    </a:moveTo>
                    <a:cubicBezTo>
                      <a:pt x="1245952" y="3958074"/>
                      <a:pt x="1303950" y="3999174"/>
                      <a:pt x="1328724" y="4057748"/>
                    </a:cubicBezTo>
                    <a:lnTo>
                      <a:pt x="1332781" y="4077840"/>
                    </a:lnTo>
                    <a:lnTo>
                      <a:pt x="1023928" y="4077840"/>
                    </a:lnTo>
                    <a:lnTo>
                      <a:pt x="1027984" y="4057748"/>
                    </a:lnTo>
                    <a:cubicBezTo>
                      <a:pt x="1052759" y="3999174"/>
                      <a:pt x="1110758" y="3958074"/>
                      <a:pt x="1178354" y="3958074"/>
                    </a:cubicBezTo>
                    <a:close/>
                    <a:moveTo>
                      <a:pt x="666484" y="3958074"/>
                    </a:moveTo>
                    <a:cubicBezTo>
                      <a:pt x="734082" y="3958074"/>
                      <a:pt x="792080" y="3999174"/>
                      <a:pt x="816855" y="4057748"/>
                    </a:cubicBezTo>
                    <a:lnTo>
                      <a:pt x="820911" y="4077840"/>
                    </a:lnTo>
                    <a:lnTo>
                      <a:pt x="512057" y="4077840"/>
                    </a:lnTo>
                    <a:lnTo>
                      <a:pt x="516114" y="4057748"/>
                    </a:lnTo>
                    <a:cubicBezTo>
                      <a:pt x="540888" y="3999174"/>
                      <a:pt x="598887" y="3958074"/>
                      <a:pt x="666484" y="3958074"/>
                    </a:cubicBezTo>
                    <a:close/>
                    <a:moveTo>
                      <a:pt x="154426" y="3958074"/>
                    </a:moveTo>
                    <a:cubicBezTo>
                      <a:pt x="222024" y="3958074"/>
                      <a:pt x="280023" y="3999174"/>
                      <a:pt x="304797" y="4057748"/>
                    </a:cubicBezTo>
                    <a:lnTo>
                      <a:pt x="308853" y="4077840"/>
                    </a:lnTo>
                    <a:lnTo>
                      <a:pt x="0" y="4077840"/>
                    </a:lnTo>
                    <a:lnTo>
                      <a:pt x="4057" y="4057748"/>
                    </a:lnTo>
                    <a:cubicBezTo>
                      <a:pt x="28831" y="3999174"/>
                      <a:pt x="86829" y="3958074"/>
                      <a:pt x="154426" y="3958074"/>
                    </a:cubicBezTo>
                    <a:close/>
                    <a:moveTo>
                      <a:pt x="11929966" y="3518352"/>
                    </a:moveTo>
                    <a:cubicBezTo>
                      <a:pt x="12012273" y="3518352"/>
                      <a:pt x="12078996" y="3585074"/>
                      <a:pt x="12078996" y="3667382"/>
                    </a:cubicBezTo>
                    <a:cubicBezTo>
                      <a:pt x="12078996" y="3749688"/>
                      <a:pt x="12012273" y="3816412"/>
                      <a:pt x="11929966" y="3816412"/>
                    </a:cubicBezTo>
                    <a:cubicBezTo>
                      <a:pt x="11847659" y="3816412"/>
                      <a:pt x="11780936" y="3749689"/>
                      <a:pt x="11780936" y="3667382"/>
                    </a:cubicBezTo>
                    <a:cubicBezTo>
                      <a:pt x="11780936" y="3585075"/>
                      <a:pt x="11847659" y="3518352"/>
                      <a:pt x="11929966" y="3518352"/>
                    </a:cubicBezTo>
                    <a:close/>
                    <a:moveTo>
                      <a:pt x="11417900" y="3518352"/>
                    </a:moveTo>
                    <a:cubicBezTo>
                      <a:pt x="11500207" y="3518352"/>
                      <a:pt x="11566930" y="3585074"/>
                      <a:pt x="11566930" y="3667382"/>
                    </a:cubicBezTo>
                    <a:cubicBezTo>
                      <a:pt x="11566930" y="3749688"/>
                      <a:pt x="11500207" y="3816412"/>
                      <a:pt x="11417900" y="3816412"/>
                    </a:cubicBezTo>
                    <a:cubicBezTo>
                      <a:pt x="11335593" y="3816412"/>
                      <a:pt x="11268870" y="3749689"/>
                      <a:pt x="11268870" y="3667382"/>
                    </a:cubicBezTo>
                    <a:cubicBezTo>
                      <a:pt x="11268870" y="3585075"/>
                      <a:pt x="11335593" y="3518352"/>
                      <a:pt x="11417900" y="3518352"/>
                    </a:cubicBezTo>
                    <a:close/>
                    <a:moveTo>
                      <a:pt x="10906022" y="3518352"/>
                    </a:moveTo>
                    <a:cubicBezTo>
                      <a:pt x="10988330" y="3518352"/>
                      <a:pt x="11055053" y="3585074"/>
                      <a:pt x="11055053" y="3667382"/>
                    </a:cubicBezTo>
                    <a:cubicBezTo>
                      <a:pt x="11055053" y="3749688"/>
                      <a:pt x="10988330" y="3816412"/>
                      <a:pt x="10906022" y="3816412"/>
                    </a:cubicBezTo>
                    <a:cubicBezTo>
                      <a:pt x="10823715" y="3816412"/>
                      <a:pt x="10756992" y="3749689"/>
                      <a:pt x="10756992" y="3667382"/>
                    </a:cubicBezTo>
                    <a:cubicBezTo>
                      <a:pt x="10756992" y="3585075"/>
                      <a:pt x="10823715" y="3518352"/>
                      <a:pt x="10906022" y="3518352"/>
                    </a:cubicBezTo>
                    <a:close/>
                    <a:moveTo>
                      <a:pt x="10393957" y="3518352"/>
                    </a:moveTo>
                    <a:cubicBezTo>
                      <a:pt x="10476264" y="3518352"/>
                      <a:pt x="10542987" y="3585074"/>
                      <a:pt x="10542987" y="3667382"/>
                    </a:cubicBezTo>
                    <a:cubicBezTo>
                      <a:pt x="10542987" y="3749688"/>
                      <a:pt x="10476264" y="3816412"/>
                      <a:pt x="10393957" y="3816412"/>
                    </a:cubicBezTo>
                    <a:cubicBezTo>
                      <a:pt x="10311649" y="3816412"/>
                      <a:pt x="10244926" y="3749689"/>
                      <a:pt x="10244926" y="3667382"/>
                    </a:cubicBezTo>
                    <a:cubicBezTo>
                      <a:pt x="10244926" y="3585075"/>
                      <a:pt x="10311649" y="3518352"/>
                      <a:pt x="10393957" y="3518352"/>
                    </a:cubicBezTo>
                    <a:close/>
                    <a:moveTo>
                      <a:pt x="9882080" y="3518352"/>
                    </a:moveTo>
                    <a:cubicBezTo>
                      <a:pt x="9964387" y="3518352"/>
                      <a:pt x="10031110" y="3585074"/>
                      <a:pt x="10031110" y="3667382"/>
                    </a:cubicBezTo>
                    <a:cubicBezTo>
                      <a:pt x="10031110" y="3749688"/>
                      <a:pt x="9964387" y="3816412"/>
                      <a:pt x="9882080" y="3816412"/>
                    </a:cubicBezTo>
                    <a:cubicBezTo>
                      <a:pt x="9799773" y="3816412"/>
                      <a:pt x="9733050" y="3749689"/>
                      <a:pt x="9733050" y="3667382"/>
                    </a:cubicBezTo>
                    <a:cubicBezTo>
                      <a:pt x="9733050" y="3585075"/>
                      <a:pt x="9799773" y="3518352"/>
                      <a:pt x="9882080" y="3518352"/>
                    </a:cubicBezTo>
                    <a:close/>
                    <a:moveTo>
                      <a:pt x="9370013" y="3518352"/>
                    </a:moveTo>
                    <a:cubicBezTo>
                      <a:pt x="9452320" y="3518352"/>
                      <a:pt x="9519043" y="3585074"/>
                      <a:pt x="9519043" y="3667382"/>
                    </a:cubicBezTo>
                    <a:cubicBezTo>
                      <a:pt x="9519043" y="3749688"/>
                      <a:pt x="9452321" y="3816412"/>
                      <a:pt x="9370013" y="3816412"/>
                    </a:cubicBezTo>
                    <a:cubicBezTo>
                      <a:pt x="9287707" y="3816412"/>
                      <a:pt x="9220983" y="3749689"/>
                      <a:pt x="9220983" y="3667382"/>
                    </a:cubicBezTo>
                    <a:cubicBezTo>
                      <a:pt x="9220983" y="3585075"/>
                      <a:pt x="9287706" y="3518352"/>
                      <a:pt x="9370013" y="3518352"/>
                    </a:cubicBezTo>
                    <a:close/>
                    <a:moveTo>
                      <a:pt x="8858137" y="3518352"/>
                    </a:moveTo>
                    <a:cubicBezTo>
                      <a:pt x="8940443" y="3518352"/>
                      <a:pt x="9007167" y="3585074"/>
                      <a:pt x="9007167" y="3667382"/>
                    </a:cubicBezTo>
                    <a:cubicBezTo>
                      <a:pt x="9007167" y="3749688"/>
                      <a:pt x="8940444" y="3816412"/>
                      <a:pt x="8858137" y="3816412"/>
                    </a:cubicBezTo>
                    <a:cubicBezTo>
                      <a:pt x="8775830" y="3816412"/>
                      <a:pt x="8709107" y="3749689"/>
                      <a:pt x="8709107" y="3667382"/>
                    </a:cubicBezTo>
                    <a:cubicBezTo>
                      <a:pt x="8709107" y="3585075"/>
                      <a:pt x="8775829" y="3518352"/>
                      <a:pt x="8858137" y="3518352"/>
                    </a:cubicBezTo>
                    <a:close/>
                    <a:moveTo>
                      <a:pt x="8346070" y="3518352"/>
                    </a:moveTo>
                    <a:cubicBezTo>
                      <a:pt x="8428377" y="3518352"/>
                      <a:pt x="8495101" y="3585074"/>
                      <a:pt x="8495101" y="3667382"/>
                    </a:cubicBezTo>
                    <a:cubicBezTo>
                      <a:pt x="8495101" y="3749688"/>
                      <a:pt x="8428378" y="3816412"/>
                      <a:pt x="8346070" y="3816412"/>
                    </a:cubicBezTo>
                    <a:cubicBezTo>
                      <a:pt x="8263764" y="3816412"/>
                      <a:pt x="8197040" y="3749689"/>
                      <a:pt x="8197040" y="3667382"/>
                    </a:cubicBezTo>
                    <a:cubicBezTo>
                      <a:pt x="8197040" y="3585075"/>
                      <a:pt x="8263763" y="3518352"/>
                      <a:pt x="8346070" y="3518352"/>
                    </a:cubicBezTo>
                    <a:close/>
                    <a:moveTo>
                      <a:pt x="7834194" y="3518352"/>
                    </a:moveTo>
                    <a:cubicBezTo>
                      <a:pt x="7916501" y="3518352"/>
                      <a:pt x="7983224" y="3585074"/>
                      <a:pt x="7983224" y="3667382"/>
                    </a:cubicBezTo>
                    <a:cubicBezTo>
                      <a:pt x="7983224" y="3749688"/>
                      <a:pt x="7916501" y="3816412"/>
                      <a:pt x="7834194" y="3816412"/>
                    </a:cubicBezTo>
                    <a:cubicBezTo>
                      <a:pt x="7751887" y="3816412"/>
                      <a:pt x="7685164" y="3749689"/>
                      <a:pt x="7685164" y="3667382"/>
                    </a:cubicBezTo>
                    <a:cubicBezTo>
                      <a:pt x="7685164" y="3585075"/>
                      <a:pt x="7751887" y="3518352"/>
                      <a:pt x="7834194" y="3518352"/>
                    </a:cubicBezTo>
                    <a:close/>
                    <a:moveTo>
                      <a:pt x="7322128" y="3518352"/>
                    </a:moveTo>
                    <a:cubicBezTo>
                      <a:pt x="7404434" y="3518352"/>
                      <a:pt x="7471158" y="3585074"/>
                      <a:pt x="7471158" y="3667382"/>
                    </a:cubicBezTo>
                    <a:cubicBezTo>
                      <a:pt x="7471158" y="3749688"/>
                      <a:pt x="7404435" y="3816412"/>
                      <a:pt x="7322128" y="3816412"/>
                    </a:cubicBezTo>
                    <a:cubicBezTo>
                      <a:pt x="7239821" y="3816412"/>
                      <a:pt x="7173097" y="3749689"/>
                      <a:pt x="7173097" y="3667382"/>
                    </a:cubicBezTo>
                    <a:cubicBezTo>
                      <a:pt x="7173097" y="3585075"/>
                      <a:pt x="7239820" y="3518352"/>
                      <a:pt x="7322128" y="3518352"/>
                    </a:cubicBezTo>
                    <a:close/>
                    <a:moveTo>
                      <a:pt x="6810062" y="3518352"/>
                    </a:moveTo>
                    <a:cubicBezTo>
                      <a:pt x="6892369" y="3518352"/>
                      <a:pt x="6959092" y="3585074"/>
                      <a:pt x="6959092" y="3667382"/>
                    </a:cubicBezTo>
                    <a:cubicBezTo>
                      <a:pt x="6959092" y="3749688"/>
                      <a:pt x="6892369" y="3816412"/>
                      <a:pt x="6810062" y="3816412"/>
                    </a:cubicBezTo>
                    <a:cubicBezTo>
                      <a:pt x="6727755" y="3816412"/>
                      <a:pt x="6661032" y="3749689"/>
                      <a:pt x="6661032" y="3667382"/>
                    </a:cubicBezTo>
                    <a:cubicBezTo>
                      <a:pt x="6661032" y="3585075"/>
                      <a:pt x="6727755" y="3518352"/>
                      <a:pt x="6810062" y="3518352"/>
                    </a:cubicBezTo>
                    <a:close/>
                    <a:moveTo>
                      <a:pt x="6298186" y="3518352"/>
                    </a:moveTo>
                    <a:cubicBezTo>
                      <a:pt x="6380491" y="3518352"/>
                      <a:pt x="6447215" y="3585074"/>
                      <a:pt x="6447215" y="3667382"/>
                    </a:cubicBezTo>
                    <a:cubicBezTo>
                      <a:pt x="6447215" y="3749688"/>
                      <a:pt x="6380493" y="3816412"/>
                      <a:pt x="6298186" y="3816412"/>
                    </a:cubicBezTo>
                    <a:cubicBezTo>
                      <a:pt x="6215878" y="3816412"/>
                      <a:pt x="6149155" y="3749689"/>
                      <a:pt x="6149155" y="3667382"/>
                    </a:cubicBezTo>
                    <a:cubicBezTo>
                      <a:pt x="6149155" y="3585075"/>
                      <a:pt x="6215877" y="3518352"/>
                      <a:pt x="6298186" y="3518352"/>
                    </a:cubicBezTo>
                    <a:close/>
                    <a:moveTo>
                      <a:pt x="5786126" y="3518352"/>
                    </a:moveTo>
                    <a:cubicBezTo>
                      <a:pt x="5868430" y="3518352"/>
                      <a:pt x="5935149" y="3585074"/>
                      <a:pt x="5935149" y="3667382"/>
                    </a:cubicBezTo>
                    <a:cubicBezTo>
                      <a:pt x="5935149" y="3749688"/>
                      <a:pt x="5868430" y="3816412"/>
                      <a:pt x="5786126" y="3816412"/>
                    </a:cubicBezTo>
                    <a:cubicBezTo>
                      <a:pt x="5703824" y="3816412"/>
                      <a:pt x="5637102" y="3749689"/>
                      <a:pt x="5637102" y="3667382"/>
                    </a:cubicBezTo>
                    <a:cubicBezTo>
                      <a:pt x="5637102" y="3585075"/>
                      <a:pt x="5703823" y="3518352"/>
                      <a:pt x="5786126" y="3518352"/>
                    </a:cubicBezTo>
                    <a:close/>
                    <a:moveTo>
                      <a:pt x="5274270" y="3518352"/>
                    </a:moveTo>
                    <a:cubicBezTo>
                      <a:pt x="5356576" y="3518352"/>
                      <a:pt x="5423296" y="3585074"/>
                      <a:pt x="5423296" y="3667382"/>
                    </a:cubicBezTo>
                    <a:cubicBezTo>
                      <a:pt x="5423296" y="3749688"/>
                      <a:pt x="5356576" y="3816412"/>
                      <a:pt x="5274270" y="3816412"/>
                    </a:cubicBezTo>
                    <a:cubicBezTo>
                      <a:pt x="5191962" y="3816412"/>
                      <a:pt x="5125232" y="3749689"/>
                      <a:pt x="5125232" y="3667382"/>
                    </a:cubicBezTo>
                    <a:cubicBezTo>
                      <a:pt x="5125232" y="3585075"/>
                      <a:pt x="5191962" y="3518352"/>
                      <a:pt x="5274270" y="3518352"/>
                    </a:cubicBezTo>
                    <a:close/>
                    <a:moveTo>
                      <a:pt x="4762180" y="3518352"/>
                    </a:moveTo>
                    <a:cubicBezTo>
                      <a:pt x="4844514" y="3518352"/>
                      <a:pt x="4911249" y="3585074"/>
                      <a:pt x="4911249" y="3667382"/>
                    </a:cubicBezTo>
                    <a:cubicBezTo>
                      <a:pt x="4911249" y="3749688"/>
                      <a:pt x="4844516" y="3816412"/>
                      <a:pt x="4762180" y="3816412"/>
                    </a:cubicBezTo>
                    <a:cubicBezTo>
                      <a:pt x="4679887" y="3816412"/>
                      <a:pt x="4613169" y="3749689"/>
                      <a:pt x="4613169" y="3667382"/>
                    </a:cubicBezTo>
                    <a:cubicBezTo>
                      <a:pt x="4613169" y="3585075"/>
                      <a:pt x="4679887" y="3518352"/>
                      <a:pt x="4762180" y="3518352"/>
                    </a:cubicBezTo>
                    <a:close/>
                    <a:moveTo>
                      <a:pt x="4250316" y="3518352"/>
                    </a:moveTo>
                    <a:cubicBezTo>
                      <a:pt x="4332628" y="3518352"/>
                      <a:pt x="4399355" y="3585074"/>
                      <a:pt x="4399355" y="3667382"/>
                    </a:cubicBezTo>
                    <a:cubicBezTo>
                      <a:pt x="4399355" y="3749688"/>
                      <a:pt x="4332628" y="3816412"/>
                      <a:pt x="4250316" y="3816412"/>
                    </a:cubicBezTo>
                    <a:cubicBezTo>
                      <a:pt x="4168006" y="3816412"/>
                      <a:pt x="4101334" y="3749689"/>
                      <a:pt x="4101334" y="3667382"/>
                    </a:cubicBezTo>
                    <a:cubicBezTo>
                      <a:pt x="4101334" y="3585075"/>
                      <a:pt x="4168006" y="3518352"/>
                      <a:pt x="4250316" y="3518352"/>
                    </a:cubicBezTo>
                    <a:close/>
                    <a:moveTo>
                      <a:pt x="3738289" y="3518352"/>
                    </a:moveTo>
                    <a:cubicBezTo>
                      <a:pt x="3820593" y="3518352"/>
                      <a:pt x="3887320" y="3585074"/>
                      <a:pt x="3887320" y="3667382"/>
                    </a:cubicBezTo>
                    <a:cubicBezTo>
                      <a:pt x="3887320" y="3749688"/>
                      <a:pt x="3820593" y="3816412"/>
                      <a:pt x="3738289" y="3816412"/>
                    </a:cubicBezTo>
                    <a:cubicBezTo>
                      <a:pt x="3655972" y="3816412"/>
                      <a:pt x="3589256" y="3749689"/>
                      <a:pt x="3589256" y="3667382"/>
                    </a:cubicBezTo>
                    <a:cubicBezTo>
                      <a:pt x="3589256" y="3585075"/>
                      <a:pt x="3655972" y="3518352"/>
                      <a:pt x="3738289" y="3518352"/>
                    </a:cubicBezTo>
                    <a:close/>
                    <a:moveTo>
                      <a:pt x="3226242" y="3518352"/>
                    </a:moveTo>
                    <a:cubicBezTo>
                      <a:pt x="3308555" y="3518352"/>
                      <a:pt x="3375284" y="3585074"/>
                      <a:pt x="3375284" y="3667382"/>
                    </a:cubicBezTo>
                    <a:cubicBezTo>
                      <a:pt x="3375284" y="3749688"/>
                      <a:pt x="3308555" y="3816412"/>
                      <a:pt x="3226242" y="3816412"/>
                    </a:cubicBezTo>
                    <a:cubicBezTo>
                      <a:pt x="3143933" y="3816412"/>
                      <a:pt x="3077210" y="3749689"/>
                      <a:pt x="3077210" y="3667382"/>
                    </a:cubicBezTo>
                    <a:cubicBezTo>
                      <a:pt x="3077210" y="3585075"/>
                      <a:pt x="3143933" y="3518352"/>
                      <a:pt x="3226242" y="3518352"/>
                    </a:cubicBezTo>
                    <a:close/>
                    <a:moveTo>
                      <a:pt x="2714363" y="3518352"/>
                    </a:moveTo>
                    <a:cubicBezTo>
                      <a:pt x="2796672" y="3518352"/>
                      <a:pt x="2863399" y="3585074"/>
                      <a:pt x="2863399" y="3667382"/>
                    </a:cubicBezTo>
                    <a:cubicBezTo>
                      <a:pt x="2863399" y="3749688"/>
                      <a:pt x="2796672" y="3816412"/>
                      <a:pt x="2714363" y="3816412"/>
                    </a:cubicBezTo>
                    <a:cubicBezTo>
                      <a:pt x="2632054" y="3816412"/>
                      <a:pt x="2565335" y="3749689"/>
                      <a:pt x="2565335" y="3667382"/>
                    </a:cubicBezTo>
                    <a:cubicBezTo>
                      <a:pt x="2565335" y="3585075"/>
                      <a:pt x="2632054" y="3518352"/>
                      <a:pt x="2714363" y="3518352"/>
                    </a:cubicBezTo>
                    <a:close/>
                    <a:moveTo>
                      <a:pt x="2202307" y="3518352"/>
                    </a:moveTo>
                    <a:cubicBezTo>
                      <a:pt x="2284612" y="3518352"/>
                      <a:pt x="2351334" y="3585074"/>
                      <a:pt x="2351334" y="3667382"/>
                    </a:cubicBezTo>
                    <a:cubicBezTo>
                      <a:pt x="2351334" y="3749688"/>
                      <a:pt x="2284612" y="3816412"/>
                      <a:pt x="2202307" y="3816412"/>
                    </a:cubicBezTo>
                    <a:cubicBezTo>
                      <a:pt x="2120002" y="3816412"/>
                      <a:pt x="2053277" y="3749689"/>
                      <a:pt x="2053277" y="3667382"/>
                    </a:cubicBezTo>
                    <a:cubicBezTo>
                      <a:pt x="2053277" y="3585075"/>
                      <a:pt x="2120002" y="3518352"/>
                      <a:pt x="2202307" y="3518352"/>
                    </a:cubicBezTo>
                    <a:close/>
                    <a:moveTo>
                      <a:pt x="1690413" y="3518352"/>
                    </a:moveTo>
                    <a:cubicBezTo>
                      <a:pt x="1772720" y="3518352"/>
                      <a:pt x="1839443" y="3585074"/>
                      <a:pt x="1839443" y="3667382"/>
                    </a:cubicBezTo>
                    <a:cubicBezTo>
                      <a:pt x="1839443" y="3749688"/>
                      <a:pt x="1772720" y="3816412"/>
                      <a:pt x="1690413" y="3816412"/>
                    </a:cubicBezTo>
                    <a:cubicBezTo>
                      <a:pt x="1608107" y="3816412"/>
                      <a:pt x="1541384" y="3749689"/>
                      <a:pt x="1541384" y="3667382"/>
                    </a:cubicBezTo>
                    <a:cubicBezTo>
                      <a:pt x="1541384" y="3585075"/>
                      <a:pt x="1608107" y="3518352"/>
                      <a:pt x="1690413" y="3518352"/>
                    </a:cubicBezTo>
                    <a:close/>
                    <a:moveTo>
                      <a:pt x="1178354" y="3518352"/>
                    </a:moveTo>
                    <a:cubicBezTo>
                      <a:pt x="1260660" y="3518352"/>
                      <a:pt x="1327383" y="3585074"/>
                      <a:pt x="1327383" y="3667382"/>
                    </a:cubicBezTo>
                    <a:cubicBezTo>
                      <a:pt x="1327383" y="3749688"/>
                      <a:pt x="1260660" y="3816412"/>
                      <a:pt x="1178354" y="3816412"/>
                    </a:cubicBezTo>
                    <a:cubicBezTo>
                      <a:pt x="1096047" y="3816412"/>
                      <a:pt x="1029325" y="3749689"/>
                      <a:pt x="1029325" y="3667382"/>
                    </a:cubicBezTo>
                    <a:cubicBezTo>
                      <a:pt x="1029325" y="3585075"/>
                      <a:pt x="1096047" y="3518352"/>
                      <a:pt x="1178354" y="3518352"/>
                    </a:cubicBezTo>
                    <a:close/>
                    <a:moveTo>
                      <a:pt x="666484" y="3518352"/>
                    </a:moveTo>
                    <a:cubicBezTo>
                      <a:pt x="748790" y="3518352"/>
                      <a:pt x="815513" y="3585074"/>
                      <a:pt x="815513" y="3667382"/>
                    </a:cubicBezTo>
                    <a:cubicBezTo>
                      <a:pt x="815513" y="3749688"/>
                      <a:pt x="748790" y="3816412"/>
                      <a:pt x="666484" y="3816412"/>
                    </a:cubicBezTo>
                    <a:cubicBezTo>
                      <a:pt x="584178" y="3816412"/>
                      <a:pt x="517455" y="3749689"/>
                      <a:pt x="517455" y="3667382"/>
                    </a:cubicBezTo>
                    <a:cubicBezTo>
                      <a:pt x="517455" y="3585075"/>
                      <a:pt x="584178" y="3518352"/>
                      <a:pt x="666484" y="3518352"/>
                    </a:cubicBezTo>
                    <a:close/>
                    <a:moveTo>
                      <a:pt x="154426" y="3518352"/>
                    </a:moveTo>
                    <a:cubicBezTo>
                      <a:pt x="236733" y="3518352"/>
                      <a:pt x="303455" y="3585074"/>
                      <a:pt x="303455" y="3667382"/>
                    </a:cubicBezTo>
                    <a:cubicBezTo>
                      <a:pt x="303455" y="3749688"/>
                      <a:pt x="236733" y="3816412"/>
                      <a:pt x="154426" y="3816412"/>
                    </a:cubicBezTo>
                    <a:cubicBezTo>
                      <a:pt x="72120" y="3816412"/>
                      <a:pt x="5397" y="3749689"/>
                      <a:pt x="5397" y="3667382"/>
                    </a:cubicBezTo>
                    <a:cubicBezTo>
                      <a:pt x="5397" y="3585075"/>
                      <a:pt x="72120" y="3518352"/>
                      <a:pt x="154426" y="3518352"/>
                    </a:cubicBezTo>
                    <a:close/>
                    <a:moveTo>
                      <a:pt x="11929966" y="3078629"/>
                    </a:moveTo>
                    <a:cubicBezTo>
                      <a:pt x="12004345" y="3078629"/>
                      <a:pt x="12064640" y="3138925"/>
                      <a:pt x="12064640" y="3213304"/>
                    </a:cubicBezTo>
                    <a:cubicBezTo>
                      <a:pt x="12064640" y="3287683"/>
                      <a:pt x="12004345" y="3347979"/>
                      <a:pt x="11929966" y="3347979"/>
                    </a:cubicBezTo>
                    <a:cubicBezTo>
                      <a:pt x="11855587" y="3347979"/>
                      <a:pt x="11795291" y="3287683"/>
                      <a:pt x="11795291" y="3213304"/>
                    </a:cubicBezTo>
                    <a:cubicBezTo>
                      <a:pt x="11795291" y="3138925"/>
                      <a:pt x="11855587" y="3078629"/>
                      <a:pt x="11929966" y="3078629"/>
                    </a:cubicBezTo>
                    <a:close/>
                    <a:moveTo>
                      <a:pt x="11417900" y="3078629"/>
                    </a:moveTo>
                    <a:cubicBezTo>
                      <a:pt x="11492279" y="3078629"/>
                      <a:pt x="11552575" y="3138925"/>
                      <a:pt x="11552575" y="3213304"/>
                    </a:cubicBezTo>
                    <a:cubicBezTo>
                      <a:pt x="11552575" y="3287683"/>
                      <a:pt x="11492279" y="3347979"/>
                      <a:pt x="11417900" y="3347979"/>
                    </a:cubicBezTo>
                    <a:cubicBezTo>
                      <a:pt x="11343521" y="3347979"/>
                      <a:pt x="11283225" y="3287683"/>
                      <a:pt x="11283225" y="3213304"/>
                    </a:cubicBezTo>
                    <a:cubicBezTo>
                      <a:pt x="11283225" y="3138925"/>
                      <a:pt x="11343521" y="3078629"/>
                      <a:pt x="11417900" y="3078629"/>
                    </a:cubicBezTo>
                    <a:close/>
                    <a:moveTo>
                      <a:pt x="10906022" y="3078629"/>
                    </a:moveTo>
                    <a:cubicBezTo>
                      <a:pt x="10980401" y="3078629"/>
                      <a:pt x="11040697" y="3138925"/>
                      <a:pt x="11040697" y="3213304"/>
                    </a:cubicBezTo>
                    <a:cubicBezTo>
                      <a:pt x="11040697" y="3287683"/>
                      <a:pt x="10980401" y="3347979"/>
                      <a:pt x="10906022" y="3347979"/>
                    </a:cubicBezTo>
                    <a:cubicBezTo>
                      <a:pt x="10831643" y="3347979"/>
                      <a:pt x="10771347" y="3287683"/>
                      <a:pt x="10771347" y="3213304"/>
                    </a:cubicBezTo>
                    <a:cubicBezTo>
                      <a:pt x="10771347" y="3138925"/>
                      <a:pt x="10831643" y="3078629"/>
                      <a:pt x="10906022" y="3078629"/>
                    </a:cubicBezTo>
                    <a:close/>
                    <a:moveTo>
                      <a:pt x="10393956" y="3078629"/>
                    </a:moveTo>
                    <a:cubicBezTo>
                      <a:pt x="10468335" y="3078629"/>
                      <a:pt x="10528631" y="3138925"/>
                      <a:pt x="10528631" y="3213304"/>
                    </a:cubicBezTo>
                    <a:cubicBezTo>
                      <a:pt x="10528631" y="3287683"/>
                      <a:pt x="10468335" y="3347979"/>
                      <a:pt x="10393956" y="3347979"/>
                    </a:cubicBezTo>
                    <a:cubicBezTo>
                      <a:pt x="10319577" y="3347979"/>
                      <a:pt x="10259282" y="3287683"/>
                      <a:pt x="10259282" y="3213304"/>
                    </a:cubicBezTo>
                    <a:cubicBezTo>
                      <a:pt x="10259282" y="3138925"/>
                      <a:pt x="10319577" y="3078629"/>
                      <a:pt x="10393956" y="3078629"/>
                    </a:cubicBezTo>
                    <a:close/>
                    <a:moveTo>
                      <a:pt x="9882080" y="3078629"/>
                    </a:moveTo>
                    <a:cubicBezTo>
                      <a:pt x="9956459" y="3078629"/>
                      <a:pt x="10016755" y="3138925"/>
                      <a:pt x="10016755" y="3213304"/>
                    </a:cubicBezTo>
                    <a:cubicBezTo>
                      <a:pt x="10016755" y="3287683"/>
                      <a:pt x="9956459" y="3347979"/>
                      <a:pt x="9882080" y="3347979"/>
                    </a:cubicBezTo>
                    <a:cubicBezTo>
                      <a:pt x="9807701" y="3347979"/>
                      <a:pt x="9747405" y="3287683"/>
                      <a:pt x="9747405" y="3213304"/>
                    </a:cubicBezTo>
                    <a:cubicBezTo>
                      <a:pt x="9747405" y="3138925"/>
                      <a:pt x="9807701" y="3078629"/>
                      <a:pt x="9882080" y="3078629"/>
                    </a:cubicBezTo>
                    <a:close/>
                    <a:moveTo>
                      <a:pt x="9370014" y="3078629"/>
                    </a:moveTo>
                    <a:cubicBezTo>
                      <a:pt x="9444393" y="3078629"/>
                      <a:pt x="9504688" y="3138925"/>
                      <a:pt x="9504688" y="3213304"/>
                    </a:cubicBezTo>
                    <a:cubicBezTo>
                      <a:pt x="9504688" y="3287683"/>
                      <a:pt x="9444393" y="3347979"/>
                      <a:pt x="9370014" y="3347979"/>
                    </a:cubicBezTo>
                    <a:cubicBezTo>
                      <a:pt x="9295635" y="3347979"/>
                      <a:pt x="9235339" y="3287683"/>
                      <a:pt x="9235339" y="3213304"/>
                    </a:cubicBezTo>
                    <a:cubicBezTo>
                      <a:pt x="9235339" y="3138925"/>
                      <a:pt x="9295635" y="3078629"/>
                      <a:pt x="9370014" y="3078629"/>
                    </a:cubicBezTo>
                    <a:close/>
                    <a:moveTo>
                      <a:pt x="8858136" y="3078629"/>
                    </a:moveTo>
                    <a:cubicBezTo>
                      <a:pt x="8932516" y="3078629"/>
                      <a:pt x="8992811" y="3138925"/>
                      <a:pt x="8992811" y="3213304"/>
                    </a:cubicBezTo>
                    <a:cubicBezTo>
                      <a:pt x="8992811" y="3287683"/>
                      <a:pt x="8932516" y="3347979"/>
                      <a:pt x="8858136" y="3347979"/>
                    </a:cubicBezTo>
                    <a:cubicBezTo>
                      <a:pt x="8783757" y="3347979"/>
                      <a:pt x="8723462" y="3287683"/>
                      <a:pt x="8723462" y="3213304"/>
                    </a:cubicBezTo>
                    <a:cubicBezTo>
                      <a:pt x="8723462" y="3138925"/>
                      <a:pt x="8783757" y="3078629"/>
                      <a:pt x="8858136" y="3078629"/>
                    </a:cubicBezTo>
                    <a:close/>
                    <a:moveTo>
                      <a:pt x="8346071" y="3078629"/>
                    </a:moveTo>
                    <a:cubicBezTo>
                      <a:pt x="8420450" y="3078629"/>
                      <a:pt x="8480746" y="3138925"/>
                      <a:pt x="8480746" y="3213304"/>
                    </a:cubicBezTo>
                    <a:cubicBezTo>
                      <a:pt x="8480746" y="3287683"/>
                      <a:pt x="8420450" y="3347979"/>
                      <a:pt x="8346071" y="3347979"/>
                    </a:cubicBezTo>
                    <a:cubicBezTo>
                      <a:pt x="8271692" y="3347979"/>
                      <a:pt x="8211396" y="3287683"/>
                      <a:pt x="8211396" y="3213304"/>
                    </a:cubicBezTo>
                    <a:cubicBezTo>
                      <a:pt x="8211396" y="3138925"/>
                      <a:pt x="8271692" y="3078629"/>
                      <a:pt x="8346071" y="3078629"/>
                    </a:cubicBezTo>
                    <a:close/>
                    <a:moveTo>
                      <a:pt x="7834194" y="3078629"/>
                    </a:moveTo>
                    <a:cubicBezTo>
                      <a:pt x="7908573" y="3078629"/>
                      <a:pt x="7968868" y="3138925"/>
                      <a:pt x="7968868" y="3213304"/>
                    </a:cubicBezTo>
                    <a:cubicBezTo>
                      <a:pt x="7968868" y="3287683"/>
                      <a:pt x="7908573" y="3347979"/>
                      <a:pt x="7834194" y="3347979"/>
                    </a:cubicBezTo>
                    <a:cubicBezTo>
                      <a:pt x="7759815" y="3347979"/>
                      <a:pt x="7699519" y="3287683"/>
                      <a:pt x="7699519" y="3213304"/>
                    </a:cubicBezTo>
                    <a:cubicBezTo>
                      <a:pt x="7699519" y="3138925"/>
                      <a:pt x="7759815" y="3078629"/>
                      <a:pt x="7834194" y="3078629"/>
                    </a:cubicBezTo>
                    <a:close/>
                    <a:moveTo>
                      <a:pt x="7322127" y="3078629"/>
                    </a:moveTo>
                    <a:cubicBezTo>
                      <a:pt x="7396506" y="3078629"/>
                      <a:pt x="7456802" y="3138925"/>
                      <a:pt x="7456802" y="3213304"/>
                    </a:cubicBezTo>
                    <a:cubicBezTo>
                      <a:pt x="7456802" y="3287683"/>
                      <a:pt x="7396506" y="3347979"/>
                      <a:pt x="7322127" y="3347979"/>
                    </a:cubicBezTo>
                    <a:cubicBezTo>
                      <a:pt x="7247748" y="3347979"/>
                      <a:pt x="7187453" y="3287683"/>
                      <a:pt x="7187453" y="3213304"/>
                    </a:cubicBezTo>
                    <a:cubicBezTo>
                      <a:pt x="7187453" y="3138925"/>
                      <a:pt x="7247748" y="3078629"/>
                      <a:pt x="7322127" y="3078629"/>
                    </a:cubicBezTo>
                    <a:close/>
                    <a:moveTo>
                      <a:pt x="6810062" y="3078629"/>
                    </a:moveTo>
                    <a:cubicBezTo>
                      <a:pt x="6884441" y="3078629"/>
                      <a:pt x="6944736" y="3138925"/>
                      <a:pt x="6944736" y="3213304"/>
                    </a:cubicBezTo>
                    <a:cubicBezTo>
                      <a:pt x="6944736" y="3287683"/>
                      <a:pt x="6884441" y="3347979"/>
                      <a:pt x="6810062" y="3347979"/>
                    </a:cubicBezTo>
                    <a:cubicBezTo>
                      <a:pt x="6735683" y="3347979"/>
                      <a:pt x="6675387" y="3287683"/>
                      <a:pt x="6675387" y="3213304"/>
                    </a:cubicBezTo>
                    <a:cubicBezTo>
                      <a:pt x="6675387" y="3138925"/>
                      <a:pt x="6735683" y="3078629"/>
                      <a:pt x="6810062" y="3078629"/>
                    </a:cubicBezTo>
                    <a:close/>
                    <a:moveTo>
                      <a:pt x="6298186" y="3078629"/>
                    </a:moveTo>
                    <a:cubicBezTo>
                      <a:pt x="6372564" y="3078629"/>
                      <a:pt x="6432860" y="3138925"/>
                      <a:pt x="6432860" y="3213304"/>
                    </a:cubicBezTo>
                    <a:cubicBezTo>
                      <a:pt x="6432860" y="3287683"/>
                      <a:pt x="6372564" y="3347979"/>
                      <a:pt x="6298186" y="3347979"/>
                    </a:cubicBezTo>
                    <a:cubicBezTo>
                      <a:pt x="6223806" y="3347979"/>
                      <a:pt x="6163510" y="3287683"/>
                      <a:pt x="6163510" y="3213304"/>
                    </a:cubicBezTo>
                    <a:cubicBezTo>
                      <a:pt x="6163510" y="3138925"/>
                      <a:pt x="6223806" y="3078629"/>
                      <a:pt x="6298186" y="3078629"/>
                    </a:cubicBezTo>
                    <a:close/>
                    <a:moveTo>
                      <a:pt x="5786126" y="3078629"/>
                    </a:moveTo>
                    <a:cubicBezTo>
                      <a:pt x="5860504" y="3078629"/>
                      <a:pt x="5920794" y="3138925"/>
                      <a:pt x="5920794" y="3213304"/>
                    </a:cubicBezTo>
                    <a:cubicBezTo>
                      <a:pt x="5920794" y="3287683"/>
                      <a:pt x="5860504" y="3347979"/>
                      <a:pt x="5786126" y="3347979"/>
                    </a:cubicBezTo>
                    <a:cubicBezTo>
                      <a:pt x="5711750" y="3347979"/>
                      <a:pt x="5651456" y="3287683"/>
                      <a:pt x="5651456" y="3213304"/>
                    </a:cubicBezTo>
                    <a:cubicBezTo>
                      <a:pt x="5651456" y="3138925"/>
                      <a:pt x="5711750" y="3078629"/>
                      <a:pt x="5786126" y="3078629"/>
                    </a:cubicBezTo>
                    <a:close/>
                    <a:moveTo>
                      <a:pt x="5274270" y="3078629"/>
                    </a:moveTo>
                    <a:cubicBezTo>
                      <a:pt x="5348647" y="3078629"/>
                      <a:pt x="5408941" y="3138925"/>
                      <a:pt x="5408941" y="3213304"/>
                    </a:cubicBezTo>
                    <a:cubicBezTo>
                      <a:pt x="5408941" y="3287683"/>
                      <a:pt x="5348647" y="3347979"/>
                      <a:pt x="5274270" y="3347979"/>
                    </a:cubicBezTo>
                    <a:cubicBezTo>
                      <a:pt x="5199890" y="3347979"/>
                      <a:pt x="5139595" y="3287683"/>
                      <a:pt x="5139595" y="3213304"/>
                    </a:cubicBezTo>
                    <a:cubicBezTo>
                      <a:pt x="5139595" y="3138925"/>
                      <a:pt x="5199890" y="3078629"/>
                      <a:pt x="5274270" y="3078629"/>
                    </a:cubicBezTo>
                    <a:close/>
                    <a:moveTo>
                      <a:pt x="4762180" y="3078629"/>
                    </a:moveTo>
                    <a:cubicBezTo>
                      <a:pt x="4836585" y="3078629"/>
                      <a:pt x="4896897" y="3138925"/>
                      <a:pt x="4896897" y="3213304"/>
                    </a:cubicBezTo>
                    <a:cubicBezTo>
                      <a:pt x="4896897" y="3287683"/>
                      <a:pt x="4836585" y="3347979"/>
                      <a:pt x="4762180" y="3347979"/>
                    </a:cubicBezTo>
                    <a:cubicBezTo>
                      <a:pt x="4687815" y="3347979"/>
                      <a:pt x="4627526" y="3287683"/>
                      <a:pt x="4627526" y="3213304"/>
                    </a:cubicBezTo>
                    <a:cubicBezTo>
                      <a:pt x="4627526" y="3138925"/>
                      <a:pt x="4687815" y="3078629"/>
                      <a:pt x="4762180" y="3078629"/>
                    </a:cubicBezTo>
                    <a:close/>
                    <a:moveTo>
                      <a:pt x="4250316" y="3078629"/>
                    </a:moveTo>
                    <a:cubicBezTo>
                      <a:pt x="4324700" y="3078629"/>
                      <a:pt x="4385000" y="3138925"/>
                      <a:pt x="4385000" y="3213304"/>
                    </a:cubicBezTo>
                    <a:cubicBezTo>
                      <a:pt x="4385000" y="3287683"/>
                      <a:pt x="4324700" y="3347979"/>
                      <a:pt x="4250316" y="3347979"/>
                    </a:cubicBezTo>
                    <a:cubicBezTo>
                      <a:pt x="4175935" y="3347979"/>
                      <a:pt x="4115689" y="3287683"/>
                      <a:pt x="4115689" y="3213304"/>
                    </a:cubicBezTo>
                    <a:cubicBezTo>
                      <a:pt x="4115689" y="3138925"/>
                      <a:pt x="4175935" y="3078629"/>
                      <a:pt x="4250316" y="3078629"/>
                    </a:cubicBezTo>
                    <a:close/>
                    <a:moveTo>
                      <a:pt x="3738289" y="3078629"/>
                    </a:moveTo>
                    <a:cubicBezTo>
                      <a:pt x="3812664" y="3078629"/>
                      <a:pt x="3872963" y="3138925"/>
                      <a:pt x="3872963" y="3213304"/>
                    </a:cubicBezTo>
                    <a:cubicBezTo>
                      <a:pt x="3872963" y="3287683"/>
                      <a:pt x="3812664" y="3347979"/>
                      <a:pt x="3738289" y="3347979"/>
                    </a:cubicBezTo>
                    <a:cubicBezTo>
                      <a:pt x="3663899" y="3347979"/>
                      <a:pt x="3603609" y="3287683"/>
                      <a:pt x="3603609" y="3213304"/>
                    </a:cubicBezTo>
                    <a:cubicBezTo>
                      <a:pt x="3603609" y="3138925"/>
                      <a:pt x="3663899" y="3078629"/>
                      <a:pt x="3738289" y="3078629"/>
                    </a:cubicBezTo>
                    <a:close/>
                    <a:moveTo>
                      <a:pt x="3226242" y="3078629"/>
                    </a:moveTo>
                    <a:cubicBezTo>
                      <a:pt x="3300623" y="3078629"/>
                      <a:pt x="3360931" y="3138925"/>
                      <a:pt x="3360931" y="3213304"/>
                    </a:cubicBezTo>
                    <a:cubicBezTo>
                      <a:pt x="3360931" y="3287683"/>
                      <a:pt x="3300623" y="3347979"/>
                      <a:pt x="3226242" y="3347979"/>
                    </a:cubicBezTo>
                    <a:cubicBezTo>
                      <a:pt x="3151856" y="3347979"/>
                      <a:pt x="3091565" y="3287683"/>
                      <a:pt x="3091565" y="3213304"/>
                    </a:cubicBezTo>
                    <a:cubicBezTo>
                      <a:pt x="3091565" y="3138925"/>
                      <a:pt x="3151856" y="3078629"/>
                      <a:pt x="3226242" y="3078629"/>
                    </a:cubicBezTo>
                    <a:close/>
                    <a:moveTo>
                      <a:pt x="2714363" y="3078629"/>
                    </a:moveTo>
                    <a:cubicBezTo>
                      <a:pt x="2788741" y="3078629"/>
                      <a:pt x="2849039" y="3138925"/>
                      <a:pt x="2849039" y="3213304"/>
                    </a:cubicBezTo>
                    <a:cubicBezTo>
                      <a:pt x="2849039" y="3287683"/>
                      <a:pt x="2788741" y="3347979"/>
                      <a:pt x="2714363" y="3347979"/>
                    </a:cubicBezTo>
                    <a:cubicBezTo>
                      <a:pt x="2639985" y="3347979"/>
                      <a:pt x="2579687" y="3287683"/>
                      <a:pt x="2579687" y="3213304"/>
                    </a:cubicBezTo>
                    <a:cubicBezTo>
                      <a:pt x="2579687" y="3138925"/>
                      <a:pt x="2639985" y="3078629"/>
                      <a:pt x="2714363" y="3078629"/>
                    </a:cubicBezTo>
                    <a:close/>
                    <a:moveTo>
                      <a:pt x="2202306" y="3078629"/>
                    </a:moveTo>
                    <a:cubicBezTo>
                      <a:pt x="2276684" y="3078629"/>
                      <a:pt x="2336978" y="3138925"/>
                      <a:pt x="2336978" y="3213304"/>
                    </a:cubicBezTo>
                    <a:cubicBezTo>
                      <a:pt x="2336978" y="3287683"/>
                      <a:pt x="2276683" y="3347979"/>
                      <a:pt x="2202306" y="3347979"/>
                    </a:cubicBezTo>
                    <a:cubicBezTo>
                      <a:pt x="2127929" y="3347979"/>
                      <a:pt x="2067631" y="3287683"/>
                      <a:pt x="2067631" y="3213304"/>
                    </a:cubicBezTo>
                    <a:cubicBezTo>
                      <a:pt x="2067631" y="3138925"/>
                      <a:pt x="2127929" y="3078629"/>
                      <a:pt x="2202306" y="3078629"/>
                    </a:cubicBezTo>
                    <a:close/>
                    <a:moveTo>
                      <a:pt x="1690413" y="3078629"/>
                    </a:moveTo>
                    <a:cubicBezTo>
                      <a:pt x="1764791" y="3078629"/>
                      <a:pt x="1825086" y="3138925"/>
                      <a:pt x="1825086" y="3213304"/>
                    </a:cubicBezTo>
                    <a:cubicBezTo>
                      <a:pt x="1825086" y="3287683"/>
                      <a:pt x="1764791" y="3347979"/>
                      <a:pt x="1690413" y="3347979"/>
                    </a:cubicBezTo>
                    <a:cubicBezTo>
                      <a:pt x="1616035" y="3347979"/>
                      <a:pt x="1555739" y="3287683"/>
                      <a:pt x="1555739" y="3213304"/>
                    </a:cubicBezTo>
                    <a:cubicBezTo>
                      <a:pt x="1555739" y="3138925"/>
                      <a:pt x="1616035" y="3078629"/>
                      <a:pt x="1690413" y="3078629"/>
                    </a:cubicBezTo>
                    <a:close/>
                    <a:moveTo>
                      <a:pt x="1178354" y="3078629"/>
                    </a:moveTo>
                    <a:cubicBezTo>
                      <a:pt x="1252731" y="3078629"/>
                      <a:pt x="1313027" y="3138925"/>
                      <a:pt x="1313027" y="3213304"/>
                    </a:cubicBezTo>
                    <a:cubicBezTo>
                      <a:pt x="1313027" y="3287683"/>
                      <a:pt x="1252731" y="3347979"/>
                      <a:pt x="1178354" y="3347979"/>
                    </a:cubicBezTo>
                    <a:cubicBezTo>
                      <a:pt x="1103975" y="3347979"/>
                      <a:pt x="1043680" y="3287683"/>
                      <a:pt x="1043680" y="3213304"/>
                    </a:cubicBezTo>
                    <a:cubicBezTo>
                      <a:pt x="1043680" y="3138925"/>
                      <a:pt x="1103975" y="3078629"/>
                      <a:pt x="1178354" y="3078629"/>
                    </a:cubicBezTo>
                    <a:close/>
                    <a:moveTo>
                      <a:pt x="666484" y="3078629"/>
                    </a:moveTo>
                    <a:cubicBezTo>
                      <a:pt x="740861" y="3078629"/>
                      <a:pt x="801157" y="3138925"/>
                      <a:pt x="801157" y="3213304"/>
                    </a:cubicBezTo>
                    <a:cubicBezTo>
                      <a:pt x="801157" y="3287683"/>
                      <a:pt x="740861" y="3347979"/>
                      <a:pt x="666484" y="3347979"/>
                    </a:cubicBezTo>
                    <a:cubicBezTo>
                      <a:pt x="592105" y="3347979"/>
                      <a:pt x="531810" y="3287683"/>
                      <a:pt x="531810" y="3213304"/>
                    </a:cubicBezTo>
                    <a:cubicBezTo>
                      <a:pt x="531810" y="3138925"/>
                      <a:pt x="592105" y="3078629"/>
                      <a:pt x="666484" y="3078629"/>
                    </a:cubicBezTo>
                    <a:close/>
                    <a:moveTo>
                      <a:pt x="154426" y="3078629"/>
                    </a:moveTo>
                    <a:cubicBezTo>
                      <a:pt x="228804" y="3078629"/>
                      <a:pt x="289099" y="3138925"/>
                      <a:pt x="289099" y="3213304"/>
                    </a:cubicBezTo>
                    <a:cubicBezTo>
                      <a:pt x="289099" y="3287683"/>
                      <a:pt x="228804" y="3347979"/>
                      <a:pt x="154426" y="3347979"/>
                    </a:cubicBezTo>
                    <a:cubicBezTo>
                      <a:pt x="80048" y="3347979"/>
                      <a:pt x="19752" y="3287683"/>
                      <a:pt x="19752" y="3213304"/>
                    </a:cubicBezTo>
                    <a:cubicBezTo>
                      <a:pt x="19752" y="3138925"/>
                      <a:pt x="80048" y="3078629"/>
                      <a:pt x="154426" y="3078629"/>
                    </a:cubicBezTo>
                    <a:close/>
                    <a:moveTo>
                      <a:pt x="11929965" y="2638717"/>
                    </a:moveTo>
                    <a:cubicBezTo>
                      <a:pt x="11996520" y="2638717"/>
                      <a:pt x="12050474" y="2692670"/>
                      <a:pt x="12050474" y="2759225"/>
                    </a:cubicBezTo>
                    <a:cubicBezTo>
                      <a:pt x="12050474" y="2825780"/>
                      <a:pt x="11996520" y="2879734"/>
                      <a:pt x="11929965" y="2879734"/>
                    </a:cubicBezTo>
                    <a:cubicBezTo>
                      <a:pt x="11863411" y="2879734"/>
                      <a:pt x="11809457" y="2825780"/>
                      <a:pt x="11809457" y="2759225"/>
                    </a:cubicBezTo>
                    <a:cubicBezTo>
                      <a:pt x="11809457" y="2692670"/>
                      <a:pt x="11863411" y="2638717"/>
                      <a:pt x="11929965" y="2638717"/>
                    </a:cubicBezTo>
                    <a:close/>
                    <a:moveTo>
                      <a:pt x="11417900" y="2638717"/>
                    </a:moveTo>
                    <a:cubicBezTo>
                      <a:pt x="11484454" y="2638717"/>
                      <a:pt x="11538408" y="2692670"/>
                      <a:pt x="11538408" y="2759225"/>
                    </a:cubicBezTo>
                    <a:cubicBezTo>
                      <a:pt x="11538408" y="2825780"/>
                      <a:pt x="11484454" y="2879734"/>
                      <a:pt x="11417900" y="2879734"/>
                    </a:cubicBezTo>
                    <a:cubicBezTo>
                      <a:pt x="11351345" y="2879734"/>
                      <a:pt x="11297391" y="2825780"/>
                      <a:pt x="11297391" y="2759225"/>
                    </a:cubicBezTo>
                    <a:cubicBezTo>
                      <a:pt x="11297391" y="2692670"/>
                      <a:pt x="11351345" y="2638717"/>
                      <a:pt x="11417900" y="2638717"/>
                    </a:cubicBezTo>
                    <a:close/>
                    <a:moveTo>
                      <a:pt x="10906022" y="2638717"/>
                    </a:moveTo>
                    <a:cubicBezTo>
                      <a:pt x="10972576" y="2638717"/>
                      <a:pt x="11026530" y="2692670"/>
                      <a:pt x="11026530" y="2759225"/>
                    </a:cubicBezTo>
                    <a:cubicBezTo>
                      <a:pt x="11026530" y="2825780"/>
                      <a:pt x="10972576" y="2879734"/>
                      <a:pt x="10906022" y="2879734"/>
                    </a:cubicBezTo>
                    <a:cubicBezTo>
                      <a:pt x="10839467" y="2879734"/>
                      <a:pt x="10785513" y="2825780"/>
                      <a:pt x="10785513" y="2759225"/>
                    </a:cubicBezTo>
                    <a:cubicBezTo>
                      <a:pt x="10785513" y="2692670"/>
                      <a:pt x="10839467" y="2638717"/>
                      <a:pt x="10906022" y="2638717"/>
                    </a:cubicBezTo>
                    <a:close/>
                    <a:moveTo>
                      <a:pt x="10393956" y="2638717"/>
                    </a:moveTo>
                    <a:cubicBezTo>
                      <a:pt x="10460511" y="2638717"/>
                      <a:pt x="10514465" y="2692670"/>
                      <a:pt x="10514465" y="2759225"/>
                    </a:cubicBezTo>
                    <a:cubicBezTo>
                      <a:pt x="10514465" y="2825780"/>
                      <a:pt x="10460511" y="2879734"/>
                      <a:pt x="10393956" y="2879734"/>
                    </a:cubicBezTo>
                    <a:cubicBezTo>
                      <a:pt x="10327402" y="2879734"/>
                      <a:pt x="10273448" y="2825780"/>
                      <a:pt x="10273448" y="2759225"/>
                    </a:cubicBezTo>
                    <a:cubicBezTo>
                      <a:pt x="10273448" y="2692670"/>
                      <a:pt x="10327402" y="2638717"/>
                      <a:pt x="10393956" y="2638717"/>
                    </a:cubicBezTo>
                    <a:close/>
                    <a:moveTo>
                      <a:pt x="9882080" y="2638717"/>
                    </a:moveTo>
                    <a:cubicBezTo>
                      <a:pt x="9948634" y="2638717"/>
                      <a:pt x="10002588" y="2692670"/>
                      <a:pt x="10002588" y="2759225"/>
                    </a:cubicBezTo>
                    <a:cubicBezTo>
                      <a:pt x="10002588" y="2825780"/>
                      <a:pt x="9948634" y="2879734"/>
                      <a:pt x="9882080" y="2879734"/>
                    </a:cubicBezTo>
                    <a:cubicBezTo>
                      <a:pt x="9815525" y="2879734"/>
                      <a:pt x="9761571" y="2825780"/>
                      <a:pt x="9761571" y="2759225"/>
                    </a:cubicBezTo>
                    <a:cubicBezTo>
                      <a:pt x="9761571" y="2692670"/>
                      <a:pt x="9815525" y="2638717"/>
                      <a:pt x="9882080" y="2638717"/>
                    </a:cubicBezTo>
                    <a:close/>
                    <a:moveTo>
                      <a:pt x="9370013" y="2638717"/>
                    </a:moveTo>
                    <a:cubicBezTo>
                      <a:pt x="9436568" y="2638717"/>
                      <a:pt x="9490522" y="2692670"/>
                      <a:pt x="9490522" y="2759225"/>
                    </a:cubicBezTo>
                    <a:cubicBezTo>
                      <a:pt x="9490522" y="2825780"/>
                      <a:pt x="9436568" y="2879734"/>
                      <a:pt x="9370013" y="2879734"/>
                    </a:cubicBezTo>
                    <a:cubicBezTo>
                      <a:pt x="9303458" y="2879734"/>
                      <a:pt x="9249505" y="2825780"/>
                      <a:pt x="9249505" y="2759225"/>
                    </a:cubicBezTo>
                    <a:cubicBezTo>
                      <a:pt x="9249505" y="2692670"/>
                      <a:pt x="9303458" y="2638717"/>
                      <a:pt x="9370013" y="2638717"/>
                    </a:cubicBezTo>
                    <a:close/>
                    <a:moveTo>
                      <a:pt x="8858136" y="2638717"/>
                    </a:moveTo>
                    <a:cubicBezTo>
                      <a:pt x="8924691" y="2638717"/>
                      <a:pt x="8978645" y="2692670"/>
                      <a:pt x="8978645" y="2759225"/>
                    </a:cubicBezTo>
                    <a:cubicBezTo>
                      <a:pt x="8978645" y="2825780"/>
                      <a:pt x="8924691" y="2879734"/>
                      <a:pt x="8858136" y="2879734"/>
                    </a:cubicBezTo>
                    <a:cubicBezTo>
                      <a:pt x="8791581" y="2879734"/>
                      <a:pt x="8737628" y="2825780"/>
                      <a:pt x="8737628" y="2759225"/>
                    </a:cubicBezTo>
                    <a:cubicBezTo>
                      <a:pt x="8737628" y="2692670"/>
                      <a:pt x="8791581" y="2638717"/>
                      <a:pt x="8858136" y="2638717"/>
                    </a:cubicBezTo>
                    <a:close/>
                    <a:moveTo>
                      <a:pt x="8346070" y="2638717"/>
                    </a:moveTo>
                    <a:cubicBezTo>
                      <a:pt x="8412626" y="2638717"/>
                      <a:pt x="8466579" y="2692670"/>
                      <a:pt x="8466579" y="2759225"/>
                    </a:cubicBezTo>
                    <a:cubicBezTo>
                      <a:pt x="8466579" y="2825780"/>
                      <a:pt x="8412626" y="2879734"/>
                      <a:pt x="8346070" y="2879734"/>
                    </a:cubicBezTo>
                    <a:cubicBezTo>
                      <a:pt x="8279515" y="2879734"/>
                      <a:pt x="8225562" y="2825780"/>
                      <a:pt x="8225562" y="2759225"/>
                    </a:cubicBezTo>
                    <a:cubicBezTo>
                      <a:pt x="8225562" y="2692670"/>
                      <a:pt x="8279515" y="2638717"/>
                      <a:pt x="8346070" y="2638717"/>
                    </a:cubicBezTo>
                    <a:close/>
                    <a:moveTo>
                      <a:pt x="7834193" y="2638717"/>
                    </a:moveTo>
                    <a:cubicBezTo>
                      <a:pt x="7900748" y="2638717"/>
                      <a:pt x="7954702" y="2692670"/>
                      <a:pt x="7954702" y="2759225"/>
                    </a:cubicBezTo>
                    <a:cubicBezTo>
                      <a:pt x="7954702" y="2825780"/>
                      <a:pt x="7900748" y="2879734"/>
                      <a:pt x="7834193" y="2879734"/>
                    </a:cubicBezTo>
                    <a:cubicBezTo>
                      <a:pt x="7767638" y="2879734"/>
                      <a:pt x="7713685" y="2825780"/>
                      <a:pt x="7713685" y="2759225"/>
                    </a:cubicBezTo>
                    <a:cubicBezTo>
                      <a:pt x="7713685" y="2692670"/>
                      <a:pt x="7767638" y="2638717"/>
                      <a:pt x="7834193" y="2638717"/>
                    </a:cubicBezTo>
                    <a:close/>
                    <a:moveTo>
                      <a:pt x="7322127" y="2638717"/>
                    </a:moveTo>
                    <a:cubicBezTo>
                      <a:pt x="7388682" y="2638717"/>
                      <a:pt x="7442635" y="2692670"/>
                      <a:pt x="7442635" y="2759225"/>
                    </a:cubicBezTo>
                    <a:cubicBezTo>
                      <a:pt x="7442635" y="2825780"/>
                      <a:pt x="7388682" y="2879734"/>
                      <a:pt x="7322127" y="2879734"/>
                    </a:cubicBezTo>
                    <a:cubicBezTo>
                      <a:pt x="7255572" y="2879734"/>
                      <a:pt x="7201619" y="2825780"/>
                      <a:pt x="7201619" y="2759225"/>
                    </a:cubicBezTo>
                    <a:cubicBezTo>
                      <a:pt x="7201619" y="2692670"/>
                      <a:pt x="7255572" y="2638717"/>
                      <a:pt x="7322127" y="2638717"/>
                    </a:cubicBezTo>
                    <a:close/>
                    <a:moveTo>
                      <a:pt x="6810061" y="2638717"/>
                    </a:moveTo>
                    <a:cubicBezTo>
                      <a:pt x="6876616" y="2638717"/>
                      <a:pt x="6930570" y="2692670"/>
                      <a:pt x="6930570" y="2759225"/>
                    </a:cubicBezTo>
                    <a:cubicBezTo>
                      <a:pt x="6930570" y="2825780"/>
                      <a:pt x="6876616" y="2879734"/>
                      <a:pt x="6810061" y="2879734"/>
                    </a:cubicBezTo>
                    <a:cubicBezTo>
                      <a:pt x="6743506" y="2879734"/>
                      <a:pt x="6689553" y="2825780"/>
                      <a:pt x="6689553" y="2759225"/>
                    </a:cubicBezTo>
                    <a:cubicBezTo>
                      <a:pt x="6689553" y="2692670"/>
                      <a:pt x="6743506" y="2638717"/>
                      <a:pt x="6810061" y="2638717"/>
                    </a:cubicBezTo>
                    <a:close/>
                    <a:moveTo>
                      <a:pt x="6298184" y="2638717"/>
                    </a:moveTo>
                    <a:cubicBezTo>
                      <a:pt x="6364739" y="2638717"/>
                      <a:pt x="6418693" y="2692670"/>
                      <a:pt x="6418693" y="2759225"/>
                    </a:cubicBezTo>
                    <a:cubicBezTo>
                      <a:pt x="6418693" y="2825780"/>
                      <a:pt x="6364739" y="2879734"/>
                      <a:pt x="6298184" y="2879734"/>
                    </a:cubicBezTo>
                    <a:cubicBezTo>
                      <a:pt x="6231629" y="2879734"/>
                      <a:pt x="6177677" y="2825780"/>
                      <a:pt x="6177677" y="2759225"/>
                    </a:cubicBezTo>
                    <a:cubicBezTo>
                      <a:pt x="6177677" y="2692670"/>
                      <a:pt x="6231629" y="2638717"/>
                      <a:pt x="6298184" y="2638717"/>
                    </a:cubicBezTo>
                    <a:close/>
                    <a:moveTo>
                      <a:pt x="5786126" y="2638717"/>
                    </a:moveTo>
                    <a:cubicBezTo>
                      <a:pt x="5852678" y="2638717"/>
                      <a:pt x="5906628" y="2692670"/>
                      <a:pt x="5906628" y="2759225"/>
                    </a:cubicBezTo>
                    <a:cubicBezTo>
                      <a:pt x="5906628" y="2825780"/>
                      <a:pt x="5852678" y="2879734"/>
                      <a:pt x="5786126" y="2879734"/>
                    </a:cubicBezTo>
                    <a:cubicBezTo>
                      <a:pt x="5719573" y="2879734"/>
                      <a:pt x="5665623" y="2825780"/>
                      <a:pt x="5665623" y="2759225"/>
                    </a:cubicBezTo>
                    <a:cubicBezTo>
                      <a:pt x="5665623" y="2692670"/>
                      <a:pt x="5719573" y="2638717"/>
                      <a:pt x="5786126" y="2638717"/>
                    </a:cubicBezTo>
                    <a:close/>
                    <a:moveTo>
                      <a:pt x="5274270" y="2638717"/>
                    </a:moveTo>
                    <a:cubicBezTo>
                      <a:pt x="5340824" y="2638717"/>
                      <a:pt x="5394775" y="2692670"/>
                      <a:pt x="5394775" y="2759225"/>
                    </a:cubicBezTo>
                    <a:cubicBezTo>
                      <a:pt x="5394775" y="2825780"/>
                      <a:pt x="5340824" y="2879734"/>
                      <a:pt x="5274270" y="2879734"/>
                    </a:cubicBezTo>
                    <a:cubicBezTo>
                      <a:pt x="5207718" y="2879734"/>
                      <a:pt x="5153767" y="2825780"/>
                      <a:pt x="5153767" y="2759225"/>
                    </a:cubicBezTo>
                    <a:cubicBezTo>
                      <a:pt x="5153767" y="2692670"/>
                      <a:pt x="5207718" y="2638717"/>
                      <a:pt x="5274270" y="2638717"/>
                    </a:cubicBezTo>
                    <a:close/>
                    <a:moveTo>
                      <a:pt x="4762180" y="2638717"/>
                    </a:moveTo>
                    <a:cubicBezTo>
                      <a:pt x="4828758" y="2638717"/>
                      <a:pt x="4882728" y="2692670"/>
                      <a:pt x="4882728" y="2759225"/>
                    </a:cubicBezTo>
                    <a:cubicBezTo>
                      <a:pt x="4882728" y="2825780"/>
                      <a:pt x="4828758" y="2879734"/>
                      <a:pt x="4762180" y="2879734"/>
                    </a:cubicBezTo>
                    <a:cubicBezTo>
                      <a:pt x="4695639" y="2879734"/>
                      <a:pt x="4641689" y="2825780"/>
                      <a:pt x="4641689" y="2759225"/>
                    </a:cubicBezTo>
                    <a:cubicBezTo>
                      <a:pt x="4641689" y="2692670"/>
                      <a:pt x="4695639" y="2638717"/>
                      <a:pt x="4762180" y="2638717"/>
                    </a:cubicBezTo>
                    <a:close/>
                    <a:moveTo>
                      <a:pt x="4250316" y="2638717"/>
                    </a:moveTo>
                    <a:cubicBezTo>
                      <a:pt x="4316876" y="2638717"/>
                      <a:pt x="4370831" y="2692670"/>
                      <a:pt x="4370831" y="2759225"/>
                    </a:cubicBezTo>
                    <a:cubicBezTo>
                      <a:pt x="4370831" y="2825780"/>
                      <a:pt x="4316876" y="2879734"/>
                      <a:pt x="4250316" y="2879734"/>
                    </a:cubicBezTo>
                    <a:cubicBezTo>
                      <a:pt x="4183758" y="2879734"/>
                      <a:pt x="4129855" y="2825780"/>
                      <a:pt x="4129855" y="2759225"/>
                    </a:cubicBezTo>
                    <a:cubicBezTo>
                      <a:pt x="4129855" y="2692670"/>
                      <a:pt x="4183758" y="2638717"/>
                      <a:pt x="4250316" y="2638717"/>
                    </a:cubicBezTo>
                    <a:close/>
                    <a:moveTo>
                      <a:pt x="3738287" y="2638717"/>
                    </a:moveTo>
                    <a:cubicBezTo>
                      <a:pt x="3804840" y="2638717"/>
                      <a:pt x="3858795" y="2692670"/>
                      <a:pt x="3858795" y="2759225"/>
                    </a:cubicBezTo>
                    <a:cubicBezTo>
                      <a:pt x="3858795" y="2825780"/>
                      <a:pt x="3804840" y="2879734"/>
                      <a:pt x="3738287" y="2879734"/>
                    </a:cubicBezTo>
                    <a:cubicBezTo>
                      <a:pt x="3671724" y="2879734"/>
                      <a:pt x="3617773" y="2825780"/>
                      <a:pt x="3617773" y="2759225"/>
                    </a:cubicBezTo>
                    <a:cubicBezTo>
                      <a:pt x="3617773" y="2692670"/>
                      <a:pt x="3671724" y="2638717"/>
                      <a:pt x="3738287" y="2638717"/>
                    </a:cubicBezTo>
                    <a:close/>
                    <a:moveTo>
                      <a:pt x="3226242" y="2638717"/>
                    </a:moveTo>
                    <a:cubicBezTo>
                      <a:pt x="3292801" y="2638717"/>
                      <a:pt x="3346764" y="2692670"/>
                      <a:pt x="3346764" y="2759225"/>
                    </a:cubicBezTo>
                    <a:cubicBezTo>
                      <a:pt x="3346764" y="2825780"/>
                      <a:pt x="3292801" y="2879734"/>
                      <a:pt x="3226242" y="2879734"/>
                    </a:cubicBezTo>
                    <a:cubicBezTo>
                      <a:pt x="3159683" y="2879734"/>
                      <a:pt x="3105731" y="2825780"/>
                      <a:pt x="3105731" y="2759225"/>
                    </a:cubicBezTo>
                    <a:cubicBezTo>
                      <a:pt x="3105731" y="2692670"/>
                      <a:pt x="3159683" y="2638717"/>
                      <a:pt x="3226242" y="2638717"/>
                    </a:cubicBezTo>
                    <a:close/>
                    <a:moveTo>
                      <a:pt x="2714362" y="2638717"/>
                    </a:moveTo>
                    <a:cubicBezTo>
                      <a:pt x="2780917" y="2638717"/>
                      <a:pt x="2834873" y="2692670"/>
                      <a:pt x="2834873" y="2759225"/>
                    </a:cubicBezTo>
                    <a:cubicBezTo>
                      <a:pt x="2834873" y="2825780"/>
                      <a:pt x="2780917" y="2879734"/>
                      <a:pt x="2714362" y="2879734"/>
                    </a:cubicBezTo>
                    <a:cubicBezTo>
                      <a:pt x="2647808" y="2879734"/>
                      <a:pt x="2593854" y="2825780"/>
                      <a:pt x="2593854" y="2759225"/>
                    </a:cubicBezTo>
                    <a:cubicBezTo>
                      <a:pt x="2593854" y="2692670"/>
                      <a:pt x="2647808" y="2638717"/>
                      <a:pt x="2714362" y="2638717"/>
                    </a:cubicBezTo>
                    <a:close/>
                    <a:moveTo>
                      <a:pt x="2202306" y="2638717"/>
                    </a:moveTo>
                    <a:cubicBezTo>
                      <a:pt x="2268862" y="2638717"/>
                      <a:pt x="2322813" y="2692670"/>
                      <a:pt x="2322813" y="2759225"/>
                    </a:cubicBezTo>
                    <a:cubicBezTo>
                      <a:pt x="2322813" y="2825780"/>
                      <a:pt x="2268860" y="2879734"/>
                      <a:pt x="2202306" y="2879734"/>
                    </a:cubicBezTo>
                    <a:cubicBezTo>
                      <a:pt x="2135752" y="2879734"/>
                      <a:pt x="2081795" y="2825780"/>
                      <a:pt x="2081795" y="2759225"/>
                    </a:cubicBezTo>
                    <a:cubicBezTo>
                      <a:pt x="2081795" y="2692670"/>
                      <a:pt x="2135752" y="2638717"/>
                      <a:pt x="2202306" y="2638717"/>
                    </a:cubicBezTo>
                    <a:close/>
                    <a:moveTo>
                      <a:pt x="1690412" y="2638717"/>
                    </a:moveTo>
                    <a:cubicBezTo>
                      <a:pt x="1756967" y="2638717"/>
                      <a:pt x="1810920" y="2692670"/>
                      <a:pt x="1810920" y="2759225"/>
                    </a:cubicBezTo>
                    <a:cubicBezTo>
                      <a:pt x="1810920" y="2825780"/>
                      <a:pt x="1756967" y="2879734"/>
                      <a:pt x="1690412" y="2879734"/>
                    </a:cubicBezTo>
                    <a:cubicBezTo>
                      <a:pt x="1623857" y="2879734"/>
                      <a:pt x="1569905" y="2825780"/>
                      <a:pt x="1569905" y="2759225"/>
                    </a:cubicBezTo>
                    <a:cubicBezTo>
                      <a:pt x="1569905" y="2692670"/>
                      <a:pt x="1623857" y="2638717"/>
                      <a:pt x="1690412" y="2638717"/>
                    </a:cubicBezTo>
                    <a:close/>
                    <a:moveTo>
                      <a:pt x="1178354" y="2638717"/>
                    </a:moveTo>
                    <a:cubicBezTo>
                      <a:pt x="1244908" y="2638717"/>
                      <a:pt x="1298862" y="2692670"/>
                      <a:pt x="1298862" y="2759225"/>
                    </a:cubicBezTo>
                    <a:cubicBezTo>
                      <a:pt x="1298862" y="2825780"/>
                      <a:pt x="1244908" y="2879734"/>
                      <a:pt x="1178354" y="2879734"/>
                    </a:cubicBezTo>
                    <a:cubicBezTo>
                      <a:pt x="1111799" y="2879734"/>
                      <a:pt x="1057846" y="2825780"/>
                      <a:pt x="1057846" y="2759225"/>
                    </a:cubicBezTo>
                    <a:cubicBezTo>
                      <a:pt x="1057846" y="2692670"/>
                      <a:pt x="1111799" y="2638717"/>
                      <a:pt x="1178354" y="2638717"/>
                    </a:cubicBezTo>
                    <a:close/>
                    <a:moveTo>
                      <a:pt x="666483" y="2638717"/>
                    </a:moveTo>
                    <a:cubicBezTo>
                      <a:pt x="733037" y="2638717"/>
                      <a:pt x="786991" y="2692670"/>
                      <a:pt x="786991" y="2759225"/>
                    </a:cubicBezTo>
                    <a:cubicBezTo>
                      <a:pt x="786991" y="2825780"/>
                      <a:pt x="733037" y="2879734"/>
                      <a:pt x="666483" y="2879734"/>
                    </a:cubicBezTo>
                    <a:cubicBezTo>
                      <a:pt x="599928" y="2879734"/>
                      <a:pt x="545976" y="2825780"/>
                      <a:pt x="545976" y="2759225"/>
                    </a:cubicBezTo>
                    <a:cubicBezTo>
                      <a:pt x="545976" y="2692670"/>
                      <a:pt x="599928" y="2638717"/>
                      <a:pt x="666483" y="2638717"/>
                    </a:cubicBezTo>
                    <a:close/>
                    <a:moveTo>
                      <a:pt x="154426" y="2638717"/>
                    </a:moveTo>
                    <a:cubicBezTo>
                      <a:pt x="220980" y="2638717"/>
                      <a:pt x="274934" y="2692670"/>
                      <a:pt x="274934" y="2759225"/>
                    </a:cubicBezTo>
                    <a:cubicBezTo>
                      <a:pt x="274934" y="2825780"/>
                      <a:pt x="220980" y="2879734"/>
                      <a:pt x="154426" y="2879734"/>
                    </a:cubicBezTo>
                    <a:cubicBezTo>
                      <a:pt x="87871" y="2879734"/>
                      <a:pt x="33919" y="2825780"/>
                      <a:pt x="33919" y="2759225"/>
                    </a:cubicBezTo>
                    <a:cubicBezTo>
                      <a:pt x="33919" y="2692670"/>
                      <a:pt x="87871" y="2638717"/>
                      <a:pt x="154426" y="2638717"/>
                    </a:cubicBezTo>
                    <a:close/>
                    <a:moveTo>
                      <a:pt x="11929965" y="2198994"/>
                    </a:moveTo>
                    <a:cubicBezTo>
                      <a:pt x="11988591" y="2198994"/>
                      <a:pt x="12036118" y="2246520"/>
                      <a:pt x="12036118" y="2305147"/>
                    </a:cubicBezTo>
                    <a:cubicBezTo>
                      <a:pt x="12036118" y="2363774"/>
                      <a:pt x="11988591" y="2411300"/>
                      <a:pt x="11929965" y="2411300"/>
                    </a:cubicBezTo>
                    <a:cubicBezTo>
                      <a:pt x="11871339" y="2411300"/>
                      <a:pt x="11823812" y="2363774"/>
                      <a:pt x="11823812" y="2305147"/>
                    </a:cubicBezTo>
                    <a:cubicBezTo>
                      <a:pt x="11823812" y="2246520"/>
                      <a:pt x="11871339" y="2198994"/>
                      <a:pt x="11929965" y="2198994"/>
                    </a:cubicBezTo>
                    <a:close/>
                    <a:moveTo>
                      <a:pt x="11417900" y="2198994"/>
                    </a:moveTo>
                    <a:cubicBezTo>
                      <a:pt x="11476527" y="2198994"/>
                      <a:pt x="11524053" y="2246520"/>
                      <a:pt x="11524053" y="2305147"/>
                    </a:cubicBezTo>
                    <a:cubicBezTo>
                      <a:pt x="11524053" y="2363774"/>
                      <a:pt x="11476527" y="2411300"/>
                      <a:pt x="11417900" y="2411300"/>
                    </a:cubicBezTo>
                    <a:cubicBezTo>
                      <a:pt x="11359274" y="2411300"/>
                      <a:pt x="11311747" y="2363774"/>
                      <a:pt x="11311747" y="2305147"/>
                    </a:cubicBezTo>
                    <a:cubicBezTo>
                      <a:pt x="11311747" y="2246520"/>
                      <a:pt x="11359274" y="2198994"/>
                      <a:pt x="11417900" y="2198994"/>
                    </a:cubicBezTo>
                    <a:close/>
                    <a:moveTo>
                      <a:pt x="10906023" y="2198994"/>
                    </a:moveTo>
                    <a:cubicBezTo>
                      <a:pt x="10964649" y="2198994"/>
                      <a:pt x="11012176" y="2246520"/>
                      <a:pt x="11012176" y="2305147"/>
                    </a:cubicBezTo>
                    <a:cubicBezTo>
                      <a:pt x="11012176" y="2363774"/>
                      <a:pt x="10964649" y="2411300"/>
                      <a:pt x="10906023" y="2411300"/>
                    </a:cubicBezTo>
                    <a:cubicBezTo>
                      <a:pt x="10847396" y="2411300"/>
                      <a:pt x="10799870" y="2363774"/>
                      <a:pt x="10799870" y="2305147"/>
                    </a:cubicBezTo>
                    <a:cubicBezTo>
                      <a:pt x="10799870" y="2246520"/>
                      <a:pt x="10847396" y="2198994"/>
                      <a:pt x="10906023" y="2198994"/>
                    </a:cubicBezTo>
                    <a:close/>
                    <a:moveTo>
                      <a:pt x="10393957" y="2198994"/>
                    </a:moveTo>
                    <a:cubicBezTo>
                      <a:pt x="10452583" y="2198994"/>
                      <a:pt x="10500110" y="2246520"/>
                      <a:pt x="10500110" y="2305147"/>
                    </a:cubicBezTo>
                    <a:cubicBezTo>
                      <a:pt x="10500110" y="2363774"/>
                      <a:pt x="10452583" y="2411300"/>
                      <a:pt x="10393957" y="2411300"/>
                    </a:cubicBezTo>
                    <a:cubicBezTo>
                      <a:pt x="10335331" y="2411300"/>
                      <a:pt x="10287804" y="2363774"/>
                      <a:pt x="10287804" y="2305147"/>
                    </a:cubicBezTo>
                    <a:cubicBezTo>
                      <a:pt x="10287804" y="2246520"/>
                      <a:pt x="10335331" y="2198994"/>
                      <a:pt x="10393957" y="2198994"/>
                    </a:cubicBezTo>
                    <a:close/>
                    <a:moveTo>
                      <a:pt x="9882079" y="2198994"/>
                    </a:moveTo>
                    <a:cubicBezTo>
                      <a:pt x="9940706" y="2198994"/>
                      <a:pt x="9988232" y="2246520"/>
                      <a:pt x="9988232" y="2305147"/>
                    </a:cubicBezTo>
                    <a:cubicBezTo>
                      <a:pt x="9988232" y="2363774"/>
                      <a:pt x="9940706" y="2411300"/>
                      <a:pt x="9882079" y="2411300"/>
                    </a:cubicBezTo>
                    <a:cubicBezTo>
                      <a:pt x="9823453" y="2411300"/>
                      <a:pt x="9775926" y="2363774"/>
                      <a:pt x="9775926" y="2305147"/>
                    </a:cubicBezTo>
                    <a:cubicBezTo>
                      <a:pt x="9775926" y="2246520"/>
                      <a:pt x="9823453" y="2198994"/>
                      <a:pt x="9882079" y="2198994"/>
                    </a:cubicBezTo>
                    <a:close/>
                    <a:moveTo>
                      <a:pt x="9370014" y="2198994"/>
                    </a:moveTo>
                    <a:cubicBezTo>
                      <a:pt x="9428568" y="2198994"/>
                      <a:pt x="9476167" y="2246593"/>
                      <a:pt x="9476167" y="2305147"/>
                    </a:cubicBezTo>
                    <a:cubicBezTo>
                      <a:pt x="9476167" y="2363701"/>
                      <a:pt x="9428568" y="2411300"/>
                      <a:pt x="9370014" y="2411300"/>
                    </a:cubicBezTo>
                    <a:cubicBezTo>
                      <a:pt x="9311460" y="2411300"/>
                      <a:pt x="9263861" y="2363701"/>
                      <a:pt x="9263861" y="2305147"/>
                    </a:cubicBezTo>
                    <a:cubicBezTo>
                      <a:pt x="9263861" y="2246593"/>
                      <a:pt x="9311460" y="2198994"/>
                      <a:pt x="9370014" y="2198994"/>
                    </a:cubicBezTo>
                    <a:close/>
                    <a:moveTo>
                      <a:pt x="8858136" y="2198994"/>
                    </a:moveTo>
                    <a:cubicBezTo>
                      <a:pt x="8916763" y="2198994"/>
                      <a:pt x="8964289" y="2246520"/>
                      <a:pt x="8964289" y="2305147"/>
                    </a:cubicBezTo>
                    <a:cubicBezTo>
                      <a:pt x="8964289" y="2363774"/>
                      <a:pt x="8916762" y="2411300"/>
                      <a:pt x="8858136" y="2411300"/>
                    </a:cubicBezTo>
                    <a:cubicBezTo>
                      <a:pt x="8799509" y="2411300"/>
                      <a:pt x="8751983" y="2363774"/>
                      <a:pt x="8751983" y="2305147"/>
                    </a:cubicBezTo>
                    <a:cubicBezTo>
                      <a:pt x="8751983" y="2246520"/>
                      <a:pt x="8799510" y="2198994"/>
                      <a:pt x="8858136" y="2198994"/>
                    </a:cubicBezTo>
                    <a:close/>
                    <a:moveTo>
                      <a:pt x="8346071" y="2198994"/>
                    </a:moveTo>
                    <a:cubicBezTo>
                      <a:pt x="8404698" y="2198994"/>
                      <a:pt x="8452224" y="2246520"/>
                      <a:pt x="8452224" y="2305147"/>
                    </a:cubicBezTo>
                    <a:cubicBezTo>
                      <a:pt x="8452224" y="2363774"/>
                      <a:pt x="8404698" y="2411300"/>
                      <a:pt x="8346071" y="2411300"/>
                    </a:cubicBezTo>
                    <a:cubicBezTo>
                      <a:pt x="8287444" y="2411300"/>
                      <a:pt x="8239918" y="2363774"/>
                      <a:pt x="8239918" y="2305147"/>
                    </a:cubicBezTo>
                    <a:cubicBezTo>
                      <a:pt x="8239918" y="2246520"/>
                      <a:pt x="8287445" y="2198994"/>
                      <a:pt x="8346071" y="2198994"/>
                    </a:cubicBezTo>
                    <a:close/>
                    <a:moveTo>
                      <a:pt x="7834194" y="2198994"/>
                    </a:moveTo>
                    <a:cubicBezTo>
                      <a:pt x="7892748" y="2198994"/>
                      <a:pt x="7940347" y="2246593"/>
                      <a:pt x="7940347" y="2305147"/>
                    </a:cubicBezTo>
                    <a:cubicBezTo>
                      <a:pt x="7940347" y="2363701"/>
                      <a:pt x="7892748" y="2411300"/>
                      <a:pt x="7834194" y="2411300"/>
                    </a:cubicBezTo>
                    <a:cubicBezTo>
                      <a:pt x="7775640" y="2411300"/>
                      <a:pt x="7728041" y="2363701"/>
                      <a:pt x="7728041" y="2305147"/>
                    </a:cubicBezTo>
                    <a:cubicBezTo>
                      <a:pt x="7728041" y="2246593"/>
                      <a:pt x="7775640" y="2198994"/>
                      <a:pt x="7834194" y="2198994"/>
                    </a:cubicBezTo>
                    <a:close/>
                    <a:moveTo>
                      <a:pt x="7322128" y="2198994"/>
                    </a:moveTo>
                    <a:cubicBezTo>
                      <a:pt x="7380755" y="2198994"/>
                      <a:pt x="7428281" y="2246520"/>
                      <a:pt x="7428281" y="2305147"/>
                    </a:cubicBezTo>
                    <a:cubicBezTo>
                      <a:pt x="7428281" y="2363774"/>
                      <a:pt x="7380755" y="2411300"/>
                      <a:pt x="7322128" y="2411300"/>
                    </a:cubicBezTo>
                    <a:cubicBezTo>
                      <a:pt x="7263501" y="2411300"/>
                      <a:pt x="7215975" y="2363774"/>
                      <a:pt x="7215975" y="2305147"/>
                    </a:cubicBezTo>
                    <a:cubicBezTo>
                      <a:pt x="7215975" y="2246520"/>
                      <a:pt x="7263502" y="2198994"/>
                      <a:pt x="7322128" y="2198994"/>
                    </a:cubicBezTo>
                    <a:close/>
                    <a:moveTo>
                      <a:pt x="6810062" y="2198994"/>
                    </a:moveTo>
                    <a:cubicBezTo>
                      <a:pt x="6868689" y="2198994"/>
                      <a:pt x="6916215" y="2246520"/>
                      <a:pt x="6916215" y="2305147"/>
                    </a:cubicBezTo>
                    <a:cubicBezTo>
                      <a:pt x="6916215" y="2363774"/>
                      <a:pt x="6868688" y="2411300"/>
                      <a:pt x="6810062" y="2411300"/>
                    </a:cubicBezTo>
                    <a:cubicBezTo>
                      <a:pt x="6751435" y="2411300"/>
                      <a:pt x="6703909" y="2363774"/>
                      <a:pt x="6703909" y="2305147"/>
                    </a:cubicBezTo>
                    <a:cubicBezTo>
                      <a:pt x="6703909" y="2246520"/>
                      <a:pt x="6751436" y="2198994"/>
                      <a:pt x="6810062" y="2198994"/>
                    </a:cubicBezTo>
                    <a:close/>
                    <a:moveTo>
                      <a:pt x="6298186" y="2198994"/>
                    </a:moveTo>
                    <a:cubicBezTo>
                      <a:pt x="6356812" y="2198994"/>
                      <a:pt x="6404338" y="2246520"/>
                      <a:pt x="6404338" y="2305147"/>
                    </a:cubicBezTo>
                    <a:cubicBezTo>
                      <a:pt x="6404338" y="2363774"/>
                      <a:pt x="6356812" y="2411300"/>
                      <a:pt x="6298186" y="2411300"/>
                    </a:cubicBezTo>
                    <a:cubicBezTo>
                      <a:pt x="6239558" y="2411300"/>
                      <a:pt x="6192032" y="2363774"/>
                      <a:pt x="6192032" y="2305147"/>
                    </a:cubicBezTo>
                    <a:cubicBezTo>
                      <a:pt x="6192032" y="2246520"/>
                      <a:pt x="6239559" y="2198994"/>
                      <a:pt x="6298186" y="2198994"/>
                    </a:cubicBezTo>
                    <a:close/>
                    <a:moveTo>
                      <a:pt x="5786126" y="2198994"/>
                    </a:moveTo>
                    <a:cubicBezTo>
                      <a:pt x="5844751" y="2198994"/>
                      <a:pt x="5892275" y="2246520"/>
                      <a:pt x="5892275" y="2305147"/>
                    </a:cubicBezTo>
                    <a:cubicBezTo>
                      <a:pt x="5892275" y="2363774"/>
                      <a:pt x="5844751" y="2411300"/>
                      <a:pt x="5786126" y="2411300"/>
                    </a:cubicBezTo>
                    <a:cubicBezTo>
                      <a:pt x="5727502" y="2411300"/>
                      <a:pt x="5679979" y="2363774"/>
                      <a:pt x="5679979" y="2305147"/>
                    </a:cubicBezTo>
                    <a:cubicBezTo>
                      <a:pt x="5679979" y="2246520"/>
                      <a:pt x="5727502" y="2198994"/>
                      <a:pt x="5786126" y="2198994"/>
                    </a:cubicBezTo>
                    <a:close/>
                    <a:moveTo>
                      <a:pt x="5274270" y="2198994"/>
                    </a:moveTo>
                    <a:cubicBezTo>
                      <a:pt x="5332896" y="2198994"/>
                      <a:pt x="5380420" y="2246520"/>
                      <a:pt x="5380420" y="2305147"/>
                    </a:cubicBezTo>
                    <a:cubicBezTo>
                      <a:pt x="5380420" y="2363774"/>
                      <a:pt x="5332895" y="2411300"/>
                      <a:pt x="5274270" y="2411300"/>
                    </a:cubicBezTo>
                    <a:cubicBezTo>
                      <a:pt x="5215644" y="2411300"/>
                      <a:pt x="5168119" y="2363774"/>
                      <a:pt x="5168119" y="2305147"/>
                    </a:cubicBezTo>
                    <a:cubicBezTo>
                      <a:pt x="5168119" y="2246520"/>
                      <a:pt x="5215645" y="2198994"/>
                      <a:pt x="5274270" y="2198994"/>
                    </a:cubicBezTo>
                    <a:close/>
                    <a:moveTo>
                      <a:pt x="4762180" y="2198994"/>
                    </a:moveTo>
                    <a:cubicBezTo>
                      <a:pt x="4820832" y="2198994"/>
                      <a:pt x="4868369" y="2246520"/>
                      <a:pt x="4868369" y="2305147"/>
                    </a:cubicBezTo>
                    <a:cubicBezTo>
                      <a:pt x="4868369" y="2363774"/>
                      <a:pt x="4820832" y="2411300"/>
                      <a:pt x="4762180" y="2411300"/>
                    </a:cubicBezTo>
                    <a:cubicBezTo>
                      <a:pt x="4703568" y="2411300"/>
                      <a:pt x="4656043" y="2363774"/>
                      <a:pt x="4656043" y="2305147"/>
                    </a:cubicBezTo>
                    <a:cubicBezTo>
                      <a:pt x="4656043" y="2246520"/>
                      <a:pt x="4703568" y="2198994"/>
                      <a:pt x="4762180" y="2198994"/>
                    </a:cubicBezTo>
                    <a:close/>
                    <a:moveTo>
                      <a:pt x="4250316" y="2198994"/>
                    </a:moveTo>
                    <a:cubicBezTo>
                      <a:pt x="4308947" y="2198994"/>
                      <a:pt x="4356476" y="2246520"/>
                      <a:pt x="4356476" y="2305147"/>
                    </a:cubicBezTo>
                    <a:cubicBezTo>
                      <a:pt x="4356476" y="2363774"/>
                      <a:pt x="4308947" y="2411300"/>
                      <a:pt x="4250316" y="2411300"/>
                    </a:cubicBezTo>
                    <a:cubicBezTo>
                      <a:pt x="4191688" y="2411300"/>
                      <a:pt x="4144156" y="2363774"/>
                      <a:pt x="4144156" y="2305147"/>
                    </a:cubicBezTo>
                    <a:cubicBezTo>
                      <a:pt x="4144156" y="2246520"/>
                      <a:pt x="4191688" y="2198994"/>
                      <a:pt x="4250316" y="2198994"/>
                    </a:cubicBezTo>
                    <a:close/>
                    <a:moveTo>
                      <a:pt x="3738289" y="2198994"/>
                    </a:moveTo>
                    <a:cubicBezTo>
                      <a:pt x="3796911" y="2198994"/>
                      <a:pt x="3844442" y="2246520"/>
                      <a:pt x="3844442" y="2305147"/>
                    </a:cubicBezTo>
                    <a:cubicBezTo>
                      <a:pt x="3844442" y="2363774"/>
                      <a:pt x="3796911" y="2411300"/>
                      <a:pt x="3738289" y="2411300"/>
                    </a:cubicBezTo>
                    <a:cubicBezTo>
                      <a:pt x="3679655" y="2411300"/>
                      <a:pt x="3632128" y="2363774"/>
                      <a:pt x="3632128" y="2305147"/>
                    </a:cubicBezTo>
                    <a:cubicBezTo>
                      <a:pt x="3632128" y="2246520"/>
                      <a:pt x="3679655" y="2198994"/>
                      <a:pt x="3738289" y="2198994"/>
                    </a:cubicBezTo>
                    <a:close/>
                    <a:moveTo>
                      <a:pt x="3226242" y="2198994"/>
                    </a:moveTo>
                    <a:cubicBezTo>
                      <a:pt x="3284873" y="2198994"/>
                      <a:pt x="3332405" y="2246520"/>
                      <a:pt x="3332405" y="2305147"/>
                    </a:cubicBezTo>
                    <a:cubicBezTo>
                      <a:pt x="3332405" y="2363774"/>
                      <a:pt x="3284873" y="2411300"/>
                      <a:pt x="3226242" y="2411300"/>
                    </a:cubicBezTo>
                    <a:cubicBezTo>
                      <a:pt x="3167617" y="2411300"/>
                      <a:pt x="3120089" y="2363774"/>
                      <a:pt x="3120089" y="2305147"/>
                    </a:cubicBezTo>
                    <a:cubicBezTo>
                      <a:pt x="3120089" y="2246520"/>
                      <a:pt x="3167617" y="2198994"/>
                      <a:pt x="3226242" y="2198994"/>
                    </a:cubicBezTo>
                    <a:close/>
                    <a:moveTo>
                      <a:pt x="2714363" y="2198994"/>
                    </a:moveTo>
                    <a:cubicBezTo>
                      <a:pt x="2772989" y="2198994"/>
                      <a:pt x="2820518" y="2246520"/>
                      <a:pt x="2820518" y="2305147"/>
                    </a:cubicBezTo>
                    <a:cubicBezTo>
                      <a:pt x="2820518" y="2363774"/>
                      <a:pt x="2772989" y="2411300"/>
                      <a:pt x="2714363" y="2411300"/>
                    </a:cubicBezTo>
                    <a:cubicBezTo>
                      <a:pt x="2655735" y="2411300"/>
                      <a:pt x="2608208" y="2363774"/>
                      <a:pt x="2608208" y="2305147"/>
                    </a:cubicBezTo>
                    <a:cubicBezTo>
                      <a:pt x="2608208" y="2246520"/>
                      <a:pt x="2655735" y="2198994"/>
                      <a:pt x="2714363" y="2198994"/>
                    </a:cubicBezTo>
                    <a:close/>
                    <a:moveTo>
                      <a:pt x="2202306" y="2198994"/>
                    </a:moveTo>
                    <a:cubicBezTo>
                      <a:pt x="2260932" y="2198994"/>
                      <a:pt x="2308457" y="2246520"/>
                      <a:pt x="2308457" y="2305147"/>
                    </a:cubicBezTo>
                    <a:cubicBezTo>
                      <a:pt x="2308457" y="2363774"/>
                      <a:pt x="2260932" y="2411300"/>
                      <a:pt x="2202306" y="2411300"/>
                    </a:cubicBezTo>
                    <a:cubicBezTo>
                      <a:pt x="2143679" y="2411300"/>
                      <a:pt x="2096153" y="2363774"/>
                      <a:pt x="2096153" y="2305147"/>
                    </a:cubicBezTo>
                    <a:cubicBezTo>
                      <a:pt x="2096153" y="2246520"/>
                      <a:pt x="2143679" y="2198994"/>
                      <a:pt x="2202306" y="2198994"/>
                    </a:cubicBezTo>
                    <a:close/>
                    <a:moveTo>
                      <a:pt x="1690413" y="2198994"/>
                    </a:moveTo>
                    <a:cubicBezTo>
                      <a:pt x="1749039" y="2198994"/>
                      <a:pt x="1796565" y="2246520"/>
                      <a:pt x="1796565" y="2305147"/>
                    </a:cubicBezTo>
                    <a:cubicBezTo>
                      <a:pt x="1796565" y="2363774"/>
                      <a:pt x="1749039" y="2411300"/>
                      <a:pt x="1690413" y="2411300"/>
                    </a:cubicBezTo>
                    <a:cubicBezTo>
                      <a:pt x="1631786" y="2411300"/>
                      <a:pt x="1584260" y="2363774"/>
                      <a:pt x="1584260" y="2305147"/>
                    </a:cubicBezTo>
                    <a:cubicBezTo>
                      <a:pt x="1584260" y="2246520"/>
                      <a:pt x="1631786" y="2198994"/>
                      <a:pt x="1690413" y="2198994"/>
                    </a:cubicBezTo>
                    <a:close/>
                    <a:moveTo>
                      <a:pt x="1178353" y="2198994"/>
                    </a:moveTo>
                    <a:cubicBezTo>
                      <a:pt x="1236980" y="2198994"/>
                      <a:pt x="1284506" y="2246520"/>
                      <a:pt x="1284506" y="2305147"/>
                    </a:cubicBezTo>
                    <a:cubicBezTo>
                      <a:pt x="1284506" y="2363774"/>
                      <a:pt x="1236980" y="2411300"/>
                      <a:pt x="1178353" y="2411300"/>
                    </a:cubicBezTo>
                    <a:cubicBezTo>
                      <a:pt x="1119727" y="2411300"/>
                      <a:pt x="1072201" y="2363774"/>
                      <a:pt x="1072201" y="2305147"/>
                    </a:cubicBezTo>
                    <a:cubicBezTo>
                      <a:pt x="1072201" y="2246520"/>
                      <a:pt x="1119727" y="2198994"/>
                      <a:pt x="1178353" y="2198994"/>
                    </a:cubicBezTo>
                    <a:close/>
                    <a:moveTo>
                      <a:pt x="666483" y="2198994"/>
                    </a:moveTo>
                    <a:cubicBezTo>
                      <a:pt x="725110" y="2198994"/>
                      <a:pt x="772636" y="2246520"/>
                      <a:pt x="772636" y="2305147"/>
                    </a:cubicBezTo>
                    <a:cubicBezTo>
                      <a:pt x="772636" y="2363774"/>
                      <a:pt x="725110" y="2411300"/>
                      <a:pt x="666483" y="2411300"/>
                    </a:cubicBezTo>
                    <a:cubicBezTo>
                      <a:pt x="607857" y="2411300"/>
                      <a:pt x="560331" y="2363774"/>
                      <a:pt x="560331" y="2305147"/>
                    </a:cubicBezTo>
                    <a:cubicBezTo>
                      <a:pt x="560331" y="2246520"/>
                      <a:pt x="607857" y="2198994"/>
                      <a:pt x="666483" y="2198994"/>
                    </a:cubicBezTo>
                    <a:close/>
                    <a:moveTo>
                      <a:pt x="154426" y="2198994"/>
                    </a:moveTo>
                    <a:cubicBezTo>
                      <a:pt x="213052" y="2198994"/>
                      <a:pt x="260578" y="2246520"/>
                      <a:pt x="260578" y="2305147"/>
                    </a:cubicBezTo>
                    <a:cubicBezTo>
                      <a:pt x="260578" y="2363774"/>
                      <a:pt x="213052" y="2411300"/>
                      <a:pt x="154426" y="2411300"/>
                    </a:cubicBezTo>
                    <a:cubicBezTo>
                      <a:pt x="95799" y="2411300"/>
                      <a:pt x="48274" y="2363774"/>
                      <a:pt x="48274" y="2305147"/>
                    </a:cubicBezTo>
                    <a:cubicBezTo>
                      <a:pt x="48274" y="2246520"/>
                      <a:pt x="95799" y="2198994"/>
                      <a:pt x="154426" y="2198994"/>
                    </a:cubicBezTo>
                    <a:close/>
                    <a:moveTo>
                      <a:pt x="11929966" y="1759082"/>
                    </a:moveTo>
                    <a:cubicBezTo>
                      <a:pt x="11980769" y="1759082"/>
                      <a:pt x="12021952" y="1800266"/>
                      <a:pt x="12021952" y="1851069"/>
                    </a:cubicBezTo>
                    <a:cubicBezTo>
                      <a:pt x="12021952" y="1901872"/>
                      <a:pt x="11980769" y="1943055"/>
                      <a:pt x="11929966" y="1943055"/>
                    </a:cubicBezTo>
                    <a:cubicBezTo>
                      <a:pt x="11879163" y="1943055"/>
                      <a:pt x="11837979" y="1901872"/>
                      <a:pt x="11837979" y="1851069"/>
                    </a:cubicBezTo>
                    <a:cubicBezTo>
                      <a:pt x="11837979" y="1800266"/>
                      <a:pt x="11879163" y="1759082"/>
                      <a:pt x="11929966" y="1759082"/>
                    </a:cubicBezTo>
                    <a:close/>
                    <a:moveTo>
                      <a:pt x="11417900" y="1759082"/>
                    </a:moveTo>
                    <a:cubicBezTo>
                      <a:pt x="11468703" y="1759082"/>
                      <a:pt x="11509887" y="1800266"/>
                      <a:pt x="11509887" y="1851069"/>
                    </a:cubicBezTo>
                    <a:cubicBezTo>
                      <a:pt x="11509887" y="1901872"/>
                      <a:pt x="11468703" y="1943055"/>
                      <a:pt x="11417900" y="1943055"/>
                    </a:cubicBezTo>
                    <a:cubicBezTo>
                      <a:pt x="11367097" y="1943055"/>
                      <a:pt x="11325913" y="1901872"/>
                      <a:pt x="11325913" y="1851069"/>
                    </a:cubicBezTo>
                    <a:cubicBezTo>
                      <a:pt x="11325913" y="1800266"/>
                      <a:pt x="11367097" y="1759082"/>
                      <a:pt x="11417900" y="1759082"/>
                    </a:cubicBezTo>
                    <a:close/>
                    <a:moveTo>
                      <a:pt x="10906023" y="1759082"/>
                    </a:moveTo>
                    <a:cubicBezTo>
                      <a:pt x="10956826" y="1759082"/>
                      <a:pt x="10998010" y="1800266"/>
                      <a:pt x="10998010" y="1851069"/>
                    </a:cubicBezTo>
                    <a:cubicBezTo>
                      <a:pt x="10998010" y="1901872"/>
                      <a:pt x="10956826" y="1943055"/>
                      <a:pt x="10906023" y="1943055"/>
                    </a:cubicBezTo>
                    <a:cubicBezTo>
                      <a:pt x="10855220" y="1943055"/>
                      <a:pt x="10814037" y="1901872"/>
                      <a:pt x="10814037" y="1851069"/>
                    </a:cubicBezTo>
                    <a:cubicBezTo>
                      <a:pt x="10814037" y="1800266"/>
                      <a:pt x="10855220" y="1759082"/>
                      <a:pt x="10906023" y="1759082"/>
                    </a:cubicBezTo>
                    <a:close/>
                    <a:moveTo>
                      <a:pt x="10393957" y="1759082"/>
                    </a:moveTo>
                    <a:cubicBezTo>
                      <a:pt x="10444760" y="1759082"/>
                      <a:pt x="10485943" y="1800266"/>
                      <a:pt x="10485943" y="1851069"/>
                    </a:cubicBezTo>
                    <a:cubicBezTo>
                      <a:pt x="10485943" y="1901872"/>
                      <a:pt x="10444760" y="1943055"/>
                      <a:pt x="10393957" y="1943055"/>
                    </a:cubicBezTo>
                    <a:cubicBezTo>
                      <a:pt x="10343153" y="1943055"/>
                      <a:pt x="10301970" y="1901872"/>
                      <a:pt x="10301970" y="1851069"/>
                    </a:cubicBezTo>
                    <a:cubicBezTo>
                      <a:pt x="10301970" y="1800266"/>
                      <a:pt x="10343153" y="1759082"/>
                      <a:pt x="10393957" y="1759082"/>
                    </a:cubicBezTo>
                    <a:close/>
                    <a:moveTo>
                      <a:pt x="9882080" y="1759082"/>
                    </a:moveTo>
                    <a:cubicBezTo>
                      <a:pt x="9932883" y="1759082"/>
                      <a:pt x="9974067" y="1800266"/>
                      <a:pt x="9974067" y="1851069"/>
                    </a:cubicBezTo>
                    <a:cubicBezTo>
                      <a:pt x="9974067" y="1901872"/>
                      <a:pt x="9932883" y="1943055"/>
                      <a:pt x="9882080" y="1943055"/>
                    </a:cubicBezTo>
                    <a:cubicBezTo>
                      <a:pt x="9831277" y="1943055"/>
                      <a:pt x="9790093" y="1901872"/>
                      <a:pt x="9790093" y="1851069"/>
                    </a:cubicBezTo>
                    <a:cubicBezTo>
                      <a:pt x="9790093" y="1800266"/>
                      <a:pt x="9831277" y="1759082"/>
                      <a:pt x="9882080" y="1759082"/>
                    </a:cubicBezTo>
                    <a:close/>
                    <a:moveTo>
                      <a:pt x="9370014" y="1759082"/>
                    </a:moveTo>
                    <a:cubicBezTo>
                      <a:pt x="9420824" y="1759082"/>
                      <a:pt x="9462000" y="1800259"/>
                      <a:pt x="9462000" y="1851069"/>
                    </a:cubicBezTo>
                    <a:cubicBezTo>
                      <a:pt x="9462000" y="1901879"/>
                      <a:pt x="9420824" y="1943055"/>
                      <a:pt x="9370014" y="1943055"/>
                    </a:cubicBezTo>
                    <a:cubicBezTo>
                      <a:pt x="9319204" y="1943055"/>
                      <a:pt x="9278027" y="1901879"/>
                      <a:pt x="9278027" y="1851069"/>
                    </a:cubicBezTo>
                    <a:cubicBezTo>
                      <a:pt x="9278027" y="1800259"/>
                      <a:pt x="9319204" y="1759082"/>
                      <a:pt x="9370014" y="1759082"/>
                    </a:cubicBezTo>
                    <a:close/>
                    <a:moveTo>
                      <a:pt x="8858137" y="1759082"/>
                    </a:moveTo>
                    <a:cubicBezTo>
                      <a:pt x="8908940" y="1759082"/>
                      <a:pt x="8950123" y="1800266"/>
                      <a:pt x="8950123" y="1851069"/>
                    </a:cubicBezTo>
                    <a:cubicBezTo>
                      <a:pt x="8950123" y="1901872"/>
                      <a:pt x="8908940" y="1943055"/>
                      <a:pt x="8858137" y="1943055"/>
                    </a:cubicBezTo>
                    <a:cubicBezTo>
                      <a:pt x="8807334" y="1943055"/>
                      <a:pt x="8766150" y="1901872"/>
                      <a:pt x="8766150" y="1851069"/>
                    </a:cubicBezTo>
                    <a:cubicBezTo>
                      <a:pt x="8766150" y="1800266"/>
                      <a:pt x="8807334" y="1759082"/>
                      <a:pt x="8858137" y="1759082"/>
                    </a:cubicBezTo>
                    <a:close/>
                    <a:moveTo>
                      <a:pt x="8346071" y="1759082"/>
                    </a:moveTo>
                    <a:cubicBezTo>
                      <a:pt x="8396874" y="1759082"/>
                      <a:pt x="8438058" y="1800266"/>
                      <a:pt x="8438058" y="1851069"/>
                    </a:cubicBezTo>
                    <a:cubicBezTo>
                      <a:pt x="8438058" y="1901872"/>
                      <a:pt x="8396874" y="1943055"/>
                      <a:pt x="8346071" y="1943055"/>
                    </a:cubicBezTo>
                    <a:cubicBezTo>
                      <a:pt x="8295268" y="1943055"/>
                      <a:pt x="8254084" y="1901872"/>
                      <a:pt x="8254084" y="1851069"/>
                    </a:cubicBezTo>
                    <a:cubicBezTo>
                      <a:pt x="8254084" y="1800266"/>
                      <a:pt x="8295268" y="1759082"/>
                      <a:pt x="8346071" y="1759082"/>
                    </a:cubicBezTo>
                    <a:close/>
                    <a:moveTo>
                      <a:pt x="7834005" y="1759082"/>
                    </a:moveTo>
                    <a:cubicBezTo>
                      <a:pt x="7884815" y="1759082"/>
                      <a:pt x="7925992" y="1800259"/>
                      <a:pt x="7925992" y="1851069"/>
                    </a:cubicBezTo>
                    <a:cubicBezTo>
                      <a:pt x="7925992" y="1901879"/>
                      <a:pt x="7884815" y="1943055"/>
                      <a:pt x="7834005" y="1943055"/>
                    </a:cubicBezTo>
                    <a:cubicBezTo>
                      <a:pt x="7783195" y="1943055"/>
                      <a:pt x="7742018" y="1901879"/>
                      <a:pt x="7742018" y="1851069"/>
                    </a:cubicBezTo>
                    <a:cubicBezTo>
                      <a:pt x="7742018" y="1800259"/>
                      <a:pt x="7783195" y="1759082"/>
                      <a:pt x="7834005" y="1759082"/>
                    </a:cubicBezTo>
                    <a:close/>
                    <a:moveTo>
                      <a:pt x="7322128" y="1759082"/>
                    </a:moveTo>
                    <a:cubicBezTo>
                      <a:pt x="7372931" y="1759082"/>
                      <a:pt x="7414115" y="1800266"/>
                      <a:pt x="7414115" y="1851069"/>
                    </a:cubicBezTo>
                    <a:cubicBezTo>
                      <a:pt x="7414115" y="1901872"/>
                      <a:pt x="7372931" y="1943055"/>
                      <a:pt x="7322128" y="1943055"/>
                    </a:cubicBezTo>
                    <a:cubicBezTo>
                      <a:pt x="7271325" y="1943055"/>
                      <a:pt x="7230141" y="1901872"/>
                      <a:pt x="7230141" y="1851069"/>
                    </a:cubicBezTo>
                    <a:cubicBezTo>
                      <a:pt x="7230141" y="1800266"/>
                      <a:pt x="7271325" y="1759082"/>
                      <a:pt x="7322128" y="1759082"/>
                    </a:cubicBezTo>
                    <a:close/>
                    <a:moveTo>
                      <a:pt x="6810062" y="1759082"/>
                    </a:moveTo>
                    <a:cubicBezTo>
                      <a:pt x="6860865" y="1759082"/>
                      <a:pt x="6902048" y="1800266"/>
                      <a:pt x="6902048" y="1851069"/>
                    </a:cubicBezTo>
                    <a:cubicBezTo>
                      <a:pt x="6902048" y="1901872"/>
                      <a:pt x="6860865" y="1943055"/>
                      <a:pt x="6810062" y="1943055"/>
                    </a:cubicBezTo>
                    <a:cubicBezTo>
                      <a:pt x="6759259" y="1943055"/>
                      <a:pt x="6718075" y="1901872"/>
                      <a:pt x="6718075" y="1851069"/>
                    </a:cubicBezTo>
                    <a:cubicBezTo>
                      <a:pt x="6718075" y="1800266"/>
                      <a:pt x="6759259" y="1759082"/>
                      <a:pt x="6810062" y="1759082"/>
                    </a:cubicBezTo>
                    <a:close/>
                    <a:moveTo>
                      <a:pt x="6298186" y="1759082"/>
                    </a:moveTo>
                    <a:cubicBezTo>
                      <a:pt x="6348988" y="1759082"/>
                      <a:pt x="6390172" y="1800266"/>
                      <a:pt x="6390172" y="1851069"/>
                    </a:cubicBezTo>
                    <a:cubicBezTo>
                      <a:pt x="6390172" y="1901872"/>
                      <a:pt x="6348988" y="1943055"/>
                      <a:pt x="6298186" y="1943055"/>
                    </a:cubicBezTo>
                    <a:cubicBezTo>
                      <a:pt x="6247383" y="1943055"/>
                      <a:pt x="6206198" y="1901872"/>
                      <a:pt x="6206198" y="1851069"/>
                    </a:cubicBezTo>
                    <a:cubicBezTo>
                      <a:pt x="6206198" y="1800266"/>
                      <a:pt x="6247383" y="1759082"/>
                      <a:pt x="6298186" y="1759082"/>
                    </a:cubicBezTo>
                    <a:close/>
                    <a:moveTo>
                      <a:pt x="5786126" y="1759082"/>
                    </a:moveTo>
                    <a:cubicBezTo>
                      <a:pt x="5836927" y="1759082"/>
                      <a:pt x="5878110" y="1800266"/>
                      <a:pt x="5878110" y="1851069"/>
                    </a:cubicBezTo>
                    <a:cubicBezTo>
                      <a:pt x="5878110" y="1901872"/>
                      <a:pt x="5836927" y="1943055"/>
                      <a:pt x="5786126" y="1943055"/>
                    </a:cubicBezTo>
                    <a:cubicBezTo>
                      <a:pt x="5735326" y="1943055"/>
                      <a:pt x="5694144" y="1901872"/>
                      <a:pt x="5694144" y="1851069"/>
                    </a:cubicBezTo>
                    <a:cubicBezTo>
                      <a:pt x="5694144" y="1800266"/>
                      <a:pt x="5735326" y="1759082"/>
                      <a:pt x="5786126" y="1759082"/>
                    </a:cubicBezTo>
                    <a:close/>
                    <a:moveTo>
                      <a:pt x="5274270" y="1759082"/>
                    </a:moveTo>
                    <a:cubicBezTo>
                      <a:pt x="5325073" y="1759082"/>
                      <a:pt x="5366255" y="1800266"/>
                      <a:pt x="5366255" y="1851069"/>
                    </a:cubicBezTo>
                    <a:cubicBezTo>
                      <a:pt x="5366255" y="1901872"/>
                      <a:pt x="5325073" y="1943055"/>
                      <a:pt x="5274270" y="1943055"/>
                    </a:cubicBezTo>
                    <a:cubicBezTo>
                      <a:pt x="5223463" y="1943055"/>
                      <a:pt x="5182283" y="1901872"/>
                      <a:pt x="5182283" y="1851069"/>
                    </a:cubicBezTo>
                    <a:cubicBezTo>
                      <a:pt x="5182283" y="1800266"/>
                      <a:pt x="5223463" y="1759082"/>
                      <a:pt x="5274270" y="1759082"/>
                    </a:cubicBezTo>
                    <a:close/>
                    <a:moveTo>
                      <a:pt x="4762180" y="1759082"/>
                    </a:moveTo>
                    <a:cubicBezTo>
                      <a:pt x="4813000" y="1759082"/>
                      <a:pt x="4854198" y="1800266"/>
                      <a:pt x="4854198" y="1851069"/>
                    </a:cubicBezTo>
                    <a:cubicBezTo>
                      <a:pt x="4854198" y="1901872"/>
                      <a:pt x="4813000" y="1943055"/>
                      <a:pt x="4762180" y="1943055"/>
                    </a:cubicBezTo>
                    <a:cubicBezTo>
                      <a:pt x="4711390" y="1943055"/>
                      <a:pt x="4670207" y="1901872"/>
                      <a:pt x="4670207" y="1851069"/>
                    </a:cubicBezTo>
                    <a:cubicBezTo>
                      <a:pt x="4670207" y="1800266"/>
                      <a:pt x="4711390" y="1759082"/>
                      <a:pt x="4762180" y="1759082"/>
                    </a:cubicBezTo>
                    <a:close/>
                    <a:moveTo>
                      <a:pt x="4250316" y="1759082"/>
                    </a:moveTo>
                    <a:cubicBezTo>
                      <a:pt x="4301123" y="1759082"/>
                      <a:pt x="4342309" y="1800266"/>
                      <a:pt x="4342309" y="1851069"/>
                    </a:cubicBezTo>
                    <a:cubicBezTo>
                      <a:pt x="4342309" y="1901872"/>
                      <a:pt x="4301123" y="1943055"/>
                      <a:pt x="4250316" y="1943055"/>
                    </a:cubicBezTo>
                    <a:cubicBezTo>
                      <a:pt x="4199512" y="1943055"/>
                      <a:pt x="4158324" y="1901872"/>
                      <a:pt x="4158324" y="1851069"/>
                    </a:cubicBezTo>
                    <a:cubicBezTo>
                      <a:pt x="4158324" y="1800266"/>
                      <a:pt x="4199512" y="1759082"/>
                      <a:pt x="4250316" y="1759082"/>
                    </a:cubicBezTo>
                    <a:close/>
                    <a:moveTo>
                      <a:pt x="3738289" y="1759082"/>
                    </a:moveTo>
                    <a:cubicBezTo>
                      <a:pt x="3789088" y="1759082"/>
                      <a:pt x="3830274" y="1800266"/>
                      <a:pt x="3830274" y="1851069"/>
                    </a:cubicBezTo>
                    <a:cubicBezTo>
                      <a:pt x="3830274" y="1901872"/>
                      <a:pt x="3789088" y="1943055"/>
                      <a:pt x="3738289" y="1943055"/>
                    </a:cubicBezTo>
                    <a:cubicBezTo>
                      <a:pt x="3687479" y="1943055"/>
                      <a:pt x="3646291" y="1901872"/>
                      <a:pt x="3646291" y="1851069"/>
                    </a:cubicBezTo>
                    <a:cubicBezTo>
                      <a:pt x="3646291" y="1800266"/>
                      <a:pt x="3687479" y="1759082"/>
                      <a:pt x="3738289" y="1759082"/>
                    </a:cubicBezTo>
                    <a:close/>
                    <a:moveTo>
                      <a:pt x="3226242" y="1759082"/>
                    </a:moveTo>
                    <a:cubicBezTo>
                      <a:pt x="3277050" y="1759082"/>
                      <a:pt x="3318235" y="1800266"/>
                      <a:pt x="3318235" y="1851069"/>
                    </a:cubicBezTo>
                    <a:cubicBezTo>
                      <a:pt x="3318235" y="1901872"/>
                      <a:pt x="3277050" y="1943055"/>
                      <a:pt x="3226242" y="1943055"/>
                    </a:cubicBezTo>
                    <a:cubicBezTo>
                      <a:pt x="3175434" y="1943055"/>
                      <a:pt x="3134252" y="1901872"/>
                      <a:pt x="3134252" y="1851069"/>
                    </a:cubicBezTo>
                    <a:cubicBezTo>
                      <a:pt x="3134252" y="1800266"/>
                      <a:pt x="3175434" y="1759082"/>
                      <a:pt x="3226242" y="1759082"/>
                    </a:cubicBezTo>
                    <a:close/>
                    <a:moveTo>
                      <a:pt x="2714363" y="1759082"/>
                    </a:moveTo>
                    <a:cubicBezTo>
                      <a:pt x="2765166" y="1759082"/>
                      <a:pt x="2806350" y="1800266"/>
                      <a:pt x="2806350" y="1851069"/>
                    </a:cubicBezTo>
                    <a:cubicBezTo>
                      <a:pt x="2806350" y="1901872"/>
                      <a:pt x="2765166" y="1943055"/>
                      <a:pt x="2714363" y="1943055"/>
                    </a:cubicBezTo>
                    <a:cubicBezTo>
                      <a:pt x="2663558" y="1943055"/>
                      <a:pt x="2622376" y="1901872"/>
                      <a:pt x="2622376" y="1851069"/>
                    </a:cubicBezTo>
                    <a:cubicBezTo>
                      <a:pt x="2622376" y="1800266"/>
                      <a:pt x="2663558" y="1759082"/>
                      <a:pt x="2714363" y="1759082"/>
                    </a:cubicBezTo>
                    <a:close/>
                    <a:moveTo>
                      <a:pt x="2202305" y="1759082"/>
                    </a:moveTo>
                    <a:cubicBezTo>
                      <a:pt x="2253108" y="1759082"/>
                      <a:pt x="2294291" y="1800266"/>
                      <a:pt x="2294291" y="1851069"/>
                    </a:cubicBezTo>
                    <a:cubicBezTo>
                      <a:pt x="2294291" y="1901872"/>
                      <a:pt x="2253108" y="1943055"/>
                      <a:pt x="2202305" y="1943055"/>
                    </a:cubicBezTo>
                    <a:cubicBezTo>
                      <a:pt x="2151502" y="1943055"/>
                      <a:pt x="2110320" y="1901872"/>
                      <a:pt x="2110320" y="1851069"/>
                    </a:cubicBezTo>
                    <a:cubicBezTo>
                      <a:pt x="2110320" y="1800266"/>
                      <a:pt x="2151502" y="1759082"/>
                      <a:pt x="2202305" y="1759082"/>
                    </a:cubicBezTo>
                    <a:close/>
                    <a:moveTo>
                      <a:pt x="1690412" y="1759082"/>
                    </a:moveTo>
                    <a:cubicBezTo>
                      <a:pt x="1741215" y="1759082"/>
                      <a:pt x="1782398" y="1800266"/>
                      <a:pt x="1782398" y="1851069"/>
                    </a:cubicBezTo>
                    <a:cubicBezTo>
                      <a:pt x="1782398" y="1901872"/>
                      <a:pt x="1741215" y="1943055"/>
                      <a:pt x="1690412" y="1943055"/>
                    </a:cubicBezTo>
                    <a:cubicBezTo>
                      <a:pt x="1639610" y="1943055"/>
                      <a:pt x="1598426" y="1901872"/>
                      <a:pt x="1598426" y="1851069"/>
                    </a:cubicBezTo>
                    <a:cubicBezTo>
                      <a:pt x="1598426" y="1800266"/>
                      <a:pt x="1639610" y="1759082"/>
                      <a:pt x="1690412" y="1759082"/>
                    </a:cubicBezTo>
                    <a:close/>
                    <a:moveTo>
                      <a:pt x="1178353" y="1759082"/>
                    </a:moveTo>
                    <a:cubicBezTo>
                      <a:pt x="1229156" y="1759082"/>
                      <a:pt x="1270339" y="1800266"/>
                      <a:pt x="1270339" y="1851069"/>
                    </a:cubicBezTo>
                    <a:cubicBezTo>
                      <a:pt x="1270339" y="1901872"/>
                      <a:pt x="1229156" y="1943055"/>
                      <a:pt x="1178353" y="1943055"/>
                    </a:cubicBezTo>
                    <a:cubicBezTo>
                      <a:pt x="1127551" y="1943055"/>
                      <a:pt x="1086367" y="1901872"/>
                      <a:pt x="1086367" y="1851069"/>
                    </a:cubicBezTo>
                    <a:cubicBezTo>
                      <a:pt x="1086367" y="1800266"/>
                      <a:pt x="1127551" y="1759082"/>
                      <a:pt x="1178353" y="1759082"/>
                    </a:cubicBezTo>
                    <a:close/>
                    <a:moveTo>
                      <a:pt x="666483" y="1759082"/>
                    </a:moveTo>
                    <a:cubicBezTo>
                      <a:pt x="717286" y="1759082"/>
                      <a:pt x="758469" y="1800266"/>
                      <a:pt x="758469" y="1851069"/>
                    </a:cubicBezTo>
                    <a:cubicBezTo>
                      <a:pt x="758469" y="1901872"/>
                      <a:pt x="717286" y="1943055"/>
                      <a:pt x="666483" y="1943055"/>
                    </a:cubicBezTo>
                    <a:cubicBezTo>
                      <a:pt x="615681" y="1943055"/>
                      <a:pt x="574497" y="1901872"/>
                      <a:pt x="574497" y="1851069"/>
                    </a:cubicBezTo>
                    <a:cubicBezTo>
                      <a:pt x="574497" y="1800266"/>
                      <a:pt x="615681" y="1759082"/>
                      <a:pt x="666483" y="1759082"/>
                    </a:cubicBezTo>
                    <a:close/>
                    <a:moveTo>
                      <a:pt x="154424" y="1759082"/>
                    </a:moveTo>
                    <a:cubicBezTo>
                      <a:pt x="205227" y="1759082"/>
                      <a:pt x="246411" y="1800266"/>
                      <a:pt x="246411" y="1851069"/>
                    </a:cubicBezTo>
                    <a:cubicBezTo>
                      <a:pt x="246411" y="1901872"/>
                      <a:pt x="205227" y="1943055"/>
                      <a:pt x="154424" y="1943055"/>
                    </a:cubicBezTo>
                    <a:cubicBezTo>
                      <a:pt x="103622" y="1943055"/>
                      <a:pt x="62438" y="1901872"/>
                      <a:pt x="62438" y="1851069"/>
                    </a:cubicBezTo>
                    <a:cubicBezTo>
                      <a:pt x="62438" y="1800266"/>
                      <a:pt x="103622" y="1759082"/>
                      <a:pt x="154424" y="1759082"/>
                    </a:cubicBezTo>
                    <a:close/>
                    <a:moveTo>
                      <a:pt x="11929965" y="1319549"/>
                    </a:moveTo>
                    <a:cubicBezTo>
                      <a:pt x="11972840" y="1319549"/>
                      <a:pt x="12007597" y="1354306"/>
                      <a:pt x="12007597" y="1397181"/>
                    </a:cubicBezTo>
                    <a:cubicBezTo>
                      <a:pt x="12007597" y="1440054"/>
                      <a:pt x="11972840" y="1474811"/>
                      <a:pt x="11929965" y="1474811"/>
                    </a:cubicBezTo>
                    <a:cubicBezTo>
                      <a:pt x="11887091" y="1474811"/>
                      <a:pt x="11852334" y="1440054"/>
                      <a:pt x="11852334" y="1397181"/>
                    </a:cubicBezTo>
                    <a:cubicBezTo>
                      <a:pt x="11852334" y="1354306"/>
                      <a:pt x="11887091" y="1319549"/>
                      <a:pt x="11929965" y="1319549"/>
                    </a:cubicBezTo>
                    <a:close/>
                    <a:moveTo>
                      <a:pt x="11417900" y="1319549"/>
                    </a:moveTo>
                    <a:cubicBezTo>
                      <a:pt x="11460775" y="1319549"/>
                      <a:pt x="11495531" y="1354306"/>
                      <a:pt x="11495531" y="1397181"/>
                    </a:cubicBezTo>
                    <a:cubicBezTo>
                      <a:pt x="11495531" y="1440054"/>
                      <a:pt x="11460775" y="1474811"/>
                      <a:pt x="11417900" y="1474811"/>
                    </a:cubicBezTo>
                    <a:cubicBezTo>
                      <a:pt x="11375025" y="1474811"/>
                      <a:pt x="11340268" y="1440054"/>
                      <a:pt x="11340268" y="1397181"/>
                    </a:cubicBezTo>
                    <a:cubicBezTo>
                      <a:pt x="11340268" y="1354306"/>
                      <a:pt x="11375025" y="1319549"/>
                      <a:pt x="11417900" y="1319549"/>
                    </a:cubicBezTo>
                    <a:close/>
                    <a:moveTo>
                      <a:pt x="10906023" y="1319549"/>
                    </a:moveTo>
                    <a:cubicBezTo>
                      <a:pt x="10948898" y="1319549"/>
                      <a:pt x="10983654" y="1354306"/>
                      <a:pt x="10983654" y="1397181"/>
                    </a:cubicBezTo>
                    <a:cubicBezTo>
                      <a:pt x="10983654" y="1440054"/>
                      <a:pt x="10948898" y="1474811"/>
                      <a:pt x="10906023" y="1474811"/>
                    </a:cubicBezTo>
                    <a:cubicBezTo>
                      <a:pt x="10863148" y="1474811"/>
                      <a:pt x="10828392" y="1440054"/>
                      <a:pt x="10828392" y="1397181"/>
                    </a:cubicBezTo>
                    <a:cubicBezTo>
                      <a:pt x="10828392" y="1354306"/>
                      <a:pt x="10863148" y="1319549"/>
                      <a:pt x="10906023" y="1319549"/>
                    </a:cubicBezTo>
                    <a:close/>
                    <a:moveTo>
                      <a:pt x="10393956" y="1319549"/>
                    </a:moveTo>
                    <a:cubicBezTo>
                      <a:pt x="10436831" y="1319549"/>
                      <a:pt x="10471588" y="1354306"/>
                      <a:pt x="10471588" y="1397181"/>
                    </a:cubicBezTo>
                    <a:cubicBezTo>
                      <a:pt x="10471588" y="1440054"/>
                      <a:pt x="10436831" y="1474811"/>
                      <a:pt x="10393956" y="1474811"/>
                    </a:cubicBezTo>
                    <a:cubicBezTo>
                      <a:pt x="10351081" y="1474811"/>
                      <a:pt x="10316325" y="1440054"/>
                      <a:pt x="10316325" y="1397181"/>
                    </a:cubicBezTo>
                    <a:cubicBezTo>
                      <a:pt x="10316325" y="1354306"/>
                      <a:pt x="10351081" y="1319549"/>
                      <a:pt x="10393956" y="1319549"/>
                    </a:cubicBezTo>
                    <a:close/>
                    <a:moveTo>
                      <a:pt x="9882080" y="1319549"/>
                    </a:moveTo>
                    <a:cubicBezTo>
                      <a:pt x="9924955" y="1319549"/>
                      <a:pt x="9959711" y="1354306"/>
                      <a:pt x="9959711" y="1397181"/>
                    </a:cubicBezTo>
                    <a:cubicBezTo>
                      <a:pt x="9959711" y="1440054"/>
                      <a:pt x="9924955" y="1474811"/>
                      <a:pt x="9882080" y="1474811"/>
                    </a:cubicBezTo>
                    <a:cubicBezTo>
                      <a:pt x="9839205" y="1474811"/>
                      <a:pt x="9804449" y="1440054"/>
                      <a:pt x="9804449" y="1397181"/>
                    </a:cubicBezTo>
                    <a:cubicBezTo>
                      <a:pt x="9804449" y="1354306"/>
                      <a:pt x="9839205" y="1319549"/>
                      <a:pt x="9882080" y="1319549"/>
                    </a:cubicBezTo>
                    <a:close/>
                    <a:moveTo>
                      <a:pt x="9370013" y="1319549"/>
                    </a:moveTo>
                    <a:cubicBezTo>
                      <a:pt x="9412890" y="1319549"/>
                      <a:pt x="9447645" y="1354303"/>
                      <a:pt x="9447645" y="1397181"/>
                    </a:cubicBezTo>
                    <a:cubicBezTo>
                      <a:pt x="9447645" y="1440056"/>
                      <a:pt x="9412890" y="1474811"/>
                      <a:pt x="9370013" y="1474811"/>
                    </a:cubicBezTo>
                    <a:cubicBezTo>
                      <a:pt x="9327137" y="1474811"/>
                      <a:pt x="9292382" y="1440056"/>
                      <a:pt x="9292382" y="1397181"/>
                    </a:cubicBezTo>
                    <a:cubicBezTo>
                      <a:pt x="9292382" y="1354303"/>
                      <a:pt x="9327137" y="1319549"/>
                      <a:pt x="9370013" y="1319549"/>
                    </a:cubicBezTo>
                    <a:close/>
                    <a:moveTo>
                      <a:pt x="8858136" y="1319549"/>
                    </a:moveTo>
                    <a:cubicBezTo>
                      <a:pt x="8901013" y="1319549"/>
                      <a:pt x="8935768" y="1354303"/>
                      <a:pt x="8935768" y="1397181"/>
                    </a:cubicBezTo>
                    <a:cubicBezTo>
                      <a:pt x="8935768" y="1440056"/>
                      <a:pt x="8901013" y="1474811"/>
                      <a:pt x="8858136" y="1474811"/>
                    </a:cubicBezTo>
                    <a:cubicBezTo>
                      <a:pt x="8815260" y="1474811"/>
                      <a:pt x="8780505" y="1440056"/>
                      <a:pt x="8780505" y="1397181"/>
                    </a:cubicBezTo>
                    <a:cubicBezTo>
                      <a:pt x="8780505" y="1354303"/>
                      <a:pt x="8815260" y="1319549"/>
                      <a:pt x="8858136" y="1319549"/>
                    </a:cubicBezTo>
                    <a:close/>
                    <a:moveTo>
                      <a:pt x="8346071" y="1319549"/>
                    </a:moveTo>
                    <a:cubicBezTo>
                      <a:pt x="8388947" y="1319549"/>
                      <a:pt x="8423702" y="1354303"/>
                      <a:pt x="8423702" y="1397181"/>
                    </a:cubicBezTo>
                    <a:cubicBezTo>
                      <a:pt x="8423702" y="1440056"/>
                      <a:pt x="8388947" y="1474811"/>
                      <a:pt x="8346071" y="1474811"/>
                    </a:cubicBezTo>
                    <a:cubicBezTo>
                      <a:pt x="8303194" y="1474811"/>
                      <a:pt x="8268439" y="1440056"/>
                      <a:pt x="8268439" y="1397181"/>
                    </a:cubicBezTo>
                    <a:cubicBezTo>
                      <a:pt x="8268439" y="1354303"/>
                      <a:pt x="8303194" y="1319549"/>
                      <a:pt x="8346071" y="1319549"/>
                    </a:cubicBezTo>
                    <a:close/>
                    <a:moveTo>
                      <a:pt x="7834193" y="1319549"/>
                    </a:moveTo>
                    <a:cubicBezTo>
                      <a:pt x="7877070" y="1319549"/>
                      <a:pt x="7911825" y="1354303"/>
                      <a:pt x="7911825" y="1397181"/>
                    </a:cubicBezTo>
                    <a:cubicBezTo>
                      <a:pt x="7911825" y="1440056"/>
                      <a:pt x="7877070" y="1474811"/>
                      <a:pt x="7834193" y="1474811"/>
                    </a:cubicBezTo>
                    <a:cubicBezTo>
                      <a:pt x="7791317" y="1474811"/>
                      <a:pt x="7756562" y="1440056"/>
                      <a:pt x="7756562" y="1397181"/>
                    </a:cubicBezTo>
                    <a:cubicBezTo>
                      <a:pt x="7756562" y="1354303"/>
                      <a:pt x="7791317" y="1319549"/>
                      <a:pt x="7834193" y="1319549"/>
                    </a:cubicBezTo>
                    <a:close/>
                    <a:moveTo>
                      <a:pt x="7322128" y="1319549"/>
                    </a:moveTo>
                    <a:cubicBezTo>
                      <a:pt x="7365004" y="1319549"/>
                      <a:pt x="7399759" y="1354303"/>
                      <a:pt x="7399759" y="1397181"/>
                    </a:cubicBezTo>
                    <a:cubicBezTo>
                      <a:pt x="7399759" y="1440056"/>
                      <a:pt x="7365004" y="1474811"/>
                      <a:pt x="7322128" y="1474811"/>
                    </a:cubicBezTo>
                    <a:cubicBezTo>
                      <a:pt x="7279251" y="1474811"/>
                      <a:pt x="7244496" y="1440056"/>
                      <a:pt x="7244496" y="1397181"/>
                    </a:cubicBezTo>
                    <a:cubicBezTo>
                      <a:pt x="7244496" y="1354303"/>
                      <a:pt x="7279251" y="1319549"/>
                      <a:pt x="7322128" y="1319549"/>
                    </a:cubicBezTo>
                    <a:close/>
                    <a:moveTo>
                      <a:pt x="6810251" y="1319549"/>
                    </a:moveTo>
                    <a:cubicBezTo>
                      <a:pt x="6853127" y="1319549"/>
                      <a:pt x="6887882" y="1354303"/>
                      <a:pt x="6887882" y="1397181"/>
                    </a:cubicBezTo>
                    <a:cubicBezTo>
                      <a:pt x="6887882" y="1440056"/>
                      <a:pt x="6853127" y="1474811"/>
                      <a:pt x="6810251" y="1474811"/>
                    </a:cubicBezTo>
                    <a:cubicBezTo>
                      <a:pt x="6767374" y="1474811"/>
                      <a:pt x="6732619" y="1440056"/>
                      <a:pt x="6732619" y="1397181"/>
                    </a:cubicBezTo>
                    <a:cubicBezTo>
                      <a:pt x="6732619" y="1354303"/>
                      <a:pt x="6767374" y="1319549"/>
                      <a:pt x="6810251" y="1319549"/>
                    </a:cubicBezTo>
                    <a:close/>
                    <a:moveTo>
                      <a:pt x="6298184" y="1319549"/>
                    </a:moveTo>
                    <a:cubicBezTo>
                      <a:pt x="6341061" y="1319549"/>
                      <a:pt x="6375816" y="1354303"/>
                      <a:pt x="6375816" y="1397181"/>
                    </a:cubicBezTo>
                    <a:cubicBezTo>
                      <a:pt x="6375816" y="1440056"/>
                      <a:pt x="6341061" y="1474811"/>
                      <a:pt x="6298184" y="1474811"/>
                    </a:cubicBezTo>
                    <a:cubicBezTo>
                      <a:pt x="6255309" y="1474811"/>
                      <a:pt x="6220554" y="1440056"/>
                      <a:pt x="6220554" y="1397181"/>
                    </a:cubicBezTo>
                    <a:cubicBezTo>
                      <a:pt x="6220554" y="1354303"/>
                      <a:pt x="6255309" y="1319549"/>
                      <a:pt x="6298184" y="1319549"/>
                    </a:cubicBezTo>
                    <a:close/>
                    <a:moveTo>
                      <a:pt x="5786126" y="1319549"/>
                    </a:moveTo>
                    <a:cubicBezTo>
                      <a:pt x="5829001" y="1319549"/>
                      <a:pt x="5863754" y="1354303"/>
                      <a:pt x="5863754" y="1397181"/>
                    </a:cubicBezTo>
                    <a:cubicBezTo>
                      <a:pt x="5863754" y="1440056"/>
                      <a:pt x="5829001" y="1474811"/>
                      <a:pt x="5786126" y="1474811"/>
                    </a:cubicBezTo>
                    <a:cubicBezTo>
                      <a:pt x="5743252" y="1474811"/>
                      <a:pt x="5708497" y="1440056"/>
                      <a:pt x="5708497" y="1397181"/>
                    </a:cubicBezTo>
                    <a:cubicBezTo>
                      <a:pt x="5708497" y="1354303"/>
                      <a:pt x="5743252" y="1319549"/>
                      <a:pt x="5786126" y="1319549"/>
                    </a:cubicBezTo>
                    <a:close/>
                    <a:moveTo>
                      <a:pt x="5274270" y="1319549"/>
                    </a:moveTo>
                    <a:cubicBezTo>
                      <a:pt x="5317143" y="1319549"/>
                      <a:pt x="5351901" y="1354306"/>
                      <a:pt x="5351901" y="1397181"/>
                    </a:cubicBezTo>
                    <a:cubicBezTo>
                      <a:pt x="5351901" y="1440054"/>
                      <a:pt x="5317143" y="1474811"/>
                      <a:pt x="5274270" y="1474811"/>
                    </a:cubicBezTo>
                    <a:cubicBezTo>
                      <a:pt x="5231396" y="1474811"/>
                      <a:pt x="5196640" y="1440054"/>
                      <a:pt x="5196640" y="1397181"/>
                    </a:cubicBezTo>
                    <a:cubicBezTo>
                      <a:pt x="5196640" y="1354306"/>
                      <a:pt x="5231396" y="1319549"/>
                      <a:pt x="5274270" y="1319549"/>
                    </a:cubicBezTo>
                    <a:close/>
                    <a:moveTo>
                      <a:pt x="4762180" y="1319549"/>
                    </a:moveTo>
                    <a:cubicBezTo>
                      <a:pt x="4805070" y="1319549"/>
                      <a:pt x="4839836" y="1354306"/>
                      <a:pt x="4839836" y="1397181"/>
                    </a:cubicBezTo>
                    <a:cubicBezTo>
                      <a:pt x="4839836" y="1440054"/>
                      <a:pt x="4805070" y="1474811"/>
                      <a:pt x="4762180" y="1474811"/>
                    </a:cubicBezTo>
                    <a:cubicBezTo>
                      <a:pt x="4719317" y="1474811"/>
                      <a:pt x="4684568" y="1440054"/>
                      <a:pt x="4684568" y="1397181"/>
                    </a:cubicBezTo>
                    <a:cubicBezTo>
                      <a:pt x="4684568" y="1354306"/>
                      <a:pt x="4719317" y="1319549"/>
                      <a:pt x="4762180" y="1319549"/>
                    </a:cubicBezTo>
                    <a:close/>
                    <a:moveTo>
                      <a:pt x="4250316" y="1319549"/>
                    </a:moveTo>
                    <a:cubicBezTo>
                      <a:pt x="4293194" y="1319549"/>
                      <a:pt x="4327952" y="1354306"/>
                      <a:pt x="4327952" y="1397181"/>
                    </a:cubicBezTo>
                    <a:cubicBezTo>
                      <a:pt x="4327952" y="1440054"/>
                      <a:pt x="4293194" y="1474811"/>
                      <a:pt x="4250316" y="1474811"/>
                    </a:cubicBezTo>
                    <a:cubicBezTo>
                      <a:pt x="4207439" y="1474811"/>
                      <a:pt x="4172680" y="1440054"/>
                      <a:pt x="4172680" y="1397181"/>
                    </a:cubicBezTo>
                    <a:cubicBezTo>
                      <a:pt x="4172680" y="1354306"/>
                      <a:pt x="4207439" y="1319549"/>
                      <a:pt x="4250316" y="1319549"/>
                    </a:cubicBezTo>
                    <a:close/>
                    <a:moveTo>
                      <a:pt x="3738287" y="1319549"/>
                    </a:moveTo>
                    <a:cubicBezTo>
                      <a:pt x="3781162" y="1319549"/>
                      <a:pt x="3815917" y="1354306"/>
                      <a:pt x="3815917" y="1397181"/>
                    </a:cubicBezTo>
                    <a:cubicBezTo>
                      <a:pt x="3815917" y="1440054"/>
                      <a:pt x="3781162" y="1474811"/>
                      <a:pt x="3738287" y="1474811"/>
                    </a:cubicBezTo>
                    <a:cubicBezTo>
                      <a:pt x="3695408" y="1474811"/>
                      <a:pt x="3660647" y="1440054"/>
                      <a:pt x="3660647" y="1397181"/>
                    </a:cubicBezTo>
                    <a:cubicBezTo>
                      <a:pt x="3660647" y="1354306"/>
                      <a:pt x="3695408" y="1319549"/>
                      <a:pt x="3738287" y="1319549"/>
                    </a:cubicBezTo>
                    <a:close/>
                    <a:moveTo>
                      <a:pt x="3226239" y="1319549"/>
                    </a:moveTo>
                    <a:cubicBezTo>
                      <a:pt x="3269119" y="1319549"/>
                      <a:pt x="3303877" y="1354306"/>
                      <a:pt x="3303877" y="1397181"/>
                    </a:cubicBezTo>
                    <a:cubicBezTo>
                      <a:pt x="3303877" y="1440054"/>
                      <a:pt x="3269119" y="1474811"/>
                      <a:pt x="3226239" y="1474811"/>
                    </a:cubicBezTo>
                    <a:cubicBezTo>
                      <a:pt x="3183364" y="1474811"/>
                      <a:pt x="3148605" y="1440054"/>
                      <a:pt x="3148605" y="1397181"/>
                    </a:cubicBezTo>
                    <a:cubicBezTo>
                      <a:pt x="3148605" y="1354306"/>
                      <a:pt x="3183364" y="1319549"/>
                      <a:pt x="3226239" y="1319549"/>
                    </a:cubicBezTo>
                    <a:close/>
                    <a:moveTo>
                      <a:pt x="2714362" y="1319549"/>
                    </a:moveTo>
                    <a:cubicBezTo>
                      <a:pt x="2757237" y="1319549"/>
                      <a:pt x="2791993" y="1354306"/>
                      <a:pt x="2791993" y="1397181"/>
                    </a:cubicBezTo>
                    <a:cubicBezTo>
                      <a:pt x="2791993" y="1440054"/>
                      <a:pt x="2757237" y="1474811"/>
                      <a:pt x="2714362" y="1474811"/>
                    </a:cubicBezTo>
                    <a:cubicBezTo>
                      <a:pt x="2671488" y="1474811"/>
                      <a:pt x="2636733" y="1440054"/>
                      <a:pt x="2636733" y="1397181"/>
                    </a:cubicBezTo>
                    <a:cubicBezTo>
                      <a:pt x="2636733" y="1354306"/>
                      <a:pt x="2671488" y="1319549"/>
                      <a:pt x="2714362" y="1319549"/>
                    </a:cubicBezTo>
                    <a:close/>
                    <a:moveTo>
                      <a:pt x="2202305" y="1319549"/>
                    </a:moveTo>
                    <a:cubicBezTo>
                      <a:pt x="2245179" y="1319549"/>
                      <a:pt x="2279935" y="1354306"/>
                      <a:pt x="2279935" y="1397181"/>
                    </a:cubicBezTo>
                    <a:cubicBezTo>
                      <a:pt x="2279935" y="1440054"/>
                      <a:pt x="2245179" y="1474811"/>
                      <a:pt x="2202305" y="1474811"/>
                    </a:cubicBezTo>
                    <a:cubicBezTo>
                      <a:pt x="2159431" y="1474811"/>
                      <a:pt x="2124675" y="1440054"/>
                      <a:pt x="2124675" y="1397181"/>
                    </a:cubicBezTo>
                    <a:cubicBezTo>
                      <a:pt x="2124675" y="1354306"/>
                      <a:pt x="2159431" y="1319549"/>
                      <a:pt x="2202305" y="1319549"/>
                    </a:cubicBezTo>
                    <a:close/>
                    <a:moveTo>
                      <a:pt x="1690412" y="1319549"/>
                    </a:moveTo>
                    <a:cubicBezTo>
                      <a:pt x="1733286" y="1319549"/>
                      <a:pt x="1768043" y="1354306"/>
                      <a:pt x="1768043" y="1397181"/>
                    </a:cubicBezTo>
                    <a:cubicBezTo>
                      <a:pt x="1768043" y="1440054"/>
                      <a:pt x="1733286" y="1474811"/>
                      <a:pt x="1690412" y="1474811"/>
                    </a:cubicBezTo>
                    <a:cubicBezTo>
                      <a:pt x="1647538" y="1474811"/>
                      <a:pt x="1612781" y="1440054"/>
                      <a:pt x="1612781" y="1397181"/>
                    </a:cubicBezTo>
                    <a:cubicBezTo>
                      <a:pt x="1612781" y="1354306"/>
                      <a:pt x="1647538" y="1319549"/>
                      <a:pt x="1690412" y="1319549"/>
                    </a:cubicBezTo>
                    <a:close/>
                    <a:moveTo>
                      <a:pt x="1178353" y="1319549"/>
                    </a:moveTo>
                    <a:cubicBezTo>
                      <a:pt x="1221227" y="1319549"/>
                      <a:pt x="1255984" y="1354306"/>
                      <a:pt x="1255984" y="1397181"/>
                    </a:cubicBezTo>
                    <a:cubicBezTo>
                      <a:pt x="1255984" y="1440054"/>
                      <a:pt x="1221227" y="1474811"/>
                      <a:pt x="1178353" y="1474811"/>
                    </a:cubicBezTo>
                    <a:cubicBezTo>
                      <a:pt x="1135478" y="1474811"/>
                      <a:pt x="1100722" y="1440054"/>
                      <a:pt x="1100722" y="1397181"/>
                    </a:cubicBezTo>
                    <a:cubicBezTo>
                      <a:pt x="1100722" y="1354306"/>
                      <a:pt x="1135478" y="1319549"/>
                      <a:pt x="1178353" y="1319549"/>
                    </a:cubicBezTo>
                    <a:close/>
                    <a:moveTo>
                      <a:pt x="666483" y="1319549"/>
                    </a:moveTo>
                    <a:cubicBezTo>
                      <a:pt x="709357" y="1319549"/>
                      <a:pt x="744113" y="1354306"/>
                      <a:pt x="744113" y="1397181"/>
                    </a:cubicBezTo>
                    <a:cubicBezTo>
                      <a:pt x="744113" y="1440054"/>
                      <a:pt x="709357" y="1474811"/>
                      <a:pt x="666483" y="1474811"/>
                    </a:cubicBezTo>
                    <a:cubicBezTo>
                      <a:pt x="623608" y="1474811"/>
                      <a:pt x="588852" y="1440054"/>
                      <a:pt x="588852" y="1397181"/>
                    </a:cubicBezTo>
                    <a:cubicBezTo>
                      <a:pt x="588852" y="1354306"/>
                      <a:pt x="623608" y="1319549"/>
                      <a:pt x="666483" y="1319549"/>
                    </a:cubicBezTo>
                    <a:close/>
                    <a:moveTo>
                      <a:pt x="154424" y="1319549"/>
                    </a:moveTo>
                    <a:cubicBezTo>
                      <a:pt x="197298" y="1319549"/>
                      <a:pt x="232055" y="1354306"/>
                      <a:pt x="232055" y="1397181"/>
                    </a:cubicBezTo>
                    <a:cubicBezTo>
                      <a:pt x="232055" y="1440054"/>
                      <a:pt x="197298" y="1474811"/>
                      <a:pt x="154424" y="1474811"/>
                    </a:cubicBezTo>
                    <a:cubicBezTo>
                      <a:pt x="111550" y="1474811"/>
                      <a:pt x="76793" y="1440054"/>
                      <a:pt x="76793" y="1397181"/>
                    </a:cubicBezTo>
                    <a:cubicBezTo>
                      <a:pt x="76793" y="1354306"/>
                      <a:pt x="111550" y="1319549"/>
                      <a:pt x="154424" y="1319549"/>
                    </a:cubicBezTo>
                    <a:close/>
                    <a:moveTo>
                      <a:pt x="11929965" y="879636"/>
                    </a:moveTo>
                    <a:cubicBezTo>
                      <a:pt x="11965016" y="879636"/>
                      <a:pt x="11993430" y="908050"/>
                      <a:pt x="11993430" y="943101"/>
                    </a:cubicBezTo>
                    <a:cubicBezTo>
                      <a:pt x="11993430" y="978153"/>
                      <a:pt x="11965016" y="1006567"/>
                      <a:pt x="11929965" y="1006567"/>
                    </a:cubicBezTo>
                    <a:cubicBezTo>
                      <a:pt x="11894915" y="1006567"/>
                      <a:pt x="11866500" y="978153"/>
                      <a:pt x="11866500" y="943101"/>
                    </a:cubicBezTo>
                    <a:cubicBezTo>
                      <a:pt x="11866500" y="908050"/>
                      <a:pt x="11894915" y="879636"/>
                      <a:pt x="11929965" y="879636"/>
                    </a:cubicBezTo>
                    <a:close/>
                    <a:moveTo>
                      <a:pt x="11417899" y="879636"/>
                    </a:moveTo>
                    <a:cubicBezTo>
                      <a:pt x="11452950" y="879636"/>
                      <a:pt x="11481364" y="908050"/>
                      <a:pt x="11481364" y="943101"/>
                    </a:cubicBezTo>
                    <a:cubicBezTo>
                      <a:pt x="11481364" y="978153"/>
                      <a:pt x="11452950" y="1006567"/>
                      <a:pt x="11417899" y="1006567"/>
                    </a:cubicBezTo>
                    <a:cubicBezTo>
                      <a:pt x="11382849" y="1006567"/>
                      <a:pt x="11354434" y="978153"/>
                      <a:pt x="11354434" y="943101"/>
                    </a:cubicBezTo>
                    <a:cubicBezTo>
                      <a:pt x="11354434" y="908050"/>
                      <a:pt x="11382849" y="879636"/>
                      <a:pt x="11417899" y="879636"/>
                    </a:cubicBezTo>
                    <a:close/>
                    <a:moveTo>
                      <a:pt x="10906023" y="879636"/>
                    </a:moveTo>
                    <a:cubicBezTo>
                      <a:pt x="10941073" y="879636"/>
                      <a:pt x="10969488" y="908050"/>
                      <a:pt x="10969488" y="943101"/>
                    </a:cubicBezTo>
                    <a:cubicBezTo>
                      <a:pt x="10969488" y="978153"/>
                      <a:pt x="10941073" y="1006567"/>
                      <a:pt x="10906023" y="1006567"/>
                    </a:cubicBezTo>
                    <a:cubicBezTo>
                      <a:pt x="10870972" y="1006567"/>
                      <a:pt x="10842558" y="978153"/>
                      <a:pt x="10842558" y="943101"/>
                    </a:cubicBezTo>
                    <a:cubicBezTo>
                      <a:pt x="10842558" y="908050"/>
                      <a:pt x="10870972" y="879636"/>
                      <a:pt x="10906023" y="879636"/>
                    </a:cubicBezTo>
                    <a:close/>
                    <a:moveTo>
                      <a:pt x="10393956" y="879636"/>
                    </a:moveTo>
                    <a:cubicBezTo>
                      <a:pt x="10429006" y="879636"/>
                      <a:pt x="10457421" y="908050"/>
                      <a:pt x="10457421" y="943101"/>
                    </a:cubicBezTo>
                    <a:cubicBezTo>
                      <a:pt x="10457421" y="978153"/>
                      <a:pt x="10429006" y="1006567"/>
                      <a:pt x="10393956" y="1006567"/>
                    </a:cubicBezTo>
                    <a:cubicBezTo>
                      <a:pt x="10358906" y="1006567"/>
                      <a:pt x="10330491" y="978153"/>
                      <a:pt x="10330491" y="943101"/>
                    </a:cubicBezTo>
                    <a:cubicBezTo>
                      <a:pt x="10330491" y="908050"/>
                      <a:pt x="10358906" y="879636"/>
                      <a:pt x="10393956" y="879636"/>
                    </a:cubicBezTo>
                    <a:close/>
                    <a:moveTo>
                      <a:pt x="9882079" y="879636"/>
                    </a:moveTo>
                    <a:cubicBezTo>
                      <a:pt x="9917130" y="879636"/>
                      <a:pt x="9945544" y="908050"/>
                      <a:pt x="9945544" y="943101"/>
                    </a:cubicBezTo>
                    <a:cubicBezTo>
                      <a:pt x="9945544" y="978153"/>
                      <a:pt x="9917130" y="1006567"/>
                      <a:pt x="9882079" y="1006567"/>
                    </a:cubicBezTo>
                    <a:cubicBezTo>
                      <a:pt x="9847029" y="1006567"/>
                      <a:pt x="9818615" y="978153"/>
                      <a:pt x="9818615" y="943101"/>
                    </a:cubicBezTo>
                    <a:cubicBezTo>
                      <a:pt x="9818615" y="908050"/>
                      <a:pt x="9847029" y="879636"/>
                      <a:pt x="9882079" y="879636"/>
                    </a:cubicBezTo>
                    <a:close/>
                    <a:moveTo>
                      <a:pt x="5274270" y="879636"/>
                    </a:moveTo>
                    <a:cubicBezTo>
                      <a:pt x="5309318" y="879636"/>
                      <a:pt x="5337733" y="908050"/>
                      <a:pt x="5337733" y="943101"/>
                    </a:cubicBezTo>
                    <a:cubicBezTo>
                      <a:pt x="5337733" y="978153"/>
                      <a:pt x="5309318" y="1006567"/>
                      <a:pt x="5274270" y="1006567"/>
                    </a:cubicBezTo>
                    <a:cubicBezTo>
                      <a:pt x="5239220" y="1006567"/>
                      <a:pt x="5210807" y="978153"/>
                      <a:pt x="5210807" y="943101"/>
                    </a:cubicBezTo>
                    <a:cubicBezTo>
                      <a:pt x="5210807" y="908050"/>
                      <a:pt x="5239220" y="879636"/>
                      <a:pt x="5274270" y="879636"/>
                    </a:cubicBezTo>
                    <a:close/>
                    <a:moveTo>
                      <a:pt x="4762180" y="879636"/>
                    </a:moveTo>
                    <a:cubicBezTo>
                      <a:pt x="4797244" y="879636"/>
                      <a:pt x="4825668" y="908050"/>
                      <a:pt x="4825668" y="943101"/>
                    </a:cubicBezTo>
                    <a:cubicBezTo>
                      <a:pt x="4825668" y="978153"/>
                      <a:pt x="4797244" y="1006567"/>
                      <a:pt x="4762180" y="1006567"/>
                    </a:cubicBezTo>
                    <a:cubicBezTo>
                      <a:pt x="4727138" y="1006567"/>
                      <a:pt x="4698732" y="978153"/>
                      <a:pt x="4698732" y="943101"/>
                    </a:cubicBezTo>
                    <a:cubicBezTo>
                      <a:pt x="4698732" y="908050"/>
                      <a:pt x="4727138" y="879636"/>
                      <a:pt x="4762180" y="879636"/>
                    </a:cubicBezTo>
                    <a:close/>
                    <a:moveTo>
                      <a:pt x="4250316" y="879636"/>
                    </a:moveTo>
                    <a:cubicBezTo>
                      <a:pt x="4285370" y="879636"/>
                      <a:pt x="4313785" y="908050"/>
                      <a:pt x="4313785" y="943101"/>
                    </a:cubicBezTo>
                    <a:cubicBezTo>
                      <a:pt x="4313785" y="978153"/>
                      <a:pt x="4285370" y="1006567"/>
                      <a:pt x="4250316" y="1006567"/>
                    </a:cubicBezTo>
                    <a:cubicBezTo>
                      <a:pt x="4215264" y="1006567"/>
                      <a:pt x="4186848" y="978153"/>
                      <a:pt x="4186848" y="943101"/>
                    </a:cubicBezTo>
                    <a:cubicBezTo>
                      <a:pt x="4186848" y="908050"/>
                      <a:pt x="4215264" y="879636"/>
                      <a:pt x="4250316" y="879636"/>
                    </a:cubicBezTo>
                    <a:close/>
                    <a:moveTo>
                      <a:pt x="3738289" y="879636"/>
                    </a:moveTo>
                    <a:cubicBezTo>
                      <a:pt x="3773338" y="879636"/>
                      <a:pt x="3801749" y="908050"/>
                      <a:pt x="3801749" y="943101"/>
                    </a:cubicBezTo>
                    <a:cubicBezTo>
                      <a:pt x="3801749" y="978153"/>
                      <a:pt x="3773338" y="1006567"/>
                      <a:pt x="3738289" y="1006567"/>
                    </a:cubicBezTo>
                    <a:cubicBezTo>
                      <a:pt x="3703233" y="1006567"/>
                      <a:pt x="3674814" y="978153"/>
                      <a:pt x="3674814" y="943101"/>
                    </a:cubicBezTo>
                    <a:cubicBezTo>
                      <a:pt x="3674814" y="908050"/>
                      <a:pt x="3703233" y="879636"/>
                      <a:pt x="3738289" y="879636"/>
                    </a:cubicBezTo>
                    <a:close/>
                    <a:moveTo>
                      <a:pt x="3226242" y="879636"/>
                    </a:moveTo>
                    <a:cubicBezTo>
                      <a:pt x="3261296" y="879636"/>
                      <a:pt x="3289709" y="908050"/>
                      <a:pt x="3289709" y="943101"/>
                    </a:cubicBezTo>
                    <a:cubicBezTo>
                      <a:pt x="3289709" y="978153"/>
                      <a:pt x="3261296" y="1006567"/>
                      <a:pt x="3226242" y="1006567"/>
                    </a:cubicBezTo>
                    <a:cubicBezTo>
                      <a:pt x="3191188" y="1006567"/>
                      <a:pt x="3162775" y="978153"/>
                      <a:pt x="3162775" y="943101"/>
                    </a:cubicBezTo>
                    <a:cubicBezTo>
                      <a:pt x="3162775" y="908050"/>
                      <a:pt x="3191188" y="879636"/>
                      <a:pt x="3226242" y="879636"/>
                    </a:cubicBezTo>
                    <a:close/>
                    <a:moveTo>
                      <a:pt x="2714362" y="879636"/>
                    </a:moveTo>
                    <a:cubicBezTo>
                      <a:pt x="2749413" y="879636"/>
                      <a:pt x="2777827" y="908050"/>
                      <a:pt x="2777827" y="943101"/>
                    </a:cubicBezTo>
                    <a:cubicBezTo>
                      <a:pt x="2777827" y="978153"/>
                      <a:pt x="2749413" y="1006567"/>
                      <a:pt x="2714362" y="1006567"/>
                    </a:cubicBezTo>
                    <a:cubicBezTo>
                      <a:pt x="2679313" y="1006567"/>
                      <a:pt x="2650897" y="978153"/>
                      <a:pt x="2650897" y="943101"/>
                    </a:cubicBezTo>
                    <a:cubicBezTo>
                      <a:pt x="2650897" y="908050"/>
                      <a:pt x="2679313" y="879636"/>
                      <a:pt x="2714362" y="879636"/>
                    </a:cubicBezTo>
                    <a:close/>
                    <a:moveTo>
                      <a:pt x="2202305" y="879636"/>
                    </a:moveTo>
                    <a:cubicBezTo>
                      <a:pt x="2237356" y="879636"/>
                      <a:pt x="2265769" y="908050"/>
                      <a:pt x="2265769" y="943101"/>
                    </a:cubicBezTo>
                    <a:cubicBezTo>
                      <a:pt x="2265769" y="978153"/>
                      <a:pt x="2237356" y="1006567"/>
                      <a:pt x="2202305" y="1006567"/>
                    </a:cubicBezTo>
                    <a:cubicBezTo>
                      <a:pt x="2167254" y="1006567"/>
                      <a:pt x="2138841" y="978153"/>
                      <a:pt x="2138841" y="943101"/>
                    </a:cubicBezTo>
                    <a:cubicBezTo>
                      <a:pt x="2138841" y="908050"/>
                      <a:pt x="2167254" y="879636"/>
                      <a:pt x="2202305" y="879636"/>
                    </a:cubicBezTo>
                    <a:close/>
                    <a:moveTo>
                      <a:pt x="1690412" y="879636"/>
                    </a:moveTo>
                    <a:cubicBezTo>
                      <a:pt x="1725463" y="879636"/>
                      <a:pt x="1753877" y="908050"/>
                      <a:pt x="1753877" y="943101"/>
                    </a:cubicBezTo>
                    <a:cubicBezTo>
                      <a:pt x="1753877" y="978153"/>
                      <a:pt x="1725463" y="1006567"/>
                      <a:pt x="1690412" y="1006567"/>
                    </a:cubicBezTo>
                    <a:cubicBezTo>
                      <a:pt x="1655361" y="1006567"/>
                      <a:pt x="1626948" y="978153"/>
                      <a:pt x="1626948" y="943101"/>
                    </a:cubicBezTo>
                    <a:cubicBezTo>
                      <a:pt x="1626948" y="908050"/>
                      <a:pt x="1655361" y="879636"/>
                      <a:pt x="1690412" y="879636"/>
                    </a:cubicBezTo>
                    <a:close/>
                    <a:moveTo>
                      <a:pt x="1178353" y="879636"/>
                    </a:moveTo>
                    <a:cubicBezTo>
                      <a:pt x="1213404" y="879636"/>
                      <a:pt x="1241817" y="908050"/>
                      <a:pt x="1241817" y="943101"/>
                    </a:cubicBezTo>
                    <a:cubicBezTo>
                      <a:pt x="1241817" y="978153"/>
                      <a:pt x="1213404" y="1006567"/>
                      <a:pt x="1178353" y="1006567"/>
                    </a:cubicBezTo>
                    <a:cubicBezTo>
                      <a:pt x="1143302" y="1006567"/>
                      <a:pt x="1114888" y="978153"/>
                      <a:pt x="1114888" y="943101"/>
                    </a:cubicBezTo>
                    <a:cubicBezTo>
                      <a:pt x="1114888" y="908050"/>
                      <a:pt x="1143302" y="879636"/>
                      <a:pt x="1178353" y="879636"/>
                    </a:cubicBezTo>
                    <a:close/>
                    <a:moveTo>
                      <a:pt x="666483" y="879636"/>
                    </a:moveTo>
                    <a:cubicBezTo>
                      <a:pt x="701534" y="879636"/>
                      <a:pt x="729947" y="908050"/>
                      <a:pt x="729947" y="943101"/>
                    </a:cubicBezTo>
                    <a:cubicBezTo>
                      <a:pt x="729947" y="978153"/>
                      <a:pt x="701534" y="1006567"/>
                      <a:pt x="666483" y="1006567"/>
                    </a:cubicBezTo>
                    <a:cubicBezTo>
                      <a:pt x="631432" y="1006567"/>
                      <a:pt x="603018" y="978153"/>
                      <a:pt x="603018" y="943101"/>
                    </a:cubicBezTo>
                    <a:cubicBezTo>
                      <a:pt x="603018" y="908050"/>
                      <a:pt x="631432" y="879636"/>
                      <a:pt x="666483" y="879636"/>
                    </a:cubicBezTo>
                    <a:close/>
                    <a:moveTo>
                      <a:pt x="154424" y="879636"/>
                    </a:moveTo>
                    <a:cubicBezTo>
                      <a:pt x="189475" y="879636"/>
                      <a:pt x="217889" y="908050"/>
                      <a:pt x="217889" y="943101"/>
                    </a:cubicBezTo>
                    <a:cubicBezTo>
                      <a:pt x="217889" y="978153"/>
                      <a:pt x="189475" y="1006567"/>
                      <a:pt x="154424" y="1006567"/>
                    </a:cubicBezTo>
                    <a:cubicBezTo>
                      <a:pt x="119373" y="1006567"/>
                      <a:pt x="90960" y="978153"/>
                      <a:pt x="90960" y="943101"/>
                    </a:cubicBezTo>
                    <a:cubicBezTo>
                      <a:pt x="90960" y="908050"/>
                      <a:pt x="119373" y="879636"/>
                      <a:pt x="154424" y="879636"/>
                    </a:cubicBezTo>
                    <a:close/>
                    <a:moveTo>
                      <a:pt x="9370014" y="879635"/>
                    </a:moveTo>
                    <a:cubicBezTo>
                      <a:pt x="9405147" y="879635"/>
                      <a:pt x="9433479" y="907968"/>
                      <a:pt x="9433479" y="943100"/>
                    </a:cubicBezTo>
                    <a:cubicBezTo>
                      <a:pt x="9433479" y="978044"/>
                      <a:pt x="9405147" y="1006566"/>
                      <a:pt x="9370014" y="1006566"/>
                    </a:cubicBezTo>
                    <a:cubicBezTo>
                      <a:pt x="9334882" y="1006566"/>
                      <a:pt x="9306549" y="978234"/>
                      <a:pt x="9306549" y="943100"/>
                    </a:cubicBezTo>
                    <a:cubicBezTo>
                      <a:pt x="9306549" y="907968"/>
                      <a:pt x="9334882" y="879635"/>
                      <a:pt x="9370014" y="879635"/>
                    </a:cubicBezTo>
                    <a:close/>
                    <a:moveTo>
                      <a:pt x="8857948" y="879635"/>
                    </a:moveTo>
                    <a:cubicBezTo>
                      <a:pt x="8893080" y="879635"/>
                      <a:pt x="8921412" y="907968"/>
                      <a:pt x="8921412" y="943100"/>
                    </a:cubicBezTo>
                    <a:cubicBezTo>
                      <a:pt x="8921412" y="978044"/>
                      <a:pt x="8893080" y="1006566"/>
                      <a:pt x="8857948" y="1006566"/>
                    </a:cubicBezTo>
                    <a:cubicBezTo>
                      <a:pt x="8822815" y="1006566"/>
                      <a:pt x="8794482" y="978234"/>
                      <a:pt x="8794482" y="943100"/>
                    </a:cubicBezTo>
                    <a:cubicBezTo>
                      <a:pt x="8794482" y="907968"/>
                      <a:pt x="8822815" y="879635"/>
                      <a:pt x="8857948" y="879635"/>
                    </a:cubicBezTo>
                    <a:close/>
                    <a:moveTo>
                      <a:pt x="8346071" y="879635"/>
                    </a:moveTo>
                    <a:cubicBezTo>
                      <a:pt x="8381203" y="879635"/>
                      <a:pt x="8409535" y="907968"/>
                      <a:pt x="8409535" y="943100"/>
                    </a:cubicBezTo>
                    <a:cubicBezTo>
                      <a:pt x="8409535" y="978044"/>
                      <a:pt x="8381203" y="1006566"/>
                      <a:pt x="8346071" y="1006566"/>
                    </a:cubicBezTo>
                    <a:cubicBezTo>
                      <a:pt x="8310938" y="1006566"/>
                      <a:pt x="8282605" y="978234"/>
                      <a:pt x="8282605" y="943100"/>
                    </a:cubicBezTo>
                    <a:cubicBezTo>
                      <a:pt x="8282605" y="907968"/>
                      <a:pt x="8310938" y="879635"/>
                      <a:pt x="8346071" y="879635"/>
                    </a:cubicBezTo>
                    <a:close/>
                    <a:moveTo>
                      <a:pt x="7834005" y="879635"/>
                    </a:moveTo>
                    <a:cubicBezTo>
                      <a:pt x="7869138" y="879635"/>
                      <a:pt x="7897470" y="907968"/>
                      <a:pt x="7897470" y="943100"/>
                    </a:cubicBezTo>
                    <a:cubicBezTo>
                      <a:pt x="7897470" y="978044"/>
                      <a:pt x="7869138" y="1006566"/>
                      <a:pt x="7834005" y="1006566"/>
                    </a:cubicBezTo>
                    <a:cubicBezTo>
                      <a:pt x="7798873" y="1006566"/>
                      <a:pt x="7770540" y="978234"/>
                      <a:pt x="7770540" y="943100"/>
                    </a:cubicBezTo>
                    <a:cubicBezTo>
                      <a:pt x="7770540" y="907968"/>
                      <a:pt x="7798873" y="879635"/>
                      <a:pt x="7834005" y="879635"/>
                    </a:cubicBezTo>
                    <a:close/>
                    <a:moveTo>
                      <a:pt x="7322128" y="879635"/>
                    </a:moveTo>
                    <a:cubicBezTo>
                      <a:pt x="7357260" y="879635"/>
                      <a:pt x="7385592" y="907968"/>
                      <a:pt x="7385592" y="943100"/>
                    </a:cubicBezTo>
                    <a:cubicBezTo>
                      <a:pt x="7385592" y="978044"/>
                      <a:pt x="7357260" y="1006566"/>
                      <a:pt x="7322128" y="1006566"/>
                    </a:cubicBezTo>
                    <a:cubicBezTo>
                      <a:pt x="7286995" y="1006566"/>
                      <a:pt x="7258662" y="978234"/>
                      <a:pt x="7258662" y="943100"/>
                    </a:cubicBezTo>
                    <a:cubicBezTo>
                      <a:pt x="7258662" y="907968"/>
                      <a:pt x="7286995" y="879635"/>
                      <a:pt x="7322128" y="879635"/>
                    </a:cubicBezTo>
                    <a:close/>
                    <a:moveTo>
                      <a:pt x="6810062" y="879635"/>
                    </a:moveTo>
                    <a:cubicBezTo>
                      <a:pt x="6845195" y="879635"/>
                      <a:pt x="6873527" y="907968"/>
                      <a:pt x="6873527" y="943100"/>
                    </a:cubicBezTo>
                    <a:cubicBezTo>
                      <a:pt x="6873527" y="978044"/>
                      <a:pt x="6845195" y="1006566"/>
                      <a:pt x="6810062" y="1006566"/>
                    </a:cubicBezTo>
                    <a:cubicBezTo>
                      <a:pt x="6774930" y="1006566"/>
                      <a:pt x="6746597" y="978234"/>
                      <a:pt x="6746597" y="943100"/>
                    </a:cubicBezTo>
                    <a:cubicBezTo>
                      <a:pt x="6746597" y="907968"/>
                      <a:pt x="6774930" y="879635"/>
                      <a:pt x="6810062" y="879635"/>
                    </a:cubicBezTo>
                    <a:close/>
                    <a:moveTo>
                      <a:pt x="6298186" y="879635"/>
                    </a:moveTo>
                    <a:cubicBezTo>
                      <a:pt x="6333318" y="879635"/>
                      <a:pt x="6361650" y="907968"/>
                      <a:pt x="6361650" y="943100"/>
                    </a:cubicBezTo>
                    <a:cubicBezTo>
                      <a:pt x="6361650" y="978044"/>
                      <a:pt x="6333318" y="1006566"/>
                      <a:pt x="6298186" y="1006566"/>
                    </a:cubicBezTo>
                    <a:cubicBezTo>
                      <a:pt x="6263054" y="1006566"/>
                      <a:pt x="6234720" y="978234"/>
                      <a:pt x="6234720" y="943100"/>
                    </a:cubicBezTo>
                    <a:cubicBezTo>
                      <a:pt x="6234720" y="907968"/>
                      <a:pt x="6263054" y="879635"/>
                      <a:pt x="6298186" y="879635"/>
                    </a:cubicBezTo>
                    <a:close/>
                    <a:moveTo>
                      <a:pt x="5786126" y="879635"/>
                    </a:moveTo>
                    <a:cubicBezTo>
                      <a:pt x="5821257" y="879635"/>
                      <a:pt x="5849588" y="907968"/>
                      <a:pt x="5849588" y="943100"/>
                    </a:cubicBezTo>
                    <a:cubicBezTo>
                      <a:pt x="5849588" y="978044"/>
                      <a:pt x="5821257" y="1006566"/>
                      <a:pt x="5786126" y="1006566"/>
                    </a:cubicBezTo>
                    <a:cubicBezTo>
                      <a:pt x="5750994" y="1006566"/>
                      <a:pt x="5722663" y="978234"/>
                      <a:pt x="5722663" y="943100"/>
                    </a:cubicBezTo>
                    <a:cubicBezTo>
                      <a:pt x="5722663" y="907968"/>
                      <a:pt x="5750994" y="879635"/>
                      <a:pt x="5786126" y="879635"/>
                    </a:cubicBezTo>
                    <a:close/>
                    <a:moveTo>
                      <a:pt x="11417900" y="439913"/>
                    </a:moveTo>
                    <a:cubicBezTo>
                      <a:pt x="11445022" y="439913"/>
                      <a:pt x="11467010" y="461900"/>
                      <a:pt x="11467010" y="489022"/>
                    </a:cubicBezTo>
                    <a:cubicBezTo>
                      <a:pt x="11467010" y="516146"/>
                      <a:pt x="11445022" y="538132"/>
                      <a:pt x="11417900" y="538132"/>
                    </a:cubicBezTo>
                    <a:cubicBezTo>
                      <a:pt x="11390778" y="538132"/>
                      <a:pt x="11368791" y="516146"/>
                      <a:pt x="11368791" y="489022"/>
                    </a:cubicBezTo>
                    <a:cubicBezTo>
                      <a:pt x="11368791" y="461900"/>
                      <a:pt x="11390778" y="439913"/>
                      <a:pt x="11417900" y="439913"/>
                    </a:cubicBezTo>
                    <a:close/>
                    <a:moveTo>
                      <a:pt x="10906024" y="439913"/>
                    </a:moveTo>
                    <a:cubicBezTo>
                      <a:pt x="10933146" y="439913"/>
                      <a:pt x="10955133" y="461900"/>
                      <a:pt x="10955133" y="489022"/>
                    </a:cubicBezTo>
                    <a:cubicBezTo>
                      <a:pt x="10955133" y="516146"/>
                      <a:pt x="10933146" y="538132"/>
                      <a:pt x="10906024" y="538132"/>
                    </a:cubicBezTo>
                    <a:cubicBezTo>
                      <a:pt x="10878901" y="538132"/>
                      <a:pt x="10856914" y="516146"/>
                      <a:pt x="10856914" y="489022"/>
                    </a:cubicBezTo>
                    <a:cubicBezTo>
                      <a:pt x="10856914" y="461900"/>
                      <a:pt x="10878901" y="439913"/>
                      <a:pt x="10906024" y="439913"/>
                    </a:cubicBezTo>
                    <a:close/>
                    <a:moveTo>
                      <a:pt x="10393958" y="439913"/>
                    </a:moveTo>
                    <a:cubicBezTo>
                      <a:pt x="10421080" y="439913"/>
                      <a:pt x="10443067" y="461900"/>
                      <a:pt x="10443067" y="489022"/>
                    </a:cubicBezTo>
                    <a:cubicBezTo>
                      <a:pt x="10443067" y="516146"/>
                      <a:pt x="10421080" y="538132"/>
                      <a:pt x="10393958" y="538132"/>
                    </a:cubicBezTo>
                    <a:cubicBezTo>
                      <a:pt x="10366836" y="538132"/>
                      <a:pt x="10344848" y="516146"/>
                      <a:pt x="10344848" y="489022"/>
                    </a:cubicBezTo>
                    <a:cubicBezTo>
                      <a:pt x="10344848" y="461900"/>
                      <a:pt x="10366836" y="439913"/>
                      <a:pt x="10393958" y="439913"/>
                    </a:cubicBezTo>
                    <a:close/>
                    <a:moveTo>
                      <a:pt x="9882080" y="439913"/>
                    </a:moveTo>
                    <a:cubicBezTo>
                      <a:pt x="9909202" y="439913"/>
                      <a:pt x="9931190" y="461900"/>
                      <a:pt x="9931190" y="489022"/>
                    </a:cubicBezTo>
                    <a:cubicBezTo>
                      <a:pt x="9931190" y="516146"/>
                      <a:pt x="9909202" y="538132"/>
                      <a:pt x="9882080" y="538132"/>
                    </a:cubicBezTo>
                    <a:cubicBezTo>
                      <a:pt x="9854958" y="538132"/>
                      <a:pt x="9832971" y="516146"/>
                      <a:pt x="9832971" y="489022"/>
                    </a:cubicBezTo>
                    <a:cubicBezTo>
                      <a:pt x="9832971" y="461900"/>
                      <a:pt x="9854958" y="439913"/>
                      <a:pt x="9882080" y="439913"/>
                    </a:cubicBezTo>
                    <a:close/>
                    <a:moveTo>
                      <a:pt x="9370013" y="439913"/>
                    </a:moveTo>
                    <a:cubicBezTo>
                      <a:pt x="9397023" y="439913"/>
                      <a:pt x="9419123" y="462011"/>
                      <a:pt x="9419123" y="489022"/>
                    </a:cubicBezTo>
                    <a:cubicBezTo>
                      <a:pt x="9419123" y="516221"/>
                      <a:pt x="9397023" y="538132"/>
                      <a:pt x="9370013" y="538132"/>
                    </a:cubicBezTo>
                    <a:cubicBezTo>
                      <a:pt x="9343003" y="538132"/>
                      <a:pt x="9320903" y="516032"/>
                      <a:pt x="9320903" y="489022"/>
                    </a:cubicBezTo>
                    <a:cubicBezTo>
                      <a:pt x="9320903" y="462011"/>
                      <a:pt x="9343003" y="439913"/>
                      <a:pt x="9370013" y="439913"/>
                    </a:cubicBezTo>
                    <a:close/>
                    <a:moveTo>
                      <a:pt x="8858137" y="439913"/>
                    </a:moveTo>
                    <a:cubicBezTo>
                      <a:pt x="8885147" y="439913"/>
                      <a:pt x="8907247" y="462011"/>
                      <a:pt x="8907247" y="489022"/>
                    </a:cubicBezTo>
                    <a:cubicBezTo>
                      <a:pt x="8907247" y="516221"/>
                      <a:pt x="8885147" y="538132"/>
                      <a:pt x="8858137" y="538132"/>
                    </a:cubicBezTo>
                    <a:cubicBezTo>
                      <a:pt x="8831126" y="538132"/>
                      <a:pt x="8809027" y="516032"/>
                      <a:pt x="8809027" y="489022"/>
                    </a:cubicBezTo>
                    <a:cubicBezTo>
                      <a:pt x="8809027" y="462011"/>
                      <a:pt x="8831126" y="439913"/>
                      <a:pt x="8858137" y="439913"/>
                    </a:cubicBezTo>
                    <a:close/>
                    <a:moveTo>
                      <a:pt x="8346071" y="439913"/>
                    </a:moveTo>
                    <a:cubicBezTo>
                      <a:pt x="8373081" y="439913"/>
                      <a:pt x="8395181" y="462011"/>
                      <a:pt x="8395181" y="489022"/>
                    </a:cubicBezTo>
                    <a:cubicBezTo>
                      <a:pt x="8395181" y="516221"/>
                      <a:pt x="8373081" y="538132"/>
                      <a:pt x="8346071" y="538132"/>
                    </a:cubicBezTo>
                    <a:cubicBezTo>
                      <a:pt x="8319061" y="538132"/>
                      <a:pt x="8296961" y="516032"/>
                      <a:pt x="8296961" y="489022"/>
                    </a:cubicBezTo>
                    <a:cubicBezTo>
                      <a:pt x="8296961" y="462011"/>
                      <a:pt x="8319061" y="439913"/>
                      <a:pt x="8346071" y="439913"/>
                    </a:cubicBezTo>
                    <a:close/>
                    <a:moveTo>
                      <a:pt x="7834193" y="439913"/>
                    </a:moveTo>
                    <a:cubicBezTo>
                      <a:pt x="7861203" y="439913"/>
                      <a:pt x="7883303" y="462011"/>
                      <a:pt x="7883303" y="489022"/>
                    </a:cubicBezTo>
                    <a:cubicBezTo>
                      <a:pt x="7883303" y="516221"/>
                      <a:pt x="7861203" y="538132"/>
                      <a:pt x="7834193" y="538132"/>
                    </a:cubicBezTo>
                    <a:cubicBezTo>
                      <a:pt x="7807183" y="538132"/>
                      <a:pt x="7785083" y="516032"/>
                      <a:pt x="7785083" y="489022"/>
                    </a:cubicBezTo>
                    <a:cubicBezTo>
                      <a:pt x="7785083" y="462011"/>
                      <a:pt x="7807183" y="439913"/>
                      <a:pt x="7834193" y="439913"/>
                    </a:cubicBezTo>
                    <a:close/>
                    <a:moveTo>
                      <a:pt x="7322128" y="439913"/>
                    </a:moveTo>
                    <a:cubicBezTo>
                      <a:pt x="7349138" y="439913"/>
                      <a:pt x="7371238" y="462011"/>
                      <a:pt x="7371238" y="489022"/>
                    </a:cubicBezTo>
                    <a:cubicBezTo>
                      <a:pt x="7371238" y="516221"/>
                      <a:pt x="7349138" y="538132"/>
                      <a:pt x="7322128" y="538132"/>
                    </a:cubicBezTo>
                    <a:cubicBezTo>
                      <a:pt x="7295117" y="538132"/>
                      <a:pt x="7273018" y="516032"/>
                      <a:pt x="7273018" y="489022"/>
                    </a:cubicBezTo>
                    <a:cubicBezTo>
                      <a:pt x="7273018" y="462011"/>
                      <a:pt x="7295117" y="439913"/>
                      <a:pt x="7322128" y="439913"/>
                    </a:cubicBezTo>
                    <a:close/>
                    <a:moveTo>
                      <a:pt x="6810251" y="439913"/>
                    </a:moveTo>
                    <a:cubicBezTo>
                      <a:pt x="6837261" y="439913"/>
                      <a:pt x="6859361" y="462011"/>
                      <a:pt x="6859361" y="489022"/>
                    </a:cubicBezTo>
                    <a:cubicBezTo>
                      <a:pt x="6859361" y="516221"/>
                      <a:pt x="6837261" y="538132"/>
                      <a:pt x="6810251" y="538132"/>
                    </a:cubicBezTo>
                    <a:cubicBezTo>
                      <a:pt x="6783241" y="538132"/>
                      <a:pt x="6761141" y="516032"/>
                      <a:pt x="6761141" y="489022"/>
                    </a:cubicBezTo>
                    <a:cubicBezTo>
                      <a:pt x="6761141" y="462011"/>
                      <a:pt x="6783241" y="439913"/>
                      <a:pt x="6810251" y="439913"/>
                    </a:cubicBezTo>
                    <a:close/>
                    <a:moveTo>
                      <a:pt x="6298184" y="439913"/>
                    </a:moveTo>
                    <a:cubicBezTo>
                      <a:pt x="6325195" y="439913"/>
                      <a:pt x="6347295" y="462011"/>
                      <a:pt x="6347295" y="489022"/>
                    </a:cubicBezTo>
                    <a:cubicBezTo>
                      <a:pt x="6347295" y="516221"/>
                      <a:pt x="6325195" y="538132"/>
                      <a:pt x="6298184" y="538132"/>
                    </a:cubicBezTo>
                    <a:cubicBezTo>
                      <a:pt x="6271175" y="538132"/>
                      <a:pt x="6249074" y="516032"/>
                      <a:pt x="6249074" y="489022"/>
                    </a:cubicBezTo>
                    <a:cubicBezTo>
                      <a:pt x="6249074" y="462011"/>
                      <a:pt x="6271175" y="439913"/>
                      <a:pt x="6298184" y="439913"/>
                    </a:cubicBezTo>
                    <a:close/>
                    <a:moveTo>
                      <a:pt x="5786315" y="439913"/>
                    </a:moveTo>
                    <a:cubicBezTo>
                      <a:pt x="5813325" y="439913"/>
                      <a:pt x="5835423" y="462011"/>
                      <a:pt x="5835423" y="489022"/>
                    </a:cubicBezTo>
                    <a:cubicBezTo>
                      <a:pt x="5835423" y="516221"/>
                      <a:pt x="5813325" y="538132"/>
                      <a:pt x="5786315" y="538132"/>
                    </a:cubicBezTo>
                    <a:cubicBezTo>
                      <a:pt x="5759305" y="538132"/>
                      <a:pt x="5737207" y="516032"/>
                      <a:pt x="5737207" y="489022"/>
                    </a:cubicBezTo>
                    <a:cubicBezTo>
                      <a:pt x="5737207" y="462011"/>
                      <a:pt x="5759305" y="439913"/>
                      <a:pt x="5786315" y="439913"/>
                    </a:cubicBezTo>
                    <a:close/>
                    <a:moveTo>
                      <a:pt x="5274270" y="439913"/>
                    </a:moveTo>
                    <a:cubicBezTo>
                      <a:pt x="5301393" y="439913"/>
                      <a:pt x="5323380" y="461900"/>
                      <a:pt x="5323380" y="489022"/>
                    </a:cubicBezTo>
                    <a:cubicBezTo>
                      <a:pt x="5323380" y="516146"/>
                      <a:pt x="5301393" y="538132"/>
                      <a:pt x="5274270" y="538132"/>
                    </a:cubicBezTo>
                    <a:cubicBezTo>
                      <a:pt x="5247148" y="538132"/>
                      <a:pt x="5225158" y="516146"/>
                      <a:pt x="5225158" y="489022"/>
                    </a:cubicBezTo>
                    <a:cubicBezTo>
                      <a:pt x="5225158" y="461900"/>
                      <a:pt x="5247148" y="439913"/>
                      <a:pt x="5274270" y="439913"/>
                    </a:cubicBezTo>
                    <a:close/>
                    <a:moveTo>
                      <a:pt x="4762180" y="439913"/>
                    </a:moveTo>
                    <a:cubicBezTo>
                      <a:pt x="4789311" y="439913"/>
                      <a:pt x="4811308" y="461900"/>
                      <a:pt x="4811308" y="489022"/>
                    </a:cubicBezTo>
                    <a:cubicBezTo>
                      <a:pt x="4811308" y="516146"/>
                      <a:pt x="4789311" y="538132"/>
                      <a:pt x="4762180" y="538132"/>
                    </a:cubicBezTo>
                    <a:cubicBezTo>
                      <a:pt x="4735061" y="538132"/>
                      <a:pt x="4713081" y="516146"/>
                      <a:pt x="4713081" y="489022"/>
                    </a:cubicBezTo>
                    <a:cubicBezTo>
                      <a:pt x="4713081" y="461900"/>
                      <a:pt x="4735061" y="439913"/>
                      <a:pt x="4762180" y="439913"/>
                    </a:cubicBezTo>
                    <a:close/>
                    <a:moveTo>
                      <a:pt x="4250316" y="439913"/>
                    </a:moveTo>
                    <a:cubicBezTo>
                      <a:pt x="4277442" y="439913"/>
                      <a:pt x="4299428" y="461900"/>
                      <a:pt x="4299428" y="489022"/>
                    </a:cubicBezTo>
                    <a:cubicBezTo>
                      <a:pt x="4299428" y="516146"/>
                      <a:pt x="4277442" y="538132"/>
                      <a:pt x="4250316" y="538132"/>
                    </a:cubicBezTo>
                    <a:cubicBezTo>
                      <a:pt x="4223194" y="538132"/>
                      <a:pt x="4201204" y="516146"/>
                      <a:pt x="4201204" y="489022"/>
                    </a:cubicBezTo>
                    <a:cubicBezTo>
                      <a:pt x="4201204" y="461900"/>
                      <a:pt x="4223194" y="439913"/>
                      <a:pt x="4250316" y="439913"/>
                    </a:cubicBezTo>
                    <a:close/>
                    <a:moveTo>
                      <a:pt x="3738287" y="439913"/>
                    </a:moveTo>
                    <a:cubicBezTo>
                      <a:pt x="3765415" y="439913"/>
                      <a:pt x="3787395" y="461900"/>
                      <a:pt x="3787395" y="489022"/>
                    </a:cubicBezTo>
                    <a:cubicBezTo>
                      <a:pt x="3787395" y="516146"/>
                      <a:pt x="3765415" y="538132"/>
                      <a:pt x="3738287" y="538132"/>
                    </a:cubicBezTo>
                    <a:cubicBezTo>
                      <a:pt x="3711162" y="538132"/>
                      <a:pt x="3689172" y="516146"/>
                      <a:pt x="3689172" y="489022"/>
                    </a:cubicBezTo>
                    <a:cubicBezTo>
                      <a:pt x="3689172" y="461900"/>
                      <a:pt x="3711162" y="439913"/>
                      <a:pt x="3738287" y="439913"/>
                    </a:cubicBezTo>
                    <a:close/>
                    <a:moveTo>
                      <a:pt x="3226241" y="439913"/>
                    </a:moveTo>
                    <a:cubicBezTo>
                      <a:pt x="3253367" y="439913"/>
                      <a:pt x="3275356" y="461900"/>
                      <a:pt x="3275356" y="489022"/>
                    </a:cubicBezTo>
                    <a:cubicBezTo>
                      <a:pt x="3275356" y="516146"/>
                      <a:pt x="3253367" y="538132"/>
                      <a:pt x="3226241" y="538132"/>
                    </a:cubicBezTo>
                    <a:cubicBezTo>
                      <a:pt x="3199115" y="538132"/>
                      <a:pt x="3177127" y="516146"/>
                      <a:pt x="3177127" y="489022"/>
                    </a:cubicBezTo>
                    <a:cubicBezTo>
                      <a:pt x="3177127" y="461900"/>
                      <a:pt x="3199115" y="439913"/>
                      <a:pt x="3226241" y="439913"/>
                    </a:cubicBezTo>
                    <a:close/>
                    <a:moveTo>
                      <a:pt x="2714361" y="439913"/>
                    </a:moveTo>
                    <a:cubicBezTo>
                      <a:pt x="2741485" y="439913"/>
                      <a:pt x="2763472" y="461900"/>
                      <a:pt x="2763472" y="489022"/>
                    </a:cubicBezTo>
                    <a:cubicBezTo>
                      <a:pt x="2763472" y="516146"/>
                      <a:pt x="2741485" y="538132"/>
                      <a:pt x="2714361" y="538132"/>
                    </a:cubicBezTo>
                    <a:cubicBezTo>
                      <a:pt x="2687239" y="538132"/>
                      <a:pt x="2665250" y="516146"/>
                      <a:pt x="2665250" y="489022"/>
                    </a:cubicBezTo>
                    <a:cubicBezTo>
                      <a:pt x="2665250" y="461900"/>
                      <a:pt x="2687239" y="439913"/>
                      <a:pt x="2714361" y="439913"/>
                    </a:cubicBezTo>
                    <a:close/>
                    <a:moveTo>
                      <a:pt x="2202305" y="439913"/>
                    </a:moveTo>
                    <a:cubicBezTo>
                      <a:pt x="2229428" y="439913"/>
                      <a:pt x="2251415" y="461900"/>
                      <a:pt x="2251415" y="489022"/>
                    </a:cubicBezTo>
                    <a:cubicBezTo>
                      <a:pt x="2251415" y="516146"/>
                      <a:pt x="2229428" y="538132"/>
                      <a:pt x="2202305" y="538132"/>
                    </a:cubicBezTo>
                    <a:cubicBezTo>
                      <a:pt x="2175182" y="538132"/>
                      <a:pt x="2153195" y="516146"/>
                      <a:pt x="2153195" y="489022"/>
                    </a:cubicBezTo>
                    <a:cubicBezTo>
                      <a:pt x="2153195" y="461900"/>
                      <a:pt x="2175182" y="439913"/>
                      <a:pt x="2202305" y="439913"/>
                    </a:cubicBezTo>
                    <a:close/>
                    <a:moveTo>
                      <a:pt x="1690412" y="439913"/>
                    </a:moveTo>
                    <a:cubicBezTo>
                      <a:pt x="1717535" y="439913"/>
                      <a:pt x="1739522" y="461900"/>
                      <a:pt x="1739522" y="489022"/>
                    </a:cubicBezTo>
                    <a:cubicBezTo>
                      <a:pt x="1739522" y="516146"/>
                      <a:pt x="1717535" y="538132"/>
                      <a:pt x="1690412" y="538132"/>
                    </a:cubicBezTo>
                    <a:cubicBezTo>
                      <a:pt x="1663289" y="538132"/>
                      <a:pt x="1641302" y="516146"/>
                      <a:pt x="1641302" y="489022"/>
                    </a:cubicBezTo>
                    <a:cubicBezTo>
                      <a:pt x="1641302" y="461900"/>
                      <a:pt x="1663289" y="439913"/>
                      <a:pt x="1690412" y="439913"/>
                    </a:cubicBezTo>
                    <a:close/>
                    <a:moveTo>
                      <a:pt x="1178353" y="439913"/>
                    </a:moveTo>
                    <a:cubicBezTo>
                      <a:pt x="1205476" y="439913"/>
                      <a:pt x="1227462" y="461900"/>
                      <a:pt x="1227462" y="489022"/>
                    </a:cubicBezTo>
                    <a:cubicBezTo>
                      <a:pt x="1227462" y="516146"/>
                      <a:pt x="1205476" y="538132"/>
                      <a:pt x="1178353" y="538132"/>
                    </a:cubicBezTo>
                    <a:cubicBezTo>
                      <a:pt x="1151230" y="538132"/>
                      <a:pt x="1129243" y="516146"/>
                      <a:pt x="1129243" y="489022"/>
                    </a:cubicBezTo>
                    <a:cubicBezTo>
                      <a:pt x="1129243" y="461900"/>
                      <a:pt x="1151230" y="439913"/>
                      <a:pt x="1178353" y="439913"/>
                    </a:cubicBezTo>
                    <a:close/>
                    <a:moveTo>
                      <a:pt x="666483" y="439913"/>
                    </a:moveTo>
                    <a:cubicBezTo>
                      <a:pt x="693606" y="439913"/>
                      <a:pt x="715592" y="461900"/>
                      <a:pt x="715592" y="489022"/>
                    </a:cubicBezTo>
                    <a:cubicBezTo>
                      <a:pt x="715592" y="516146"/>
                      <a:pt x="693606" y="538132"/>
                      <a:pt x="666483" y="538132"/>
                    </a:cubicBezTo>
                    <a:cubicBezTo>
                      <a:pt x="639360" y="538132"/>
                      <a:pt x="617373" y="516146"/>
                      <a:pt x="617373" y="489022"/>
                    </a:cubicBezTo>
                    <a:cubicBezTo>
                      <a:pt x="617373" y="461900"/>
                      <a:pt x="639360" y="439913"/>
                      <a:pt x="666483" y="439913"/>
                    </a:cubicBezTo>
                    <a:close/>
                    <a:moveTo>
                      <a:pt x="154424" y="439913"/>
                    </a:moveTo>
                    <a:cubicBezTo>
                      <a:pt x="181547" y="439913"/>
                      <a:pt x="203534" y="461900"/>
                      <a:pt x="203534" y="489022"/>
                    </a:cubicBezTo>
                    <a:cubicBezTo>
                      <a:pt x="203534" y="516146"/>
                      <a:pt x="181547" y="538132"/>
                      <a:pt x="154424" y="538132"/>
                    </a:cubicBezTo>
                    <a:cubicBezTo>
                      <a:pt x="127301" y="538132"/>
                      <a:pt x="105315" y="516146"/>
                      <a:pt x="105315" y="489022"/>
                    </a:cubicBezTo>
                    <a:cubicBezTo>
                      <a:pt x="105315" y="461900"/>
                      <a:pt x="127301" y="439913"/>
                      <a:pt x="154424" y="439913"/>
                    </a:cubicBezTo>
                    <a:close/>
                    <a:moveTo>
                      <a:pt x="11929966" y="439912"/>
                    </a:moveTo>
                    <a:cubicBezTo>
                      <a:pt x="11957088" y="439912"/>
                      <a:pt x="11979075" y="461899"/>
                      <a:pt x="11979075" y="489022"/>
                    </a:cubicBezTo>
                    <a:cubicBezTo>
                      <a:pt x="11979075" y="516145"/>
                      <a:pt x="11957088" y="538132"/>
                      <a:pt x="11929966" y="538132"/>
                    </a:cubicBezTo>
                    <a:cubicBezTo>
                      <a:pt x="11902844" y="538132"/>
                      <a:pt x="11880856" y="516145"/>
                      <a:pt x="11880856" y="489022"/>
                    </a:cubicBezTo>
                    <a:cubicBezTo>
                      <a:pt x="11880856" y="461899"/>
                      <a:pt x="11902844" y="439912"/>
                      <a:pt x="11929966" y="439912"/>
                    </a:cubicBezTo>
                    <a:close/>
                    <a:moveTo>
                      <a:pt x="11929965" y="0"/>
                    </a:moveTo>
                    <a:cubicBezTo>
                      <a:pt x="11949232" y="0"/>
                      <a:pt x="11964908" y="15677"/>
                      <a:pt x="11964908" y="34944"/>
                    </a:cubicBezTo>
                    <a:cubicBezTo>
                      <a:pt x="11964908" y="54210"/>
                      <a:pt x="11949232" y="69887"/>
                      <a:pt x="11929965" y="69887"/>
                    </a:cubicBezTo>
                    <a:cubicBezTo>
                      <a:pt x="11910699" y="69887"/>
                      <a:pt x="11895022" y="54210"/>
                      <a:pt x="11895022" y="34944"/>
                    </a:cubicBezTo>
                    <a:cubicBezTo>
                      <a:pt x="11895022" y="15677"/>
                      <a:pt x="11910699" y="0"/>
                      <a:pt x="11929965" y="0"/>
                    </a:cubicBezTo>
                    <a:close/>
                    <a:moveTo>
                      <a:pt x="11417900" y="0"/>
                    </a:moveTo>
                    <a:cubicBezTo>
                      <a:pt x="11437199" y="0"/>
                      <a:pt x="11452843" y="15646"/>
                      <a:pt x="11452843" y="34944"/>
                    </a:cubicBezTo>
                    <a:cubicBezTo>
                      <a:pt x="11452843" y="54243"/>
                      <a:pt x="11437199" y="69887"/>
                      <a:pt x="11417900" y="69887"/>
                    </a:cubicBezTo>
                    <a:cubicBezTo>
                      <a:pt x="11398601" y="69887"/>
                      <a:pt x="11382957" y="54243"/>
                      <a:pt x="11382957" y="34944"/>
                    </a:cubicBezTo>
                    <a:cubicBezTo>
                      <a:pt x="11382957" y="15646"/>
                      <a:pt x="11398601" y="0"/>
                      <a:pt x="11417900" y="0"/>
                    </a:cubicBezTo>
                    <a:close/>
                    <a:moveTo>
                      <a:pt x="10906023" y="0"/>
                    </a:moveTo>
                    <a:cubicBezTo>
                      <a:pt x="10925322" y="0"/>
                      <a:pt x="10940966" y="15646"/>
                      <a:pt x="10940966" y="34944"/>
                    </a:cubicBezTo>
                    <a:cubicBezTo>
                      <a:pt x="10940966" y="54243"/>
                      <a:pt x="10925322" y="69887"/>
                      <a:pt x="10906023" y="69887"/>
                    </a:cubicBezTo>
                    <a:cubicBezTo>
                      <a:pt x="10886724" y="69887"/>
                      <a:pt x="10871080" y="54243"/>
                      <a:pt x="10871080" y="34944"/>
                    </a:cubicBezTo>
                    <a:cubicBezTo>
                      <a:pt x="10871080" y="15646"/>
                      <a:pt x="10886724" y="0"/>
                      <a:pt x="10906023" y="0"/>
                    </a:cubicBezTo>
                    <a:close/>
                    <a:moveTo>
                      <a:pt x="10393958" y="0"/>
                    </a:moveTo>
                    <a:cubicBezTo>
                      <a:pt x="10413256" y="0"/>
                      <a:pt x="10428901" y="15646"/>
                      <a:pt x="10428901" y="34944"/>
                    </a:cubicBezTo>
                    <a:cubicBezTo>
                      <a:pt x="10428901" y="54243"/>
                      <a:pt x="10413256" y="69887"/>
                      <a:pt x="10393958" y="69887"/>
                    </a:cubicBezTo>
                    <a:cubicBezTo>
                      <a:pt x="10374659" y="69887"/>
                      <a:pt x="10359014" y="54243"/>
                      <a:pt x="10359014" y="34944"/>
                    </a:cubicBezTo>
                    <a:cubicBezTo>
                      <a:pt x="10359014" y="15646"/>
                      <a:pt x="10374659" y="0"/>
                      <a:pt x="10393958" y="0"/>
                    </a:cubicBezTo>
                    <a:close/>
                    <a:moveTo>
                      <a:pt x="9882080" y="0"/>
                    </a:moveTo>
                    <a:cubicBezTo>
                      <a:pt x="9901379" y="0"/>
                      <a:pt x="9917023" y="15646"/>
                      <a:pt x="9917023" y="34944"/>
                    </a:cubicBezTo>
                    <a:cubicBezTo>
                      <a:pt x="9917023" y="54243"/>
                      <a:pt x="9901379" y="69887"/>
                      <a:pt x="9882080" y="69887"/>
                    </a:cubicBezTo>
                    <a:cubicBezTo>
                      <a:pt x="9862781" y="69887"/>
                      <a:pt x="9847137" y="54243"/>
                      <a:pt x="9847137" y="34944"/>
                    </a:cubicBezTo>
                    <a:cubicBezTo>
                      <a:pt x="9847137" y="15646"/>
                      <a:pt x="9862781" y="0"/>
                      <a:pt x="9882080" y="0"/>
                    </a:cubicBezTo>
                    <a:close/>
                    <a:moveTo>
                      <a:pt x="9370014" y="0"/>
                    </a:moveTo>
                    <a:cubicBezTo>
                      <a:pt x="9389280" y="0"/>
                      <a:pt x="9404958" y="15677"/>
                      <a:pt x="9404958" y="34944"/>
                    </a:cubicBezTo>
                    <a:cubicBezTo>
                      <a:pt x="9404958" y="54210"/>
                      <a:pt x="9389280" y="69887"/>
                      <a:pt x="9370014" y="69887"/>
                    </a:cubicBezTo>
                    <a:cubicBezTo>
                      <a:pt x="9350748" y="69887"/>
                      <a:pt x="9335070" y="54210"/>
                      <a:pt x="9335070" y="34944"/>
                    </a:cubicBezTo>
                    <a:cubicBezTo>
                      <a:pt x="9335070" y="15677"/>
                      <a:pt x="9350748" y="0"/>
                      <a:pt x="9370014" y="0"/>
                    </a:cubicBezTo>
                    <a:close/>
                    <a:moveTo>
                      <a:pt x="8857948" y="0"/>
                    </a:moveTo>
                    <a:cubicBezTo>
                      <a:pt x="8877214" y="0"/>
                      <a:pt x="8892891" y="15677"/>
                      <a:pt x="8892891" y="34944"/>
                    </a:cubicBezTo>
                    <a:cubicBezTo>
                      <a:pt x="8892891" y="54210"/>
                      <a:pt x="8877214" y="69887"/>
                      <a:pt x="8857948" y="69887"/>
                    </a:cubicBezTo>
                    <a:cubicBezTo>
                      <a:pt x="8838681" y="69887"/>
                      <a:pt x="8823004" y="54210"/>
                      <a:pt x="8823004" y="34944"/>
                    </a:cubicBezTo>
                    <a:cubicBezTo>
                      <a:pt x="8823004" y="15677"/>
                      <a:pt x="8838681" y="0"/>
                      <a:pt x="8857948" y="0"/>
                    </a:cubicBezTo>
                    <a:close/>
                    <a:moveTo>
                      <a:pt x="8346071" y="0"/>
                    </a:moveTo>
                    <a:cubicBezTo>
                      <a:pt x="8365337" y="0"/>
                      <a:pt x="8381015" y="15677"/>
                      <a:pt x="8381015" y="34944"/>
                    </a:cubicBezTo>
                    <a:cubicBezTo>
                      <a:pt x="8381015" y="54210"/>
                      <a:pt x="8365337" y="69887"/>
                      <a:pt x="8346071" y="69887"/>
                    </a:cubicBezTo>
                    <a:cubicBezTo>
                      <a:pt x="8326804" y="69887"/>
                      <a:pt x="8311127" y="54210"/>
                      <a:pt x="8311127" y="34944"/>
                    </a:cubicBezTo>
                    <a:cubicBezTo>
                      <a:pt x="8311127" y="15677"/>
                      <a:pt x="8326804" y="0"/>
                      <a:pt x="8346071" y="0"/>
                    </a:cubicBezTo>
                    <a:close/>
                    <a:moveTo>
                      <a:pt x="7834004" y="0"/>
                    </a:moveTo>
                    <a:cubicBezTo>
                      <a:pt x="7853271" y="0"/>
                      <a:pt x="7868948" y="15677"/>
                      <a:pt x="7868948" y="34944"/>
                    </a:cubicBezTo>
                    <a:cubicBezTo>
                      <a:pt x="7868948" y="54210"/>
                      <a:pt x="7853271" y="69887"/>
                      <a:pt x="7834004" y="69887"/>
                    </a:cubicBezTo>
                    <a:cubicBezTo>
                      <a:pt x="7814738" y="69887"/>
                      <a:pt x="7799061" y="54210"/>
                      <a:pt x="7799061" y="34944"/>
                    </a:cubicBezTo>
                    <a:cubicBezTo>
                      <a:pt x="7799061" y="15677"/>
                      <a:pt x="7814738" y="0"/>
                      <a:pt x="7834004" y="0"/>
                    </a:cubicBezTo>
                    <a:close/>
                    <a:moveTo>
                      <a:pt x="7322128" y="0"/>
                    </a:moveTo>
                    <a:cubicBezTo>
                      <a:pt x="7341394" y="0"/>
                      <a:pt x="7357071" y="15677"/>
                      <a:pt x="7357071" y="34944"/>
                    </a:cubicBezTo>
                    <a:cubicBezTo>
                      <a:pt x="7357071" y="54210"/>
                      <a:pt x="7341394" y="69887"/>
                      <a:pt x="7322128" y="69887"/>
                    </a:cubicBezTo>
                    <a:cubicBezTo>
                      <a:pt x="7302861" y="69887"/>
                      <a:pt x="7287184" y="54210"/>
                      <a:pt x="7287184" y="34944"/>
                    </a:cubicBezTo>
                    <a:cubicBezTo>
                      <a:pt x="7287184" y="15677"/>
                      <a:pt x="7302861" y="0"/>
                      <a:pt x="7322128" y="0"/>
                    </a:cubicBezTo>
                    <a:close/>
                    <a:moveTo>
                      <a:pt x="6810062" y="0"/>
                    </a:moveTo>
                    <a:cubicBezTo>
                      <a:pt x="6829328" y="0"/>
                      <a:pt x="6845006" y="15677"/>
                      <a:pt x="6845006" y="34944"/>
                    </a:cubicBezTo>
                    <a:cubicBezTo>
                      <a:pt x="6845006" y="54210"/>
                      <a:pt x="6829328" y="69887"/>
                      <a:pt x="6810062" y="69887"/>
                    </a:cubicBezTo>
                    <a:cubicBezTo>
                      <a:pt x="6790796" y="69887"/>
                      <a:pt x="6775118" y="54210"/>
                      <a:pt x="6775118" y="34944"/>
                    </a:cubicBezTo>
                    <a:cubicBezTo>
                      <a:pt x="6775118" y="15677"/>
                      <a:pt x="6790796" y="0"/>
                      <a:pt x="6810062" y="0"/>
                    </a:cubicBezTo>
                    <a:close/>
                    <a:moveTo>
                      <a:pt x="6298186" y="0"/>
                    </a:moveTo>
                    <a:cubicBezTo>
                      <a:pt x="6317451" y="0"/>
                      <a:pt x="6333129" y="15677"/>
                      <a:pt x="6333129" y="34944"/>
                    </a:cubicBezTo>
                    <a:cubicBezTo>
                      <a:pt x="6333129" y="54210"/>
                      <a:pt x="6317451" y="69887"/>
                      <a:pt x="6298186" y="69887"/>
                    </a:cubicBezTo>
                    <a:cubicBezTo>
                      <a:pt x="6278919" y="69887"/>
                      <a:pt x="6263242" y="54210"/>
                      <a:pt x="6263242" y="34944"/>
                    </a:cubicBezTo>
                    <a:cubicBezTo>
                      <a:pt x="6263242" y="15677"/>
                      <a:pt x="6278919" y="0"/>
                      <a:pt x="6298186" y="0"/>
                    </a:cubicBezTo>
                    <a:close/>
                    <a:moveTo>
                      <a:pt x="5786126" y="0"/>
                    </a:moveTo>
                    <a:cubicBezTo>
                      <a:pt x="5805392" y="0"/>
                      <a:pt x="5821068" y="15677"/>
                      <a:pt x="5821068" y="34944"/>
                    </a:cubicBezTo>
                    <a:cubicBezTo>
                      <a:pt x="5821068" y="54210"/>
                      <a:pt x="5805392" y="69887"/>
                      <a:pt x="5786126" y="69887"/>
                    </a:cubicBezTo>
                    <a:cubicBezTo>
                      <a:pt x="5766859" y="69887"/>
                      <a:pt x="5751183" y="54210"/>
                      <a:pt x="5751183" y="34944"/>
                    </a:cubicBezTo>
                    <a:cubicBezTo>
                      <a:pt x="5751183" y="15677"/>
                      <a:pt x="5766859" y="0"/>
                      <a:pt x="5786126" y="0"/>
                    </a:cubicBezTo>
                    <a:close/>
                    <a:moveTo>
                      <a:pt x="5274270" y="0"/>
                    </a:moveTo>
                    <a:cubicBezTo>
                      <a:pt x="5293570" y="0"/>
                      <a:pt x="5309213" y="15646"/>
                      <a:pt x="5309213" y="34944"/>
                    </a:cubicBezTo>
                    <a:cubicBezTo>
                      <a:pt x="5309213" y="54243"/>
                      <a:pt x="5293570" y="69887"/>
                      <a:pt x="5274270" y="69887"/>
                    </a:cubicBezTo>
                    <a:cubicBezTo>
                      <a:pt x="5254974" y="69887"/>
                      <a:pt x="5239326" y="54243"/>
                      <a:pt x="5239326" y="34944"/>
                    </a:cubicBezTo>
                    <a:cubicBezTo>
                      <a:pt x="5239326" y="15646"/>
                      <a:pt x="5254974" y="0"/>
                      <a:pt x="5274270" y="0"/>
                    </a:cubicBezTo>
                    <a:close/>
                    <a:moveTo>
                      <a:pt x="4762180" y="0"/>
                    </a:moveTo>
                    <a:cubicBezTo>
                      <a:pt x="4781484" y="0"/>
                      <a:pt x="4797138" y="15646"/>
                      <a:pt x="4797138" y="34944"/>
                    </a:cubicBezTo>
                    <a:cubicBezTo>
                      <a:pt x="4797138" y="54243"/>
                      <a:pt x="4781484" y="69887"/>
                      <a:pt x="4762180" y="69887"/>
                    </a:cubicBezTo>
                    <a:cubicBezTo>
                      <a:pt x="4742882" y="69887"/>
                      <a:pt x="4727244" y="54243"/>
                      <a:pt x="4727244" y="34944"/>
                    </a:cubicBezTo>
                    <a:cubicBezTo>
                      <a:pt x="4727244" y="15646"/>
                      <a:pt x="4742882" y="0"/>
                      <a:pt x="4762180" y="0"/>
                    </a:cubicBezTo>
                    <a:close/>
                    <a:moveTo>
                      <a:pt x="4250316" y="0"/>
                    </a:moveTo>
                    <a:cubicBezTo>
                      <a:pt x="4269615" y="0"/>
                      <a:pt x="4285260" y="15646"/>
                      <a:pt x="4285260" y="34944"/>
                    </a:cubicBezTo>
                    <a:cubicBezTo>
                      <a:pt x="4285260" y="54243"/>
                      <a:pt x="4269615" y="69887"/>
                      <a:pt x="4250316" y="69887"/>
                    </a:cubicBezTo>
                    <a:cubicBezTo>
                      <a:pt x="4231016" y="69887"/>
                      <a:pt x="4215371" y="54243"/>
                      <a:pt x="4215371" y="34944"/>
                    </a:cubicBezTo>
                    <a:cubicBezTo>
                      <a:pt x="4215371" y="15646"/>
                      <a:pt x="4231016" y="0"/>
                      <a:pt x="4250316" y="0"/>
                    </a:cubicBezTo>
                    <a:close/>
                    <a:moveTo>
                      <a:pt x="3738287" y="0"/>
                    </a:moveTo>
                    <a:cubicBezTo>
                      <a:pt x="3757581" y="0"/>
                      <a:pt x="3773228" y="15646"/>
                      <a:pt x="3773228" y="34944"/>
                    </a:cubicBezTo>
                    <a:cubicBezTo>
                      <a:pt x="3773228" y="54243"/>
                      <a:pt x="3757581" y="69887"/>
                      <a:pt x="3738287" y="69887"/>
                    </a:cubicBezTo>
                    <a:cubicBezTo>
                      <a:pt x="3718987" y="69887"/>
                      <a:pt x="3703339" y="54243"/>
                      <a:pt x="3703339" y="34944"/>
                    </a:cubicBezTo>
                    <a:cubicBezTo>
                      <a:pt x="3703339" y="15646"/>
                      <a:pt x="3718987" y="0"/>
                      <a:pt x="3738287" y="0"/>
                    </a:cubicBezTo>
                    <a:close/>
                    <a:moveTo>
                      <a:pt x="3226239" y="0"/>
                    </a:moveTo>
                    <a:cubicBezTo>
                      <a:pt x="3245540" y="0"/>
                      <a:pt x="3261187" y="15646"/>
                      <a:pt x="3261187" y="34944"/>
                    </a:cubicBezTo>
                    <a:cubicBezTo>
                      <a:pt x="3261187" y="54243"/>
                      <a:pt x="3245540" y="69887"/>
                      <a:pt x="3226239" y="69887"/>
                    </a:cubicBezTo>
                    <a:cubicBezTo>
                      <a:pt x="3206939" y="69887"/>
                      <a:pt x="3191293" y="54243"/>
                      <a:pt x="3191293" y="34944"/>
                    </a:cubicBezTo>
                    <a:cubicBezTo>
                      <a:pt x="3191293" y="15646"/>
                      <a:pt x="3206939" y="0"/>
                      <a:pt x="3226239" y="0"/>
                    </a:cubicBezTo>
                    <a:close/>
                    <a:moveTo>
                      <a:pt x="2714361" y="0"/>
                    </a:moveTo>
                    <a:cubicBezTo>
                      <a:pt x="2733657" y="0"/>
                      <a:pt x="2749305" y="15646"/>
                      <a:pt x="2749305" y="34944"/>
                    </a:cubicBezTo>
                    <a:cubicBezTo>
                      <a:pt x="2749305" y="54243"/>
                      <a:pt x="2733657" y="69887"/>
                      <a:pt x="2714361" y="69887"/>
                    </a:cubicBezTo>
                    <a:cubicBezTo>
                      <a:pt x="2695063" y="69887"/>
                      <a:pt x="2679418" y="54243"/>
                      <a:pt x="2679418" y="34944"/>
                    </a:cubicBezTo>
                    <a:cubicBezTo>
                      <a:pt x="2679418" y="15646"/>
                      <a:pt x="2695063" y="0"/>
                      <a:pt x="2714361" y="0"/>
                    </a:cubicBezTo>
                    <a:close/>
                    <a:moveTo>
                      <a:pt x="2202305" y="0"/>
                    </a:moveTo>
                    <a:cubicBezTo>
                      <a:pt x="2221604" y="0"/>
                      <a:pt x="2237248" y="15646"/>
                      <a:pt x="2237248" y="34944"/>
                    </a:cubicBezTo>
                    <a:cubicBezTo>
                      <a:pt x="2237248" y="54243"/>
                      <a:pt x="2221604" y="69887"/>
                      <a:pt x="2202305" y="69887"/>
                    </a:cubicBezTo>
                    <a:cubicBezTo>
                      <a:pt x="2183006" y="69887"/>
                      <a:pt x="2167360" y="54243"/>
                      <a:pt x="2167360" y="34944"/>
                    </a:cubicBezTo>
                    <a:cubicBezTo>
                      <a:pt x="2167360" y="15646"/>
                      <a:pt x="2183006" y="0"/>
                      <a:pt x="2202305" y="0"/>
                    </a:cubicBezTo>
                    <a:close/>
                    <a:moveTo>
                      <a:pt x="1690412" y="0"/>
                    </a:moveTo>
                    <a:cubicBezTo>
                      <a:pt x="1709711" y="0"/>
                      <a:pt x="1725355" y="15646"/>
                      <a:pt x="1725355" y="34944"/>
                    </a:cubicBezTo>
                    <a:cubicBezTo>
                      <a:pt x="1725355" y="54243"/>
                      <a:pt x="1709711" y="69887"/>
                      <a:pt x="1690412" y="69887"/>
                    </a:cubicBezTo>
                    <a:cubicBezTo>
                      <a:pt x="1671113" y="69887"/>
                      <a:pt x="1655468" y="54243"/>
                      <a:pt x="1655468" y="34944"/>
                    </a:cubicBezTo>
                    <a:cubicBezTo>
                      <a:pt x="1655468" y="15646"/>
                      <a:pt x="1671113" y="0"/>
                      <a:pt x="1690412" y="0"/>
                    </a:cubicBezTo>
                    <a:close/>
                    <a:moveTo>
                      <a:pt x="1178353" y="0"/>
                    </a:moveTo>
                    <a:cubicBezTo>
                      <a:pt x="1197652" y="0"/>
                      <a:pt x="1213295" y="15646"/>
                      <a:pt x="1213295" y="34944"/>
                    </a:cubicBezTo>
                    <a:cubicBezTo>
                      <a:pt x="1213295" y="54243"/>
                      <a:pt x="1197652" y="69887"/>
                      <a:pt x="1178353" y="69887"/>
                    </a:cubicBezTo>
                    <a:cubicBezTo>
                      <a:pt x="1159054" y="69887"/>
                      <a:pt x="1143409" y="54243"/>
                      <a:pt x="1143409" y="34944"/>
                    </a:cubicBezTo>
                    <a:cubicBezTo>
                      <a:pt x="1143409" y="15646"/>
                      <a:pt x="1159054" y="0"/>
                      <a:pt x="1178353" y="0"/>
                    </a:cubicBezTo>
                    <a:close/>
                    <a:moveTo>
                      <a:pt x="666483" y="0"/>
                    </a:moveTo>
                    <a:cubicBezTo>
                      <a:pt x="685781" y="0"/>
                      <a:pt x="701425" y="15646"/>
                      <a:pt x="701425" y="34944"/>
                    </a:cubicBezTo>
                    <a:cubicBezTo>
                      <a:pt x="701425" y="54243"/>
                      <a:pt x="685780" y="69887"/>
                      <a:pt x="666483" y="69887"/>
                    </a:cubicBezTo>
                    <a:cubicBezTo>
                      <a:pt x="647184" y="69887"/>
                      <a:pt x="631539" y="54243"/>
                      <a:pt x="631539" y="34944"/>
                    </a:cubicBezTo>
                    <a:cubicBezTo>
                      <a:pt x="631539" y="15646"/>
                      <a:pt x="647184" y="0"/>
                      <a:pt x="666483" y="0"/>
                    </a:cubicBezTo>
                    <a:close/>
                    <a:moveTo>
                      <a:pt x="154424" y="0"/>
                    </a:moveTo>
                    <a:cubicBezTo>
                      <a:pt x="173722" y="0"/>
                      <a:pt x="189367" y="15646"/>
                      <a:pt x="189367" y="34944"/>
                    </a:cubicBezTo>
                    <a:cubicBezTo>
                      <a:pt x="189367" y="54243"/>
                      <a:pt x="173722" y="69887"/>
                      <a:pt x="154424" y="69887"/>
                    </a:cubicBezTo>
                    <a:cubicBezTo>
                      <a:pt x="135125" y="69887"/>
                      <a:pt x="119480" y="54243"/>
                      <a:pt x="119480" y="34944"/>
                    </a:cubicBezTo>
                    <a:cubicBezTo>
                      <a:pt x="119480" y="15646"/>
                      <a:pt x="135125" y="0"/>
                      <a:pt x="154424" y="0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3" name="Freeform: Shape 322">
                <a:extLst>
                  <a:ext uri="{FF2B5EF4-FFF2-40B4-BE49-F238E27FC236}">
                    <a16:creationId xmlns:a16="http://schemas.microsoft.com/office/drawing/2014/main" id="{0FC692DE-D2D7-496A-BE71-4EF9A005E2C8}"/>
                  </a:ext>
                </a:extLst>
              </p:cNvPr>
              <p:cNvSpPr/>
              <p:nvPr/>
            </p:nvSpPr>
            <p:spPr>
              <a:xfrm>
                <a:off x="11963227" y="2355186"/>
                <a:ext cx="41176" cy="41176"/>
              </a:xfrm>
              <a:custGeom>
                <a:avLst/>
                <a:gdLst>
                  <a:gd name="connsiteX0" fmla="*/ 41177 w 41176"/>
                  <a:gd name="connsiteY0" fmla="*/ 20588 h 41176"/>
                  <a:gd name="connsiteX1" fmla="*/ 20588 w 41176"/>
                  <a:gd name="connsiteY1" fmla="*/ 41177 h 41176"/>
                  <a:gd name="connsiteX2" fmla="*/ 0 w 41176"/>
                  <a:gd name="connsiteY2" fmla="*/ 20588 h 41176"/>
                  <a:gd name="connsiteX3" fmla="*/ 20588 w 41176"/>
                  <a:gd name="connsiteY3" fmla="*/ 0 h 41176"/>
                  <a:gd name="connsiteX4" fmla="*/ 41177 w 41176"/>
                  <a:gd name="connsiteY4" fmla="*/ 20588 h 411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1176" h="41176">
                    <a:moveTo>
                      <a:pt x="41177" y="20588"/>
                    </a:moveTo>
                    <a:cubicBezTo>
                      <a:pt x="41177" y="31921"/>
                      <a:pt x="31920" y="41177"/>
                      <a:pt x="20588" y="41177"/>
                    </a:cubicBezTo>
                    <a:cubicBezTo>
                      <a:pt x="9255" y="41177"/>
                      <a:pt x="0" y="31921"/>
                      <a:pt x="0" y="20588"/>
                    </a:cubicBezTo>
                    <a:cubicBezTo>
                      <a:pt x="0" y="9255"/>
                      <a:pt x="9255" y="0"/>
                      <a:pt x="20588" y="0"/>
                    </a:cubicBezTo>
                    <a:cubicBezTo>
                      <a:pt x="31920" y="0"/>
                      <a:pt x="41177" y="9255"/>
                      <a:pt x="41177" y="20588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324" name="Freeform: Shape 323">
                <a:extLst>
                  <a:ext uri="{FF2B5EF4-FFF2-40B4-BE49-F238E27FC236}">
                    <a16:creationId xmlns:a16="http://schemas.microsoft.com/office/drawing/2014/main" id="{554D53D0-2E98-4DB4-863F-9DDBC5520974}"/>
                  </a:ext>
                </a:extLst>
              </p:cNvPr>
              <p:cNvSpPr/>
              <p:nvPr/>
            </p:nvSpPr>
            <p:spPr>
              <a:xfrm>
                <a:off x="11977393" y="1915463"/>
                <a:ext cx="12844" cy="12844"/>
              </a:xfrm>
              <a:custGeom>
                <a:avLst/>
                <a:gdLst>
                  <a:gd name="connsiteX0" fmla="*/ 12844 w 12844"/>
                  <a:gd name="connsiteY0" fmla="*/ 6422 h 12844"/>
                  <a:gd name="connsiteX1" fmla="*/ 6421 w 12844"/>
                  <a:gd name="connsiteY1" fmla="*/ 12844 h 12844"/>
                  <a:gd name="connsiteX2" fmla="*/ 0 w 12844"/>
                  <a:gd name="connsiteY2" fmla="*/ 6422 h 12844"/>
                  <a:gd name="connsiteX3" fmla="*/ 6421 w 12844"/>
                  <a:gd name="connsiteY3" fmla="*/ 0 h 12844"/>
                  <a:gd name="connsiteX4" fmla="*/ 12844 w 12844"/>
                  <a:gd name="connsiteY4" fmla="*/ 6422 h 12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2844" h="12844">
                    <a:moveTo>
                      <a:pt x="12844" y="6422"/>
                    </a:moveTo>
                    <a:cubicBezTo>
                      <a:pt x="12844" y="10011"/>
                      <a:pt x="10010" y="12844"/>
                      <a:pt x="6421" y="12844"/>
                    </a:cubicBezTo>
                    <a:cubicBezTo>
                      <a:pt x="2833" y="12844"/>
                      <a:pt x="0" y="10011"/>
                      <a:pt x="0" y="6422"/>
                    </a:cubicBezTo>
                    <a:cubicBezTo>
                      <a:pt x="0" y="2833"/>
                      <a:pt x="2833" y="0"/>
                      <a:pt x="6421" y="0"/>
                    </a:cubicBezTo>
                    <a:cubicBezTo>
                      <a:pt x="10010" y="0"/>
                      <a:pt x="12844" y="2833"/>
                      <a:pt x="12844" y="6422"/>
                    </a:cubicBezTo>
                    <a:close/>
                  </a:path>
                </a:pathLst>
              </a:custGeom>
              <a:grpFill/>
              <a:ln w="1887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37399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8" r:id="rId1"/>
    <p:sldLayoutId id="2147483979" r:id="rId2"/>
    <p:sldLayoutId id="2147483980" r:id="rId3"/>
    <p:sldLayoutId id="2147483981" r:id="rId4"/>
    <p:sldLayoutId id="2147483982" r:id="rId5"/>
    <p:sldLayoutId id="2147483983" r:id="rId6"/>
    <p:sldLayoutId id="2147483984" r:id="rId7"/>
    <p:sldLayoutId id="2147483985" r:id="rId8"/>
    <p:sldLayoutId id="2147483986" r:id="rId9"/>
    <p:sldLayoutId id="2147483987" r:id="rId10"/>
    <p:sldLayoutId id="2147483988" r:id="rId11"/>
    <p:sldLayoutId id="2147483989" r:id="rId12"/>
    <p:sldLayoutId id="2147483990" r:id="rId13"/>
    <p:sldLayoutId id="2147483991" r:id="rId14"/>
    <p:sldLayoutId id="2147483992" r:id="rId15"/>
    <p:sldLayoutId id="2147483993" r:id="rId16"/>
    <p:sldLayoutId id="2147483994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̶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6206819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1"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ru-RU" dirty="0"/>
              <a:t>Над диаграммой Название выставки</a:t>
            </a:r>
            <a:br>
              <a:rPr lang="en-US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/>
                <a:endParaRPr lang="en-US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ru-RU" sz="1400" dirty="0"/>
                <a:t>Легенда</a:t>
              </a:r>
              <a:endParaRPr lang="en-US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/>
              <a:endParaRPr lang="ru-RU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de-DE" sz="1400" b="1">
                  <a:solidFill>
                    <a:schemeClr val="tx2"/>
                  </a:solidFill>
                </a:rPr>
                <a:t>Callout title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en-US" sz="1400" dirty="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de-DE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de-DE" sz="1600" dirty="0" err="1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>
                <a:buClr>
                  <a:schemeClr val="tx2"/>
                </a:buClr>
              </a:pPr>
              <a:r>
                <a:rPr lang="de-DE" b="1">
                  <a:solidFill>
                    <a:schemeClr val="tx2"/>
                  </a:solidFill>
                </a:rPr>
                <a:t>Text</a:t>
              </a:r>
              <a:endParaRPr lang="de-DE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30287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7" r:id="rId1"/>
    <p:sldLayoutId id="2147483998" r:id="rId2"/>
    <p:sldLayoutId id="2147483999" r:id="rId3"/>
    <p:sldLayoutId id="2147484000" r:id="rId4"/>
    <p:sldLayoutId id="2147484001" r:id="rId5"/>
    <p:sldLayoutId id="2147484002" r:id="rId6"/>
    <p:sldLayoutId id="2147484003" r:id="rId7"/>
    <p:sldLayoutId id="2147484004" r:id="rId8"/>
    <p:sldLayoutId id="2147484005" r:id="rId9"/>
    <p:sldLayoutId id="2147484006" r:id="rId10"/>
    <p:sldLayoutId id="2147484007" r:id="rId11"/>
    <p:sldLayoutId id="2147484008" r:id="rId12"/>
    <p:sldLayoutId id="2147484009" r:id="rId13"/>
    <p:sldLayoutId id="2147484010" r:id="rId14"/>
    <p:sldLayoutId id="2147484011" r:id="rId15"/>
    <p:sldLayoutId id="2147484012" r:id="rId16"/>
    <p:sldLayoutId id="2147484013" r:id="rId17"/>
    <p:sldLayoutId id="2147484014" r:id="rId18"/>
    <p:sldLayoutId id="2147484016" r:id="rId19"/>
    <p:sldLayoutId id="2147484017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774600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1" name="think-cell Slide" r:id="rId46" imgW="413" imgH="416" progId="TCLayout.ActiveDocument.1">
                  <p:embed/>
                </p:oleObj>
              </mc:Choice>
              <mc:Fallback>
                <p:oleObj name="think-cell Slide" r:id="rId4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 rt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to edit Master title style</a:t>
            </a:r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Над диаграммой Название выставки</a:t>
            </a:r>
            <a:br>
              <a:rPr lang="ru-RU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 dirty="0"/>
              <a:t>Click to edit Master text styles</a:t>
            </a:r>
          </a:p>
          <a:p>
            <a:pPr lvl="1"/>
            <a:r>
              <a:rPr lang="ru-RU" dirty="0"/>
              <a:t>Second level</a:t>
            </a:r>
          </a:p>
          <a:p>
            <a:pPr lvl="2"/>
            <a:r>
              <a:rPr lang="ru-RU" dirty="0"/>
              <a:t>Third level</a:t>
            </a:r>
          </a:p>
          <a:p>
            <a:pPr lvl="3"/>
            <a:r>
              <a:rPr lang="ru-RU" dirty="0"/>
              <a:t>Fourth level</a:t>
            </a:r>
          </a:p>
          <a:p>
            <a:pPr lvl="4"/>
            <a:r>
              <a:rPr lang="ru-RU" dirty="0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ru-RU" sz="1400" b="1" dirty="0">
                  <a:solidFill>
                    <a:schemeClr val="tx2"/>
                  </a:solidFill>
                </a:rPr>
                <a:t>Callout title</a:t>
              </a:r>
            </a:p>
            <a:p>
              <a:pPr rtl="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ru-RU" sz="1400" dirty="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4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25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26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 dirty="0">
                  <a:solidFill>
                    <a:schemeClr val="tx2"/>
                  </a:solidFill>
                </a:rPr>
                <a:t>Tex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43435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0" r:id="rId1"/>
    <p:sldLayoutId id="2147484021" r:id="rId2"/>
    <p:sldLayoutId id="2147484022" r:id="rId3"/>
    <p:sldLayoutId id="2147484023" r:id="rId4"/>
    <p:sldLayoutId id="2147484024" r:id="rId5"/>
    <p:sldLayoutId id="2147484025" r:id="rId6"/>
    <p:sldLayoutId id="2147484026" r:id="rId7"/>
    <p:sldLayoutId id="2147484027" r:id="rId8"/>
    <p:sldLayoutId id="2147484028" r:id="rId9"/>
    <p:sldLayoutId id="2147484029" r:id="rId10"/>
    <p:sldLayoutId id="2147484030" r:id="rId11"/>
    <p:sldLayoutId id="2147484031" r:id="rId12"/>
    <p:sldLayoutId id="2147484032" r:id="rId13"/>
    <p:sldLayoutId id="2147484033" r:id="rId14"/>
    <p:sldLayoutId id="2147484034" r:id="rId15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399436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5" name="think-cell Slide" r:id="rId51" imgW="413" imgH="416" progId="TCLayout.ActiveDocument.1">
                  <p:embed/>
                </p:oleObj>
              </mc:Choice>
              <mc:Fallback>
                <p:oleObj name="think-cell Slide" r:id="rId5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5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 rt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7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Над диаграммой Название выставки</a:t>
            </a:r>
            <a:br>
              <a:rPr lang="ru-RU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5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8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9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40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8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ru-RU" sz="1400" b="1">
                  <a:solidFill>
                    <a:schemeClr val="tx2"/>
                  </a:solidFill>
                </a:rPr>
                <a:t>Callout title</a:t>
              </a:r>
            </a:p>
            <a:p>
              <a:pPr rtl="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ru-RU" sz="140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9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30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31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3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4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5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09848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  <p:sldLayoutId id="2147484046" r:id="rId11"/>
    <p:sldLayoutId id="2147484047" r:id="rId12"/>
    <p:sldLayoutId id="2147484048" r:id="rId13"/>
    <p:sldLayoutId id="2147484049" r:id="rId14"/>
    <p:sldLayoutId id="2147484050" r:id="rId15"/>
    <p:sldLayoutId id="2147484051" r:id="rId16"/>
    <p:sldLayoutId id="2147484052" r:id="rId17"/>
    <p:sldLayoutId id="2147484053" r:id="rId18"/>
    <p:sldLayoutId id="2147484054" r:id="rId19"/>
    <p:sldLayoutId id="2147484055" r:id="rId20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6468273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09" name="think-cell Slide" r:id="rId48" imgW="413" imgH="416" progId="TCLayout.ActiveDocument.1">
                  <p:embed/>
                </p:oleObj>
              </mc:Choice>
              <mc:Fallback>
                <p:oleObj name="think-cell Slide" r:id="rId4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ru-RU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ru-RU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ru-RU" sz="25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553972" y="6278400"/>
            <a:ext cx="7278624" cy="12311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indent="-212725">
              <a:defRPr sz="800"/>
            </a:lvl1pPr>
          </a:lstStyle>
          <a:p>
            <a:pPr lvl="0" rtl="0"/>
            <a:r>
              <a:rPr lang="ru-RU" dirty="0"/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3"/>
            </p:custDataLst>
          </p:nvPr>
        </p:nvSpPr>
        <p:spPr>
          <a:xfrm>
            <a:off x="554737" y="577493"/>
            <a:ext cx="10466386" cy="3847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ru-RU" dirty="0"/>
              <a:t>Click </a:t>
            </a:r>
            <a:r>
              <a:rPr lang="ru-RU" dirty="0" err="1"/>
              <a:t>to</a:t>
            </a:r>
            <a:r>
              <a:rPr lang="ru-RU" dirty="0"/>
              <a:t> </a:t>
            </a:r>
            <a:r>
              <a:rPr lang="ru-RU" dirty="0" err="1"/>
              <a:t>edit</a:t>
            </a:r>
            <a:r>
              <a:rPr lang="ru-RU" dirty="0"/>
              <a:t> Master </a:t>
            </a:r>
            <a:r>
              <a:rPr lang="ru-RU" dirty="0" err="1"/>
              <a:t>title</a:t>
            </a:r>
            <a:r>
              <a:rPr lang="ru-RU" dirty="0"/>
              <a:t> </a:t>
            </a:r>
            <a:r>
              <a:rPr lang="ru-RU" dirty="0" err="1"/>
              <a:t>style</a:t>
            </a:r>
            <a:endParaRPr lang="ru-RU" dirty="0"/>
          </a:p>
        </p:txBody>
      </p: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374998"/>
            <a:ext cx="355867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 rtl="0"/>
            <a:r>
              <a:rPr lang="ru-RU" dirty="0"/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987739" y="2170799"/>
            <a:ext cx="3274038" cy="46166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 rtl="0"/>
            <a:r>
              <a:rPr lang="ru-RU" dirty="0"/>
              <a:t>Над диаграммой Название выставки</a:t>
            </a:r>
            <a:br>
              <a:rPr lang="ru-RU" dirty="0"/>
            </a:br>
            <a:r>
              <a:rPr lang="ru-RU" sz="1400" b="0" dirty="0"/>
              <a:t>Единица измерения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0800"/>
            <a:ext cx="3908314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ru-RU" dirty="0"/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E0AC5E22-9470-450A-9EFA-F384BC23FF7E}"/>
              </a:ext>
            </a:extLst>
          </p:cNvPr>
          <p:cNvGrpSpPr/>
          <p:nvPr userDrawn="1"/>
        </p:nvGrpSpPr>
        <p:grpSpPr>
          <a:xfrm>
            <a:off x="10278831" y="3150223"/>
            <a:ext cx="1358432" cy="958286"/>
            <a:chOff x="10162879" y="3243772"/>
            <a:chExt cx="1358432" cy="958286"/>
          </a:xfrm>
        </p:grpSpPr>
        <p:sp>
          <p:nvSpPr>
            <p:cNvPr id="171" name="Legend1">
              <a:extLst>
                <a:ext uri="{FF2B5EF4-FFF2-40B4-BE49-F238E27FC236}">
                  <a16:creationId xmlns:a16="http://schemas.microsoft.com/office/drawing/2014/main" id="{4D6C00DB-2B46-4982-993F-7B211A96163A}"/>
                </a:ext>
              </a:extLst>
            </p:cNvPr>
            <p:cNvSpPr txBox="1"/>
            <p:nvPr/>
          </p:nvSpPr>
          <p:spPr>
            <a:xfrm>
              <a:off x="10886522" y="324377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2" name="Legend2">
              <a:extLst>
                <a:ext uri="{FF2B5EF4-FFF2-40B4-BE49-F238E27FC236}">
                  <a16:creationId xmlns:a16="http://schemas.microsoft.com/office/drawing/2014/main" id="{6FBBC44A-64BD-4C31-8918-A321B8EB5523}"/>
                </a:ext>
              </a:extLst>
            </p:cNvPr>
            <p:cNvSpPr txBox="1"/>
            <p:nvPr/>
          </p:nvSpPr>
          <p:spPr>
            <a:xfrm>
              <a:off x="10886522" y="3615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3" name="Legend3">
              <a:extLst>
                <a:ext uri="{FF2B5EF4-FFF2-40B4-BE49-F238E27FC236}">
                  <a16:creationId xmlns:a16="http://schemas.microsoft.com/office/drawing/2014/main" id="{22033660-BB30-4324-800D-52C30BF6DA76}"/>
                </a:ext>
              </a:extLst>
            </p:cNvPr>
            <p:cNvSpPr txBox="1"/>
            <p:nvPr/>
          </p:nvSpPr>
          <p:spPr>
            <a:xfrm>
              <a:off x="10886522" y="398661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 dirty="0"/>
                <a:t>Легенда</a:t>
              </a:r>
            </a:p>
          </p:txBody>
        </p:sp>
        <p:sp>
          <p:nvSpPr>
            <p:cNvPr id="174" name="LineLegend3">
              <a:extLst>
                <a:ext uri="{FF2B5EF4-FFF2-40B4-BE49-F238E27FC236}">
                  <a16:creationId xmlns:a16="http://schemas.microsoft.com/office/drawing/2014/main" id="{437DE7DB-7E3B-4481-891C-42B9A7D41AE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5" name="LineLegend2">
              <a:extLst>
                <a:ext uri="{FF2B5EF4-FFF2-40B4-BE49-F238E27FC236}">
                  <a16:creationId xmlns:a16="http://schemas.microsoft.com/office/drawing/2014/main" id="{36AA0C10-7093-4422-B166-AA5DB09D623F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  <p:sp>
          <p:nvSpPr>
            <p:cNvPr id="176" name="LineLegend1">
              <a:extLst>
                <a:ext uri="{FF2B5EF4-FFF2-40B4-BE49-F238E27FC236}">
                  <a16:creationId xmlns:a16="http://schemas.microsoft.com/office/drawing/2014/main" id="{0F64231B-33DD-4A52-87AC-F505772433D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rtl="0"/>
              <a:endParaRPr lang="ru-RU" sz="1400" baseline="0" dirty="0"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6FD57AC0-5D00-4E44-9EE3-189E5541DD07}"/>
              </a:ext>
            </a:extLst>
          </p:cNvPr>
          <p:cNvGrpSpPr/>
          <p:nvPr userDrawn="1"/>
        </p:nvGrpSpPr>
        <p:grpSpPr>
          <a:xfrm>
            <a:off x="10649842" y="1145373"/>
            <a:ext cx="987421" cy="1731859"/>
            <a:chOff x="7723680" y="1702457"/>
            <a:chExt cx="987421" cy="1731859"/>
          </a:xfrm>
        </p:grpSpPr>
        <p:sp>
          <p:nvSpPr>
            <p:cNvPr id="178" name="Legend1">
              <a:extLst>
                <a:ext uri="{FF2B5EF4-FFF2-40B4-BE49-F238E27FC236}">
                  <a16:creationId xmlns:a16="http://schemas.microsoft.com/office/drawing/2014/main" id="{C763229E-72A0-4BEF-8D27-097C1F5A9441}"/>
                </a:ext>
              </a:extLst>
            </p:cNvPr>
            <p:cNvSpPr txBox="1"/>
            <p:nvPr/>
          </p:nvSpPr>
          <p:spPr>
            <a:xfrm>
              <a:off x="8076312" y="1709816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86" name="Legend2">
              <a:extLst>
                <a:ext uri="{FF2B5EF4-FFF2-40B4-BE49-F238E27FC236}">
                  <a16:creationId xmlns:a16="http://schemas.microsoft.com/office/drawing/2014/main" id="{AFA15E25-C68F-4F09-9610-88F8F7DF338A}"/>
                </a:ext>
              </a:extLst>
            </p:cNvPr>
            <p:cNvSpPr txBox="1"/>
            <p:nvPr/>
          </p:nvSpPr>
          <p:spPr>
            <a:xfrm>
              <a:off x="8076312" y="2085275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98" name="Legend3">
              <a:extLst>
                <a:ext uri="{FF2B5EF4-FFF2-40B4-BE49-F238E27FC236}">
                  <a16:creationId xmlns:a16="http://schemas.microsoft.com/office/drawing/2014/main" id="{51A95285-0801-4366-8F40-1868D6DF7DB1}"/>
                </a:ext>
              </a:extLst>
            </p:cNvPr>
            <p:cNvSpPr txBox="1"/>
            <p:nvPr/>
          </p:nvSpPr>
          <p:spPr>
            <a:xfrm>
              <a:off x="8076312" y="246073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199" name="Legend4">
              <a:extLst>
                <a:ext uri="{FF2B5EF4-FFF2-40B4-BE49-F238E27FC236}">
                  <a16:creationId xmlns:a16="http://schemas.microsoft.com/office/drawing/2014/main" id="{A9CC2563-4EE0-40DA-B49E-0FE99A89317A}"/>
                </a:ext>
              </a:extLst>
            </p:cNvPr>
            <p:cNvSpPr txBox="1"/>
            <p:nvPr/>
          </p:nvSpPr>
          <p:spPr>
            <a:xfrm>
              <a:off x="8076312" y="2836193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00" name="Legend5">
              <a:extLst>
                <a:ext uri="{FF2B5EF4-FFF2-40B4-BE49-F238E27FC236}">
                  <a16:creationId xmlns:a16="http://schemas.microsoft.com/office/drawing/2014/main" id="{B7D80CAF-8322-4AC7-A711-A53AE7B1A486}"/>
                </a:ext>
              </a:extLst>
            </p:cNvPr>
            <p:cNvSpPr txBox="1"/>
            <p:nvPr/>
          </p:nvSpPr>
          <p:spPr>
            <a:xfrm>
              <a:off x="8076312" y="321165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grpSp>
          <p:nvGrpSpPr>
            <p:cNvPr id="201" name="MoonLegend1">
              <a:extLst>
                <a:ext uri="{FF2B5EF4-FFF2-40B4-BE49-F238E27FC236}">
                  <a16:creationId xmlns:a16="http://schemas.microsoft.com/office/drawing/2014/main" id="{72D67197-C0FD-471F-95E0-2F7DB99E4110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>
                <a:extLst>
                  <a:ext uri="{FF2B5EF4-FFF2-40B4-BE49-F238E27FC236}">
                    <a16:creationId xmlns:a16="http://schemas.microsoft.com/office/drawing/2014/main" id="{B2825A3A-0C08-47CF-9532-7E430B4F4F0E}"/>
                  </a:ext>
                </a:extLst>
              </p:cNvPr>
              <p:cNvSpPr/>
              <p:nvPr>
                <p:custDataLst>
                  <p:tags r:id="rId4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5" name="Arc 214">
                <a:extLst>
                  <a:ext uri="{FF2B5EF4-FFF2-40B4-BE49-F238E27FC236}">
                    <a16:creationId xmlns:a16="http://schemas.microsoft.com/office/drawing/2014/main" id="{415BCFE5-8B36-4199-85E7-9ADD358BAE67}"/>
                  </a:ext>
                </a:extLst>
              </p:cNvPr>
              <p:cNvSpPr/>
              <p:nvPr>
                <p:custDataLst>
                  <p:tags r:id="rId4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2" name="MoonLegend2">
              <a:extLst>
                <a:ext uri="{FF2B5EF4-FFF2-40B4-BE49-F238E27FC236}">
                  <a16:creationId xmlns:a16="http://schemas.microsoft.com/office/drawing/2014/main" id="{EC8F7EE9-EEDD-48CA-9BA0-9FC008EECAC9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21010118-CB2B-4D99-90A8-A0F4DAB9E286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3" name="Arc 212">
                <a:extLst>
                  <a:ext uri="{FF2B5EF4-FFF2-40B4-BE49-F238E27FC236}">
                    <a16:creationId xmlns:a16="http://schemas.microsoft.com/office/drawing/2014/main" id="{1E036AB7-C75A-4804-974E-6A2B3FB84747}"/>
                  </a:ext>
                </a:extLst>
              </p:cNvPr>
              <p:cNvSpPr/>
              <p:nvPr>
                <p:custDataLst>
                  <p:tags r:id="rId4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3" name="MoonLegend3">
              <a:extLst>
                <a:ext uri="{FF2B5EF4-FFF2-40B4-BE49-F238E27FC236}">
                  <a16:creationId xmlns:a16="http://schemas.microsoft.com/office/drawing/2014/main" id="{984131F3-1327-4B46-8ED6-F3C1CEDDAECA}"/>
                </a:ext>
              </a:extLst>
            </p:cNvPr>
            <p:cNvGrpSpPr>
              <a:grpSpLocks noChangeAspect="1"/>
            </p:cNvGrpSpPr>
            <p:nvPr>
              <p:custDataLst>
                <p:tags r:id="rId3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>
                <a:extLst>
                  <a:ext uri="{FF2B5EF4-FFF2-40B4-BE49-F238E27FC236}">
                    <a16:creationId xmlns:a16="http://schemas.microsoft.com/office/drawing/2014/main" id="{8A700EEA-9690-4BDB-AA42-DD1AD67C8527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11" name="Arc 210">
                <a:extLst>
                  <a:ext uri="{FF2B5EF4-FFF2-40B4-BE49-F238E27FC236}">
                    <a16:creationId xmlns:a16="http://schemas.microsoft.com/office/drawing/2014/main" id="{2D359E1A-3B5E-4814-B6E6-7B19DC33564D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4" name="MoonLegend4">
              <a:extLst>
                <a:ext uri="{FF2B5EF4-FFF2-40B4-BE49-F238E27FC236}">
                  <a16:creationId xmlns:a16="http://schemas.microsoft.com/office/drawing/2014/main" id="{0F47C36D-9F95-4A8A-B882-5055F1E6023A}"/>
                </a:ext>
              </a:extLst>
            </p:cNvPr>
            <p:cNvGrpSpPr>
              <a:grpSpLocks noChangeAspect="1"/>
            </p:cNvGrpSpPr>
            <p:nvPr>
              <p:custDataLst>
                <p:tags r:id="rId3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>
                <a:extLst>
                  <a:ext uri="{FF2B5EF4-FFF2-40B4-BE49-F238E27FC236}">
                    <a16:creationId xmlns:a16="http://schemas.microsoft.com/office/drawing/2014/main" id="{E299AD33-4090-4B40-A656-E479130BEDC1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9" name="Arc 208">
                <a:extLst>
                  <a:ext uri="{FF2B5EF4-FFF2-40B4-BE49-F238E27FC236}">
                    <a16:creationId xmlns:a16="http://schemas.microsoft.com/office/drawing/2014/main" id="{1A9A840F-084E-4C56-B06A-E8B0A7E8622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  <p:grpSp>
          <p:nvGrpSpPr>
            <p:cNvPr id="205" name="MoonLegend5">
              <a:extLst>
                <a:ext uri="{FF2B5EF4-FFF2-40B4-BE49-F238E27FC236}">
                  <a16:creationId xmlns:a16="http://schemas.microsoft.com/office/drawing/2014/main" id="{040308AF-B981-4481-9838-D27FD72DB31A}"/>
                </a:ext>
              </a:extLst>
            </p:cNvPr>
            <p:cNvGrpSpPr>
              <a:grpSpLocks noChangeAspect="1"/>
            </p:cNvGrpSpPr>
            <p:nvPr>
              <p:custDataLst>
                <p:tags r:id="rId3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>
                <a:extLst>
                  <a:ext uri="{FF2B5EF4-FFF2-40B4-BE49-F238E27FC236}">
                    <a16:creationId xmlns:a16="http://schemas.microsoft.com/office/drawing/2014/main" id="{7E74AF12-3078-4E51-9393-4CC6DA054CD3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207" name="Arc 206">
                <a:extLst>
                  <a:ext uri="{FF2B5EF4-FFF2-40B4-BE49-F238E27FC236}">
                    <a16:creationId xmlns:a16="http://schemas.microsoft.com/office/drawing/2014/main" id="{51433BAE-5F4A-40E2-AC43-02958627A895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wrap="none" rtlCol="0" anchor="ctr"/>
              <a:lstStyle/>
              <a:p>
                <a:pPr algn="ctr" rtl="0"/>
                <a:endParaRPr lang="ru-RU" sz="1400" dirty="0"/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98141D7B-6CD4-4B18-A048-BABA0AA8453C}"/>
              </a:ext>
            </a:extLst>
          </p:cNvPr>
          <p:cNvGrpSpPr/>
          <p:nvPr userDrawn="1"/>
        </p:nvGrpSpPr>
        <p:grpSpPr>
          <a:xfrm>
            <a:off x="10676328" y="4381500"/>
            <a:ext cx="960935" cy="1717282"/>
            <a:chOff x="10652400" y="4322824"/>
            <a:chExt cx="960935" cy="1717282"/>
          </a:xfrm>
        </p:grpSpPr>
        <p:sp>
          <p:nvSpPr>
            <p:cNvPr id="217" name="RectangleLegend1">
              <a:extLst>
                <a:ext uri="{FF2B5EF4-FFF2-40B4-BE49-F238E27FC236}">
                  <a16:creationId xmlns:a16="http://schemas.microsoft.com/office/drawing/2014/main" id="{5138BD32-27DF-4EE1-9421-FAD37662F7B9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8" name="RectangleLegend2">
              <a:extLst>
                <a:ext uri="{FF2B5EF4-FFF2-40B4-BE49-F238E27FC236}">
                  <a16:creationId xmlns:a16="http://schemas.microsoft.com/office/drawing/2014/main" id="{D45AFC3C-E200-482E-9E01-60CABC5C93FB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19" name="RectangleLegend3">
              <a:extLst>
                <a:ext uri="{FF2B5EF4-FFF2-40B4-BE49-F238E27FC236}">
                  <a16:creationId xmlns:a16="http://schemas.microsoft.com/office/drawing/2014/main" id="{CC6CDF48-6FAA-45F3-BBD0-5B524B4F0891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0" name="RectangleLegend4">
              <a:extLst>
                <a:ext uri="{FF2B5EF4-FFF2-40B4-BE49-F238E27FC236}">
                  <a16:creationId xmlns:a16="http://schemas.microsoft.com/office/drawing/2014/main" id="{580CC28C-520D-43DB-9C25-5F9D64DA771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1" name="RectangleLegend5">
              <a:extLst>
                <a:ext uri="{FF2B5EF4-FFF2-40B4-BE49-F238E27FC236}">
                  <a16:creationId xmlns:a16="http://schemas.microsoft.com/office/drawing/2014/main" id="{2D1768CA-5F58-4C7B-AEED-A915BAEAEC07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/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22" name="Legend1">
              <a:extLst>
                <a:ext uri="{FF2B5EF4-FFF2-40B4-BE49-F238E27FC236}">
                  <a16:creationId xmlns:a16="http://schemas.microsoft.com/office/drawing/2014/main" id="{AEBDDC02-F047-44FC-A008-816DC81D3757}"/>
                </a:ext>
              </a:extLst>
            </p:cNvPr>
            <p:cNvSpPr txBox="1"/>
            <p:nvPr/>
          </p:nvSpPr>
          <p:spPr>
            <a:xfrm>
              <a:off x="10978546" y="4322824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3" name="Legend2">
              <a:extLst>
                <a:ext uri="{FF2B5EF4-FFF2-40B4-BE49-F238E27FC236}">
                  <a16:creationId xmlns:a16="http://schemas.microsoft.com/office/drawing/2014/main" id="{FFDEB0BC-2F25-4F37-A206-579CAF8BCFBB}"/>
                </a:ext>
              </a:extLst>
            </p:cNvPr>
            <p:cNvSpPr txBox="1"/>
            <p:nvPr/>
          </p:nvSpPr>
          <p:spPr>
            <a:xfrm>
              <a:off x="10978546" y="470232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4" name="Legend3">
              <a:extLst>
                <a:ext uri="{FF2B5EF4-FFF2-40B4-BE49-F238E27FC236}">
                  <a16:creationId xmlns:a16="http://schemas.microsoft.com/office/drawing/2014/main" id="{897278DE-972D-497E-AA4C-4B1C7FA03EA7}"/>
                </a:ext>
              </a:extLst>
            </p:cNvPr>
            <p:cNvSpPr txBox="1"/>
            <p:nvPr/>
          </p:nvSpPr>
          <p:spPr>
            <a:xfrm>
              <a:off x="10978546" y="5081820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5" name="Legend4">
              <a:extLst>
                <a:ext uri="{FF2B5EF4-FFF2-40B4-BE49-F238E27FC236}">
                  <a16:creationId xmlns:a16="http://schemas.microsoft.com/office/drawing/2014/main" id="{5F64C22A-865D-4EAF-AC95-703511620F26}"/>
                </a:ext>
              </a:extLst>
            </p:cNvPr>
            <p:cNvSpPr txBox="1"/>
            <p:nvPr/>
          </p:nvSpPr>
          <p:spPr>
            <a:xfrm>
              <a:off x="10978546" y="5453241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  <p:sp>
          <p:nvSpPr>
            <p:cNvPr id="226" name="Legend5">
              <a:extLst>
                <a:ext uri="{FF2B5EF4-FFF2-40B4-BE49-F238E27FC236}">
                  <a16:creationId xmlns:a16="http://schemas.microsoft.com/office/drawing/2014/main" id="{1AE68CA8-0BF4-4490-AF9D-792EE2BD2397}"/>
                </a:ext>
              </a:extLst>
            </p:cNvPr>
            <p:cNvSpPr txBox="1"/>
            <p:nvPr/>
          </p:nvSpPr>
          <p:spPr>
            <a:xfrm>
              <a:off x="10978545" y="5824662"/>
              <a:ext cx="634789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 rtl="0">
                <a:spcAft>
                  <a:spcPts val="600"/>
                </a:spcAft>
              </a:pPr>
              <a:r>
                <a:rPr lang="ru-RU" sz="1400"/>
                <a:t>Легенда</a:t>
              </a:r>
              <a:endParaRPr lang="ru-RU" sz="1400" dirty="0"/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DB453889-72BD-489E-9EE4-BB0E006A736F}"/>
              </a:ext>
            </a:extLst>
          </p:cNvPr>
          <p:cNvGrpSpPr/>
          <p:nvPr userDrawn="1"/>
        </p:nvGrpSpPr>
        <p:grpSpPr>
          <a:xfrm>
            <a:off x="11342770" y="226624"/>
            <a:ext cx="294493" cy="686633"/>
            <a:chOff x="547689" y="944295"/>
            <a:chExt cx="445126" cy="1037843"/>
          </a:xfrm>
        </p:grpSpPr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BEDD4E00-B876-4F49-AD03-C8308066E33D}"/>
                </a:ext>
              </a:extLst>
            </p:cNvPr>
            <p:cNvSpPr/>
            <p:nvPr userDrawn="1"/>
          </p:nvSpPr>
          <p:spPr>
            <a:xfrm>
              <a:off x="547689" y="1472980"/>
              <a:ext cx="309501" cy="509158"/>
            </a:xfrm>
            <a:custGeom>
              <a:avLst/>
              <a:gdLst>
                <a:gd name="connsiteX0" fmla="*/ 80216 w 280812"/>
                <a:gd name="connsiteY0" fmla="*/ 1143 h 461962"/>
                <a:gd name="connsiteX1" fmla="*/ 83645 w 280812"/>
                <a:gd name="connsiteY1" fmla="*/ 0 h 461962"/>
                <a:gd name="connsiteX2" fmla="*/ 101552 w 280812"/>
                <a:gd name="connsiteY2" fmla="*/ 0 h 461962"/>
                <a:gd name="connsiteX3" fmla="*/ 211185 w 280812"/>
                <a:gd name="connsiteY3" fmla="*/ 190119 h 461962"/>
                <a:gd name="connsiteX4" fmla="*/ 263667 w 280812"/>
                <a:gd name="connsiteY4" fmla="*/ 259652 h 461962"/>
                <a:gd name="connsiteX5" fmla="*/ 263667 w 280812"/>
                <a:gd name="connsiteY5" fmla="*/ 358616 h 461962"/>
                <a:gd name="connsiteX6" fmla="*/ 187182 w 280812"/>
                <a:gd name="connsiteY6" fmla="*/ 461963 h 461962"/>
                <a:gd name="connsiteX7" fmla="*/ 169751 w 280812"/>
                <a:gd name="connsiteY7" fmla="*/ 368046 h 461962"/>
                <a:gd name="connsiteX8" fmla="*/ 19827 w 280812"/>
                <a:gd name="connsiteY8" fmla="*/ 175165 h 461962"/>
                <a:gd name="connsiteX9" fmla="*/ 15446 w 280812"/>
                <a:gd name="connsiteY9" fmla="*/ 82010 h 461962"/>
                <a:gd name="connsiteX10" fmla="*/ 65071 w 280812"/>
                <a:gd name="connsiteY10" fmla="*/ 12192 h 461962"/>
                <a:gd name="connsiteX11" fmla="*/ 80216 w 280812"/>
                <a:gd name="connsiteY11" fmla="*/ 1143 h 461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80812" h="461962">
                  <a:moveTo>
                    <a:pt x="80216" y="1143"/>
                  </a:moveTo>
                  <a:lnTo>
                    <a:pt x="83645" y="0"/>
                  </a:lnTo>
                  <a:lnTo>
                    <a:pt x="101552" y="0"/>
                  </a:lnTo>
                  <a:lnTo>
                    <a:pt x="211185" y="190119"/>
                  </a:lnTo>
                  <a:lnTo>
                    <a:pt x="263667" y="259652"/>
                  </a:lnTo>
                  <a:cubicBezTo>
                    <a:pt x="263667" y="259652"/>
                    <a:pt x="302244" y="305562"/>
                    <a:pt x="263667" y="358616"/>
                  </a:cubicBezTo>
                  <a:lnTo>
                    <a:pt x="187182" y="461963"/>
                  </a:lnTo>
                  <a:cubicBezTo>
                    <a:pt x="187182" y="461963"/>
                    <a:pt x="207565" y="419005"/>
                    <a:pt x="169751" y="368046"/>
                  </a:cubicBezTo>
                  <a:lnTo>
                    <a:pt x="19827" y="175165"/>
                  </a:lnTo>
                  <a:cubicBezTo>
                    <a:pt x="19827" y="175165"/>
                    <a:pt x="-21702" y="123444"/>
                    <a:pt x="15446" y="82010"/>
                  </a:cubicBezTo>
                  <a:lnTo>
                    <a:pt x="65071" y="12192"/>
                  </a:lnTo>
                  <a:cubicBezTo>
                    <a:pt x="68786" y="6953"/>
                    <a:pt x="74120" y="3048"/>
                    <a:pt x="80216" y="1143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2700000" scaled="1"/>
              <a:tileRect/>
            </a:gradFill>
            <a:ln w="9525" cap="flat">
              <a:noFill/>
              <a:prstDash val="solid"/>
              <a:miter/>
            </a:ln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rtl="0"/>
              <a:endParaRPr lang="ru-RU" dirty="0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EE507E64-AEC8-4D7D-BC79-AE0492B99C24}"/>
                </a:ext>
              </a:extLst>
            </p:cNvPr>
            <p:cNvSpPr/>
            <p:nvPr userDrawn="1"/>
          </p:nvSpPr>
          <p:spPr>
            <a:xfrm>
              <a:off x="568038" y="944295"/>
              <a:ext cx="424777" cy="731823"/>
            </a:xfrm>
            <a:custGeom>
              <a:avLst/>
              <a:gdLst>
                <a:gd name="connsiteX0" fmla="*/ 151288 w 385402"/>
                <a:gd name="connsiteY0" fmla="*/ 95 h 663987"/>
                <a:gd name="connsiteX1" fmla="*/ 29749 w 385402"/>
                <a:gd name="connsiteY1" fmla="*/ 168593 h 663987"/>
                <a:gd name="connsiteX2" fmla="*/ 126 w 385402"/>
                <a:gd name="connsiteY2" fmla="*/ 251269 h 663987"/>
                <a:gd name="connsiteX3" fmla="*/ 45370 w 385402"/>
                <a:gd name="connsiteY3" fmla="*/ 372332 h 663987"/>
                <a:gd name="connsiteX4" fmla="*/ 82898 w 385402"/>
                <a:gd name="connsiteY4" fmla="*/ 417481 h 663987"/>
                <a:gd name="connsiteX5" fmla="*/ 272065 w 385402"/>
                <a:gd name="connsiteY5" fmla="*/ 663988 h 663987"/>
                <a:gd name="connsiteX6" fmla="*/ 360266 w 385402"/>
                <a:gd name="connsiteY6" fmla="*/ 539972 h 663987"/>
                <a:gd name="connsiteX7" fmla="*/ 383317 w 385402"/>
                <a:gd name="connsiteY7" fmla="*/ 439484 h 663987"/>
                <a:gd name="connsiteX8" fmla="*/ 344931 w 385402"/>
                <a:gd name="connsiteY8" fmla="*/ 356711 h 663987"/>
                <a:gd name="connsiteX9" fmla="*/ 213867 w 385402"/>
                <a:gd name="connsiteY9" fmla="*/ 189262 h 663987"/>
                <a:gd name="connsiteX10" fmla="*/ 151288 w 385402"/>
                <a:gd name="connsiteY10" fmla="*/ 0 h 6639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5402" h="663987">
                  <a:moveTo>
                    <a:pt x="151288" y="95"/>
                  </a:moveTo>
                  <a:lnTo>
                    <a:pt x="29749" y="168593"/>
                  </a:lnTo>
                  <a:cubicBezTo>
                    <a:pt x="12318" y="192786"/>
                    <a:pt x="1269" y="221456"/>
                    <a:pt x="126" y="251269"/>
                  </a:cubicBezTo>
                  <a:cubicBezTo>
                    <a:pt x="-1207" y="284893"/>
                    <a:pt x="7651" y="328327"/>
                    <a:pt x="45370" y="372332"/>
                  </a:cubicBezTo>
                  <a:cubicBezTo>
                    <a:pt x="58133" y="387191"/>
                    <a:pt x="70992" y="401955"/>
                    <a:pt x="82898" y="417481"/>
                  </a:cubicBezTo>
                  <a:lnTo>
                    <a:pt x="272065" y="663988"/>
                  </a:lnTo>
                  <a:lnTo>
                    <a:pt x="360266" y="539972"/>
                  </a:lnTo>
                  <a:cubicBezTo>
                    <a:pt x="380936" y="510826"/>
                    <a:pt x="389794" y="474631"/>
                    <a:pt x="383317" y="439484"/>
                  </a:cubicBezTo>
                  <a:cubicBezTo>
                    <a:pt x="378840" y="415481"/>
                    <a:pt x="367886" y="387287"/>
                    <a:pt x="344931" y="356711"/>
                  </a:cubicBezTo>
                  <a:lnTo>
                    <a:pt x="213867" y="189262"/>
                  </a:lnTo>
                  <a:cubicBezTo>
                    <a:pt x="213867" y="189262"/>
                    <a:pt x="136715" y="104775"/>
                    <a:pt x="151288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2"/>
                </a:gs>
                <a:gs pos="69000">
                  <a:srgbClr val="3D4AFB"/>
                </a:gs>
                <a:gs pos="33000">
                  <a:schemeClr val="accent3"/>
                </a:gs>
              </a:gsLst>
              <a:lin ang="15000000" scaled="0"/>
              <a:tileRect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5654424D-33CC-4F0F-BE80-34D1B881221D}"/>
                </a:ext>
              </a:extLst>
            </p:cNvPr>
            <p:cNvSpPr/>
            <p:nvPr userDrawn="1"/>
          </p:nvSpPr>
          <p:spPr>
            <a:xfrm>
              <a:off x="630414" y="1472980"/>
              <a:ext cx="236909" cy="212062"/>
            </a:xfrm>
            <a:custGeom>
              <a:avLst/>
              <a:gdLst>
                <a:gd name="connsiteX0" fmla="*/ 1825 w 214949"/>
                <a:gd name="connsiteY0" fmla="*/ 13811 h 192405"/>
                <a:gd name="connsiteX1" fmla="*/ 136128 w 214949"/>
                <a:gd name="connsiteY1" fmla="*/ 190119 h 192405"/>
                <a:gd name="connsiteX2" fmla="*/ 206327 w 214949"/>
                <a:gd name="connsiteY2" fmla="*/ 192405 h 192405"/>
                <a:gd name="connsiteX3" fmla="*/ 213185 w 214949"/>
                <a:gd name="connsiteY3" fmla="*/ 178689 h 192405"/>
                <a:gd name="connsiteX4" fmla="*/ 76025 w 214949"/>
                <a:gd name="connsiteY4" fmla="*/ 0 h 192405"/>
                <a:gd name="connsiteX5" fmla="*/ 8588 w 214949"/>
                <a:gd name="connsiteY5" fmla="*/ 0 h 192405"/>
                <a:gd name="connsiteX6" fmla="*/ 1825 w 214949"/>
                <a:gd name="connsiteY6" fmla="*/ 13811 h 1924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14949" h="192405">
                  <a:moveTo>
                    <a:pt x="1825" y="13811"/>
                  </a:moveTo>
                  <a:lnTo>
                    <a:pt x="136128" y="190119"/>
                  </a:lnTo>
                  <a:lnTo>
                    <a:pt x="206327" y="192405"/>
                  </a:lnTo>
                  <a:cubicBezTo>
                    <a:pt x="213471" y="192405"/>
                    <a:pt x="217471" y="184309"/>
                    <a:pt x="213185" y="178689"/>
                  </a:cubicBezTo>
                  <a:lnTo>
                    <a:pt x="76025" y="0"/>
                  </a:lnTo>
                  <a:lnTo>
                    <a:pt x="8588" y="0"/>
                  </a:lnTo>
                  <a:cubicBezTo>
                    <a:pt x="1444" y="0"/>
                    <a:pt x="-2556" y="8192"/>
                    <a:pt x="1825" y="13811"/>
                  </a:cubicBezTo>
                  <a:close/>
                </a:path>
              </a:pathLst>
            </a:custGeom>
            <a:gradFill>
              <a:gsLst>
                <a:gs pos="0">
                  <a:srgbClr val="2C8DAA"/>
                </a:gs>
                <a:gs pos="76000">
                  <a:srgbClr val="29388B"/>
                </a:gs>
              </a:gsLst>
              <a:lin ang="2700000" scaled="1"/>
            </a:gra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ru-RU" dirty="0"/>
            </a:p>
          </p:txBody>
        </p:sp>
      </p:grpSp>
      <p:grpSp>
        <p:nvGrpSpPr>
          <p:cNvPr id="155" name="StrongCallout" hidden="1">
            <a:extLst>
              <a:ext uri="{FF2B5EF4-FFF2-40B4-BE49-F238E27FC236}">
                <a16:creationId xmlns:a16="http://schemas.microsoft.com/office/drawing/2014/main" id="{2EFEC86A-2B62-4D2C-BF31-7589C28E4019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5318125" y="2393950"/>
            <a:ext cx="3026228" cy="1497846"/>
            <a:chOff x="1016000" y="1016000"/>
            <a:chExt cx="3026228" cy="1497846"/>
          </a:xfrm>
        </p:grpSpPr>
        <p:sp>
          <p:nvSpPr>
            <p:cNvPr id="156" name="TextBox 155">
              <a:extLst>
                <a:ext uri="{FF2B5EF4-FFF2-40B4-BE49-F238E27FC236}">
                  <a16:creationId xmlns:a16="http://schemas.microsoft.com/office/drawing/2014/main" id="{DDAB94EB-B930-4B02-A474-24CF5A8D3757}"/>
                </a:ext>
              </a:extLst>
            </p:cNvPr>
            <p:cNvSpPr txBox="1"/>
            <p:nvPr/>
          </p:nvSpPr>
          <p:spPr>
            <a:xfrm>
              <a:off x="1016000" y="1016000"/>
              <a:ext cx="2645228" cy="1497846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chemeClr val="bg1"/>
              </a:solidFill>
            </a:ln>
          </p:spPr>
          <p:txBody>
            <a:bodyPr vert="horz" wrap="square" lIns="182880" tIns="182880" rIns="182880" bIns="182880" rtlCol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spcBef>
                  <a:spcPts val="0"/>
                </a:spcBef>
                <a:spcAft>
                  <a:spcPts val="400"/>
                </a:spcAft>
                <a:buClr>
                  <a:schemeClr val="tx2"/>
                </a:buClr>
              </a:pPr>
              <a:r>
                <a:rPr lang="ru-RU" sz="1400" b="1">
                  <a:solidFill>
                    <a:schemeClr val="tx2"/>
                  </a:solidFill>
                </a:rPr>
                <a:t>Callout title</a:t>
              </a:r>
            </a:p>
            <a:p>
              <a:pPr rtl="0">
                <a:spcBef>
                  <a:spcPts val="0"/>
                </a:spcBef>
                <a:spcAft>
                  <a:spcPts val="600"/>
                </a:spcAft>
                <a:buClr>
                  <a:schemeClr val="tx2"/>
                </a:buClr>
              </a:pPr>
              <a:r>
                <a:rPr lang="ru-RU" sz="1400">
                  <a:solidFill>
                    <a:schemeClr val="tx2"/>
                  </a:solidFill>
                </a:rPr>
                <a:t>Supporting text goes here. Box will automatically adjust to content, adjust type size as needed.</a:t>
              </a:r>
              <a:endParaRPr lang="ru-RU" sz="1400" dirty="0">
                <a:solidFill>
                  <a:schemeClr val="tx2"/>
                </a:solidFill>
              </a:endParaRPr>
            </a:p>
          </p:txBody>
        </p:sp>
        <p:cxnSp>
          <p:nvCxnSpPr>
            <p:cNvPr id="157" name="Straight Arrow Connector 156">
              <a:extLst>
                <a:ext uri="{FF2B5EF4-FFF2-40B4-BE49-F238E27FC236}">
                  <a16:creationId xmlns:a16="http://schemas.microsoft.com/office/drawing/2014/main" id="{EE72BDA0-4172-455B-BD27-FC1026DC84A7}"/>
                </a:ext>
              </a:extLst>
            </p:cNvPr>
            <p:cNvCxnSpPr>
              <a:cxnSpLocks/>
              <a:stCxn id="156" idx="3"/>
            </p:cNvCxnSpPr>
            <p:nvPr/>
          </p:nvCxnSpPr>
          <p:spPr>
            <a:xfrm>
              <a:off x="3661228" y="1764923"/>
              <a:ext cx="381000" cy="0"/>
            </a:xfrm>
            <a:prstGeom prst="straightConnector1">
              <a:avLst/>
            </a:prstGeom>
            <a:ln w="6350" cap="flat">
              <a:solidFill>
                <a:srgbClr val="7F7F7F"/>
              </a:solidFill>
              <a:miter lim="800000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8" name="SplitFlowOF" hidden="1">
            <a:extLst>
              <a:ext uri="{FF2B5EF4-FFF2-40B4-BE49-F238E27FC236}">
                <a16:creationId xmlns:a16="http://schemas.microsoft.com/office/drawing/2014/main" id="{1551957B-CE96-494E-8727-1B398643703D}"/>
              </a:ext>
            </a:extLst>
          </p:cNvPr>
          <p:cNvGrpSpPr/>
          <p:nvPr userDrawn="1">
            <p:custDataLst>
              <p:tags r:id="rId26"/>
            </p:custDataLst>
          </p:nvPr>
        </p:nvGrpSpPr>
        <p:grpSpPr>
          <a:xfrm>
            <a:off x="5318125" y="4044950"/>
            <a:ext cx="1828801" cy="914400"/>
            <a:chOff x="114299" y="1270000"/>
            <a:chExt cx="1828801" cy="914400"/>
          </a:xfrm>
          <a:solidFill>
            <a:schemeClr val="accent1"/>
          </a:solidFill>
        </p:grpSpPr>
        <p:sp>
          <p:nvSpPr>
            <p:cNvPr id="159" name="Freeform: Shape 158">
              <a:extLst>
                <a:ext uri="{FF2B5EF4-FFF2-40B4-BE49-F238E27FC236}">
                  <a16:creationId xmlns:a16="http://schemas.microsoft.com/office/drawing/2014/main" id="{E3FEA654-9F89-4CE6-821B-9ABC190D4A9A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97126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0" name="TextBox 159">
              <a:extLst>
                <a:ext uri="{FF2B5EF4-FFF2-40B4-BE49-F238E27FC236}">
                  <a16:creationId xmlns:a16="http://schemas.microsoft.com/office/drawing/2014/main" id="{FDD80745-2F68-48EB-8CDC-67DC6D49E27B}"/>
                </a:ext>
              </a:extLst>
            </p:cNvPr>
            <p:cNvSpPr txBox="1"/>
            <p:nvPr>
              <p:custDataLst>
                <p:tags r:id="rId28"/>
              </p:custDataLst>
            </p:nvPr>
          </p:nvSpPr>
          <p:spPr>
            <a:xfrm>
              <a:off x="177800" y="1327150"/>
              <a:ext cx="1600708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sp>
          <p:nvSpPr>
            <p:cNvPr id="161" name="Freeform: Shape 160">
              <a:extLst>
                <a:ext uri="{FF2B5EF4-FFF2-40B4-BE49-F238E27FC236}">
                  <a16:creationId xmlns:a16="http://schemas.microsoft.com/office/drawing/2014/main" id="{EEB017A3-FBAD-4481-92A1-1A86A9CEFB43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>
            <a:xfrm>
              <a:off x="114299" y="1727200"/>
              <a:ext cx="996697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980237 w 1664208"/>
                <a:gd name="connsiteY0" fmla="*/ 0 h 457200"/>
                <a:gd name="connsiteX1" fmla="*/ 1664208 w 1664208"/>
                <a:gd name="connsiteY1" fmla="*/ 457200 h 457200"/>
                <a:gd name="connsiteX2" fmla="*/ 0 w 1664208"/>
                <a:gd name="connsiteY2" fmla="*/ 457200 h 457200"/>
                <a:gd name="connsiteX3" fmla="*/ 0 w 1664208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0 w 980237"/>
                <a:gd name="connsiteY3" fmla="*/ 0 h 457200"/>
                <a:gd name="connsiteX0" fmla="*/ 996696 w 996696"/>
                <a:gd name="connsiteY0" fmla="*/ 0 h 457200"/>
                <a:gd name="connsiteX1" fmla="*/ 84856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6 w 996696"/>
                <a:gd name="connsiteY0" fmla="*/ 0 h 457200"/>
                <a:gd name="connsiteX1" fmla="*/ 832103 w 996696"/>
                <a:gd name="connsiteY1" fmla="*/ 457200 h 457200"/>
                <a:gd name="connsiteX2" fmla="*/ 0 w 996696"/>
                <a:gd name="connsiteY2" fmla="*/ 457200 h 457200"/>
                <a:gd name="connsiteX3" fmla="*/ 0 w 996696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  <a:gd name="connsiteX0" fmla="*/ 996697 w 996697"/>
                <a:gd name="connsiteY0" fmla="*/ 0 h 457200"/>
                <a:gd name="connsiteX1" fmla="*/ 832104 w 996697"/>
                <a:gd name="connsiteY1" fmla="*/ 457200 h 457200"/>
                <a:gd name="connsiteX2" fmla="*/ 0 w 996697"/>
                <a:gd name="connsiteY2" fmla="*/ 457200 h 457200"/>
                <a:gd name="connsiteX3" fmla="*/ 1 w 996697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7" h="457200">
                  <a:moveTo>
                    <a:pt x="996697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2" name="TextBox 161">
              <a:extLst>
                <a:ext uri="{FF2B5EF4-FFF2-40B4-BE49-F238E27FC236}">
                  <a16:creationId xmlns:a16="http://schemas.microsoft.com/office/drawing/2014/main" id="{DD6CCB5C-E741-4E78-8CCC-D5973820E180}"/>
                </a:ext>
              </a:extLst>
            </p:cNvPr>
            <p:cNvSpPr txBox="1"/>
            <p:nvPr>
              <p:custDataLst>
                <p:tags r:id="rId30"/>
              </p:custDataLst>
            </p:nvPr>
          </p:nvSpPr>
          <p:spPr>
            <a:xfrm>
              <a:off x="177800" y="1784350"/>
              <a:ext cx="768604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  <p:sp>
          <p:nvSpPr>
            <p:cNvPr id="163" name="Freeform: Shape 162">
              <a:extLst>
                <a:ext uri="{FF2B5EF4-FFF2-40B4-BE49-F238E27FC236}">
                  <a16:creationId xmlns:a16="http://schemas.microsoft.com/office/drawing/2014/main" id="{2FD2A31A-96CC-4FE9-9B35-6BD639625B13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>
            <a:xfrm>
              <a:off x="946404" y="1727200"/>
              <a:ext cx="996696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  <a:gd name="connsiteX0" fmla="*/ 1828800 w 1828800"/>
                <a:gd name="connsiteY0" fmla="*/ 0 h 457200"/>
                <a:gd name="connsiteX1" fmla="*/ 1697126 w 1828800"/>
                <a:gd name="connsiteY1" fmla="*/ 457200 h 457200"/>
                <a:gd name="connsiteX2" fmla="*/ 848563 w 1828800"/>
                <a:gd name="connsiteY2" fmla="*/ 457200 h 457200"/>
                <a:gd name="connsiteX3" fmla="*/ 0 w 1828800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48563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80237 w 980237"/>
                <a:gd name="connsiteY0" fmla="*/ 0 h 457200"/>
                <a:gd name="connsiteX1" fmla="*/ 815645 w 980237"/>
                <a:gd name="connsiteY1" fmla="*/ 457200 h 457200"/>
                <a:gd name="connsiteX2" fmla="*/ 0 w 980237"/>
                <a:gd name="connsiteY2" fmla="*/ 457200 h 457200"/>
                <a:gd name="connsiteX3" fmla="*/ 131674 w 980237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48133 w 996696"/>
                <a:gd name="connsiteY3" fmla="*/ 0 h 457200"/>
                <a:gd name="connsiteX0" fmla="*/ 996696 w 996696"/>
                <a:gd name="connsiteY0" fmla="*/ 0 h 457200"/>
                <a:gd name="connsiteX1" fmla="*/ 832104 w 996696"/>
                <a:gd name="connsiteY1" fmla="*/ 457200 h 457200"/>
                <a:gd name="connsiteX2" fmla="*/ 0 w 996696"/>
                <a:gd name="connsiteY2" fmla="*/ 457200 h 457200"/>
                <a:gd name="connsiteX3" fmla="*/ 164592 w 996696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96696" h="457200">
                  <a:moveTo>
                    <a:pt x="996696" y="0"/>
                  </a:moveTo>
                  <a:lnTo>
                    <a:pt x="832104" y="457200"/>
                  </a:lnTo>
                  <a:lnTo>
                    <a:pt x="0" y="457200"/>
                  </a:lnTo>
                  <a:lnTo>
                    <a:pt x="164592" y="0"/>
                  </a:lnTo>
                  <a:close/>
                </a:path>
              </a:pathLst>
            </a:custGeom>
            <a:grpFill/>
            <a:ln w="63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>
                <a:spcBef>
                  <a:spcPts val="300"/>
                </a:spcBef>
                <a:spcAft>
                  <a:spcPts val="300"/>
                </a:spcAft>
              </a:pPr>
              <a:endParaRPr lang="ru-RU" sz="1600" dirty="0">
                <a:solidFill>
                  <a:schemeClr val="bg1"/>
                </a:solidFill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F3211BCF-9705-4033-AC82-988775179F76}"/>
                </a:ext>
              </a:extLst>
            </p:cNvPr>
            <p:cNvSpPr txBox="1"/>
            <p:nvPr>
              <p:custDataLst>
                <p:tags r:id="rId32"/>
              </p:custDataLst>
            </p:nvPr>
          </p:nvSpPr>
          <p:spPr>
            <a:xfrm>
              <a:off x="1149096" y="1784350"/>
              <a:ext cx="629412" cy="342900"/>
            </a:xfrm>
            <a:prstGeom prst="rect">
              <a:avLst/>
            </a:prstGeom>
            <a:grpFill/>
          </p:spPr>
          <p:txBody>
            <a:bodyPr vert="horz" wrap="square" lIns="0" tIns="0" rIns="0" bIns="0" rtlCol="0" anchor="ctr">
              <a:no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SzPct val="100000"/>
                <a:buFont typeface="Segoe UI" panose="020B0502040204020203" pitchFamily="34" charset="0"/>
                <a:buChar char="​"/>
                <a:defRPr lang="en-US" sz="1600" dirty="0">
                  <a:cs typeface="Arial" panose="020B0604020202020204" pitchFamily="34" charset="0"/>
                </a:defRPr>
              </a:lvl1pPr>
              <a:lvl2pPr marL="182880" lvl="1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Wingdings" panose="05000000000000000000" pitchFamily="2" charset="2"/>
                <a:buChar char=""/>
                <a:defRPr lang="en-US" sz="1600" dirty="0"/>
              </a:lvl2pPr>
              <a:lvl3pPr marL="365760" lvl="2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‒"/>
                <a:defRPr lang="en-US" sz="1600" dirty="0"/>
              </a:lvl3pPr>
              <a:lvl4pPr marL="548640" lvl="3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•"/>
                <a:defRPr lang="en-US" sz="1600" dirty="0"/>
              </a:lvl4pPr>
              <a:lvl5pPr marL="731520" lvl="4" indent="-18288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>
                  <a:schemeClr val="accent1"/>
                </a:buClr>
                <a:buSzPct val="100000"/>
                <a:buFont typeface="Arial" panose="020B0604020202020204" pitchFamily="34" charset="0"/>
                <a:buChar char="̶"/>
                <a:defRPr lang="en-US" sz="1600" dirty="0"/>
              </a:lvl5pPr>
              <a:lvl6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rtl="0">
                <a:buClr>
                  <a:schemeClr val="tx2"/>
                </a:buClr>
              </a:pPr>
              <a:r>
                <a:rPr lang="ru-RU" b="1">
                  <a:solidFill>
                    <a:schemeClr val="tx2"/>
                  </a:solidFill>
                </a:rPr>
                <a:t>Text</a:t>
              </a:r>
              <a:endParaRPr lang="ru-RU" b="1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1418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  <p:sldLayoutId id="2147484068" r:id="rId12"/>
    <p:sldLayoutId id="2147484069" r:id="rId13"/>
    <p:sldLayoutId id="2147484070" r:id="rId14"/>
    <p:sldLayoutId id="2147484071" r:id="rId15"/>
    <p:sldLayoutId id="2147484072" r:id="rId16"/>
    <p:sldLayoutId id="2147484073" r:id="rId1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ru-RU" sz="2500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600" kern="1200" dirty="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28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Wingdings" panose="05000000000000000000" pitchFamily="2" charset="2"/>
        <a:buChar char="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‒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4864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SzPct val="100000"/>
        <a:buFont typeface="Arial" panose="020B0604020202020204" pitchFamily="34" charset="0"/>
        <a:buChar char="̶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>
          <a:xfrm>
            <a:off x="770346" y="1034186"/>
            <a:ext cx="11082528" cy="246221"/>
          </a:xfrm>
        </p:spPr>
        <p:txBody>
          <a:bodyPr/>
          <a:lstStyle/>
          <a:p>
            <a:r>
              <a:rPr lang="en-US" dirty="0"/>
              <a:t>production with zero injuries and safe working conditions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566215" y="278123"/>
            <a:ext cx="10466386" cy="384721"/>
          </a:xfrm>
        </p:spPr>
        <p:txBody>
          <a:bodyPr/>
          <a:lstStyle/>
          <a:p>
            <a:pPr algn="ctr"/>
            <a:r>
              <a:rPr lang="en-US" dirty="0"/>
              <a:t>             </a:t>
            </a:r>
            <a:r>
              <a:rPr lang="ru-RU" dirty="0"/>
              <a:t>7 </a:t>
            </a:r>
            <a:r>
              <a:rPr lang="en-US" dirty="0"/>
              <a:t>Golden Rules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07DF5FF-82ED-4FFC-B7C8-0D7BC8ECD06F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636122" y="5218305"/>
            <a:ext cx="9529790" cy="10618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600" dirty="0">
                <a:cs typeface="Arial" panose="020B0604020202020204" pitchFamily="34" charset="0"/>
              </a:defRPr>
            </a:lvl1pPr>
            <a:lvl2pPr marL="182880" lvl="1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"/>
              <a:defRPr lang="en-US" sz="1600" dirty="0"/>
            </a:lvl2pPr>
            <a:lvl3pPr marL="365760" lvl="2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lang="en-US" sz="1600" dirty="0"/>
            </a:lvl3pPr>
            <a:lvl4pPr marL="548640" lvl="3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dirty="0"/>
            </a:lvl4pPr>
            <a:lvl5pPr marL="731520" lvl="4" indent="-18288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dirty="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1" fontAlgn="ctr">
              <a:spcBef>
                <a:spcPts val="1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b="1" dirty="0">
              <a:solidFill>
                <a:schemeClr val="accent1"/>
              </a:solidFill>
            </a:endParaRPr>
          </a:p>
          <a:p>
            <a:pPr lvl="1" fontAlgn="ctr">
              <a:spcBef>
                <a:spcPts val="1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accent1"/>
              </a:solidFill>
            </a:endParaRPr>
          </a:p>
          <a:p>
            <a:pPr lvl="1" fontAlgn="ctr">
              <a:spcBef>
                <a:spcPts val="1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accent1"/>
              </a:solidFill>
            </a:endParaRPr>
          </a:p>
          <a:p>
            <a:pPr lvl="1" fontAlgn="ctr">
              <a:spcBef>
                <a:spcPts val="15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200" b="1" dirty="0">
              <a:solidFill>
                <a:schemeClr val="accent1"/>
              </a:solidFill>
            </a:endParaRPr>
          </a:p>
          <a:p>
            <a:pPr lvl="0" algn="just"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None/>
              <a:defRPr/>
            </a:pPr>
            <a:r>
              <a:rPr lang="en-US" sz="1200" dirty="0"/>
              <a:t>  </a:t>
            </a:r>
            <a:endParaRPr lang="ru-RU" sz="1200" dirty="0"/>
          </a:p>
        </p:txBody>
      </p:sp>
      <p:sp>
        <p:nvSpPr>
          <p:cNvPr id="35" name="Подзаголовок 1"/>
          <p:cNvSpPr txBox="1">
            <a:spLocks/>
          </p:cNvSpPr>
          <p:nvPr/>
        </p:nvSpPr>
        <p:spPr>
          <a:xfrm>
            <a:off x="554737" y="1356717"/>
            <a:ext cx="11082528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ru-RU" sz="1600" b="0" kern="1200" baseline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None/>
            </a:pPr>
            <a:endParaRPr lang="ru-RU" sz="1400" dirty="0">
              <a:solidFill>
                <a:schemeClr val="accent1"/>
              </a:solidFill>
              <a:latin typeface="Segoe UI Semibold" panose="020B0702040204020203" pitchFamily="34" charset="0"/>
              <a:ea typeface="+mj-ea"/>
              <a:cs typeface="+mj-cs"/>
            </a:endParaRPr>
          </a:p>
        </p:txBody>
      </p:sp>
      <p:sp>
        <p:nvSpPr>
          <p:cNvPr id="7" name="Подзаголовок 1">
            <a:extLst>
              <a:ext uri="{FF2B5EF4-FFF2-40B4-BE49-F238E27FC236}">
                <a16:creationId xmlns:a16="http://schemas.microsoft.com/office/drawing/2014/main" id="{6BF68193-0F74-4E05-8116-C9B7DE172607}"/>
              </a:ext>
            </a:extLst>
          </p:cNvPr>
          <p:cNvSpPr txBox="1">
            <a:spLocks/>
          </p:cNvSpPr>
          <p:nvPr/>
        </p:nvSpPr>
        <p:spPr>
          <a:xfrm>
            <a:off x="707136" y="711655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ru-RU" sz="1600" b="0" kern="1200" baseline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18288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Wingdings" panose="05000000000000000000" pitchFamily="2" charset="2"/>
              <a:buChar char="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576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‒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864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•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1520" indent="-18288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SzPct val="100000"/>
              <a:buFont typeface="Arial" panose="020B0604020202020204" pitchFamily="34" charset="0"/>
              <a:buChar char="̶"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6pPr>
            <a:lvl7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7pPr>
            <a:lvl8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8pPr>
            <a:lvl9pPr marL="1085850" indent="-1714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9pPr>
          </a:lstStyle>
          <a:p>
            <a:pPr algn="ctr"/>
            <a:r>
              <a:rPr lang="en-US" b="1" dirty="0"/>
              <a:t>Production with zero injuries and safe working conditions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D462B52-E1C5-451C-A65F-6A9B8935BEA6}"/>
              </a:ext>
            </a:extLst>
          </p:cNvPr>
          <p:cNvSpPr/>
          <p:nvPr/>
        </p:nvSpPr>
        <p:spPr>
          <a:xfrm>
            <a:off x="636122" y="1332797"/>
            <a:ext cx="10794170" cy="67951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Management commitment</a:t>
            </a:r>
            <a:r>
              <a:rPr lang="ru-RU" b="1" dirty="0">
                <a:solidFill>
                  <a:schemeClr val="bg1"/>
                </a:solidFill>
              </a:rPr>
              <a:t> 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Show commitment to principles</a:t>
            </a:r>
            <a:endParaRPr lang="ru-RU" b="1" dirty="0" err="1">
              <a:solidFill>
                <a:schemeClr val="bg1"/>
              </a:solidFill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C83E9002-F664-4E54-B2BC-27737370E1CE}"/>
              </a:ext>
            </a:extLst>
          </p:cNvPr>
          <p:cNvSpPr/>
          <p:nvPr/>
        </p:nvSpPr>
        <p:spPr>
          <a:xfrm>
            <a:off x="636122" y="2056015"/>
            <a:ext cx="10794170" cy="67951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Identify risks</a:t>
            </a:r>
            <a:endParaRPr lang="ru-RU" b="1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Control threats</a:t>
            </a:r>
            <a:endParaRPr lang="ru-RU" b="1" dirty="0" err="1">
              <a:solidFill>
                <a:schemeClr val="bg1"/>
              </a:solidFill>
            </a:endParaRP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8DB5059-C023-4648-8D1A-29A15FEAB37C}"/>
              </a:ext>
            </a:extLst>
          </p:cNvPr>
          <p:cNvSpPr/>
          <p:nvPr/>
        </p:nvSpPr>
        <p:spPr>
          <a:xfrm>
            <a:off x="636122" y="2782480"/>
            <a:ext cx="10794170" cy="67951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Identify goals</a:t>
            </a:r>
            <a:endParaRPr lang="ru-RU" b="1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Develop programs</a:t>
            </a:r>
            <a:endParaRPr lang="ru-RU" b="1" dirty="0" err="1">
              <a:solidFill>
                <a:schemeClr val="bg1"/>
              </a:solidFill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3E1CB947-9F4F-418C-BE72-A5829DFAF344}"/>
              </a:ext>
            </a:extLst>
          </p:cNvPr>
          <p:cNvSpPr/>
          <p:nvPr/>
        </p:nvSpPr>
        <p:spPr>
          <a:xfrm>
            <a:off x="636122" y="3508945"/>
            <a:ext cx="10794170" cy="67951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Create occupational safety and health systems</a:t>
            </a:r>
            <a:endParaRPr lang="ru-RU" b="1" dirty="0">
              <a:solidFill>
                <a:schemeClr val="bg1"/>
              </a:solidFill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Achieve a high level of organization</a:t>
            </a:r>
            <a:endParaRPr lang="ru-RU" b="1" dirty="0" err="1">
              <a:solidFill>
                <a:schemeClr val="bg1"/>
              </a:solidFill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33DF44F-0D0B-4A19-BB3D-A5910ACAE114}"/>
              </a:ext>
            </a:extLst>
          </p:cNvPr>
          <p:cNvSpPr/>
          <p:nvPr/>
        </p:nvSpPr>
        <p:spPr>
          <a:xfrm>
            <a:off x="636122" y="4235410"/>
            <a:ext cx="10794170" cy="67951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Ensure safety and labor protection in the workplace when working with machines and equipment</a:t>
            </a:r>
            <a:endParaRPr lang="ru-RU" b="1" dirty="0" err="1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FB50BEA-0551-4A4D-B91B-A511D4F4BD4A}"/>
              </a:ext>
            </a:extLst>
          </p:cNvPr>
          <p:cNvSpPr/>
          <p:nvPr/>
        </p:nvSpPr>
        <p:spPr>
          <a:xfrm>
            <a:off x="636122" y="4987410"/>
            <a:ext cx="10794170" cy="67951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Improve skill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Improve professional skills</a:t>
            </a:r>
            <a:endParaRPr lang="ru-RU" b="1" dirty="0" err="1">
              <a:solidFill>
                <a:schemeClr val="bg1"/>
              </a:solidFill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B2F86C00-59D0-449C-8CDC-731EE9719579}"/>
              </a:ext>
            </a:extLst>
          </p:cNvPr>
          <p:cNvSpPr/>
          <p:nvPr/>
        </p:nvSpPr>
        <p:spPr>
          <a:xfrm>
            <a:off x="636122" y="5749219"/>
            <a:ext cx="10794170" cy="679511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Invest in HR capital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bg1"/>
                </a:solidFill>
              </a:rPr>
              <a:t>Motivate through participation</a:t>
            </a:r>
          </a:p>
        </p:txBody>
      </p:sp>
    </p:spTree>
    <p:extLst>
      <p:ext uri="{BB962C8B-B14F-4D97-AF65-F5344CB8AC3E}">
        <p14:creationId xmlns:p14="http://schemas.microsoft.com/office/powerpoint/2010/main" val="2550994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EMPLATELASTEDITED" val="2022-10-04 09:31 AM"/>
  <p:tag name="TSCLIENT" val="True"/>
  <p:tag name="THINKCELLPRESENTATIONDONOTDELETE" val="&lt;?xml version=&quot;1.0&quot; encoding=&quot;UTF-16&quot; standalone=&quot;yes&quot;?&gt;&lt;root reqver=&quot;27037&quot;&gt;&lt;version val=&quot;3302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Day&gt;&lt;m_bNumberIsYear val=&quot;0&quot;/&gt;&lt;m_strFormatTime&gt;%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9&quot;&gt;&lt;elem m_fUsage=&quot;2.09742048900000011002E+00&quot;&gt;&lt;m_msothmcolidx val=&quot;0&quot;/&gt;&lt;m_rgb r=&quot;2E&quot; g=&quot;9B&quot; b=&quot;28&quot;/&gt;&lt;/elem&gt;&lt;elem m_fUsage=&quot;1.81556721000000020894E+00&quot;&gt;&lt;m_msothmcolidx val=&quot;0&quot;/&gt;&lt;m_rgb r=&quot;02&quot; g=&quot;02&quot; b=&quot;FF&quot;/&gt;&lt;/elem&gt;&lt;elem m_fUsage=&quot;1.59049000000000018140E+00&quot;&gt;&lt;m_msothmcolidx val=&quot;0&quot;/&gt;&lt;m_rgb r=&quot;E7&quot; g=&quot;1A&quot; b=&quot;21&quot;/&gt;&lt;/elem&gt;&lt;elem m_fUsage=&quot;7.21918138199084347129E-01&quot;&gt;&lt;m_msothmcolidx val=&quot;0&quot;/&gt;&lt;m_rgb r=&quot;ED&quot; g=&quot;AB&quot; b=&quot;B1&quot;/&gt;&lt;/elem&gt;&lt;elem m_fUsage=&quot;5.31441000000000163261E-01&quot;&gt;&lt;m_msothmcolidx val=&quot;0&quot;/&gt;&lt;m_rgb r=&quot;BF&quot; g=&quot;BF&quot; b=&quot;BF&quot;/&gt;&lt;/elem&gt;&lt;elem m_fUsage=&quot;4.78296900000000135833E-01&quot;&gt;&lt;m_msothmcolidx val=&quot;0&quot;/&gt;&lt;m_rgb r=&quot;CF&quot; g=&quot;F0&quot; b=&quot;FC&quot;/&gt;&lt;/elem&gt;&lt;elem m_fUsage=&quot;4.34659056644259078617E-01&quot;&gt;&lt;m_msothmcolidx val=&quot;0&quot;/&gt;&lt;m_rgb r=&quot;FF&quot; g=&quot;C0&quot; b=&quot;00&quot;/&gt;&lt;/elem&gt;&lt;elem m_fUsage=&quot;3.48678440100000153201E-01&quot;&gt;&lt;m_msothmcolidx val=&quot;0&quot;/&gt;&lt;m_rgb r=&quot;D9&quot; g=&quot;D9&quot; b=&quot;D9&quot;/&gt;&lt;/elem&gt;&lt;elem m_fUsage=&quot;3.13810596090000171188E-01&quot;&gt;&lt;m_msothmcolidx val=&quot;0&quot;/&gt;&lt;m_rgb r=&quot;E1&quot; g=&quot;E1&quot; b=&quot;E1&quot;/&gt;&lt;/elem&gt;&lt;/m_vecMRU&gt;&lt;/m_mruColor&gt;&lt;m_eweekdayFirstOfWeek val=&quot;2&quot;/&gt;&lt;m_eweekdayFirstOfWorkweek val=&quot;2&quot;/&gt;&lt;m_eweekdayFirstOfWeekend val=&quot;7&quot;/&gt;&lt;/CPresentation&gt;&lt;/root&gt;"/>
  <p:tag name="ICONENCLOSURE" val="True"/>
  <p:tag name="MTBTACCENT" val="Accent1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sGYgDQG78xFQKadrp3Rw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Sa2naJehc3j5zzUSOFhg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"/>
  <p:tag name="2LEVEL" val="0"/>
  <p:tag name="3LEVEL" val="0"/>
  <p:tag name="4LEVEL" val="0"/>
  <p:tag name="5LEVEL" val="0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Right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Left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Left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Sa2naJehc3j5zzUSOFh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trongCallout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FLAT" val="True"/>
  <p:tag name="NAME" val="SplitFlow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Shape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2BoatBottom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10.xml><?xml version="1.0" encoding="utf-8"?>
<a:theme xmlns:a="http://schemas.openxmlformats.org/drawingml/2006/main" name="7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11.xml><?xml version="1.0" encoding="utf-8"?>
<a:theme xmlns:a="http://schemas.openxmlformats.org/drawingml/2006/main" name="6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12.xml><?xml version="1.0" encoding="utf-8"?>
<a:theme xmlns:a="http://schemas.openxmlformats.org/drawingml/2006/main" name="8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13.xml><?xml version="1.0" encoding="utf-8"?>
<a:theme xmlns:a="http://schemas.openxmlformats.org/drawingml/2006/main" name="9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14.xml><?xml version="1.0" encoding="utf-8"?>
<a:theme xmlns:a="http://schemas.openxmlformats.org/drawingml/2006/main" name="10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15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ontrast_RU_9260DX _16x9_OF_v1">
  <a:themeElements>
    <a:clrScheme name="Scheme2">
      <a:dk1>
        <a:srgbClr val="FFFFFF"/>
      </a:dk1>
      <a:lt1>
        <a:srgbClr val="3980EF"/>
      </a:lt1>
      <a:dk2>
        <a:srgbClr val="000000"/>
      </a:dk2>
      <a:lt2>
        <a:srgbClr val="000000"/>
      </a:lt2>
      <a:accent1>
        <a:srgbClr val="FFFFF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3980E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9A417BFF-D8BB-4B9D-A93E-96329BC38B49}"/>
    </a:ext>
  </a:extLst>
</a:theme>
</file>

<file path=ppt/theme/theme3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63F3F1B3-6474-4090-9DDD-93ADAA306497}" vid="{AEFECE1B-3E58-4DA0-A112-754F75D0BDE3}"/>
    </a:ext>
  </a:extLst>
</a:theme>
</file>

<file path=ppt/theme/theme4.xml><?xml version="1.0" encoding="utf-8"?>
<a:theme xmlns:a="http://schemas.openxmlformats.org/drawingml/2006/main" name="2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5.xml><?xml version="1.0" encoding="utf-8"?>
<a:theme xmlns:a="http://schemas.openxmlformats.org/drawingml/2006/main" name="1_Contrast_RU_9260DX _16x9_OF_v1">
  <a:themeElements>
    <a:clrScheme name="Scheme2">
      <a:dk1>
        <a:srgbClr val="FFFFFF"/>
      </a:dk1>
      <a:lt1>
        <a:srgbClr val="3980EF"/>
      </a:lt1>
      <a:dk2>
        <a:srgbClr val="000000"/>
      </a:dk2>
      <a:lt2>
        <a:srgbClr val="000000"/>
      </a:lt2>
      <a:accent1>
        <a:srgbClr val="FFFFF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3980E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9A417BFF-D8BB-4B9D-A93E-96329BC38B49}"/>
    </a:ext>
  </a:extLst>
</a:theme>
</file>

<file path=ppt/theme/theme6.xml><?xml version="1.0" encoding="utf-8"?>
<a:theme xmlns:a="http://schemas.openxmlformats.org/drawingml/2006/main" name="1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7.xml><?xml version="1.0" encoding="utf-8"?>
<a:theme xmlns:a="http://schemas.openxmlformats.org/drawingml/2006/main" name="3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8.xml><?xml version="1.0" encoding="utf-8"?>
<a:theme xmlns:a="http://schemas.openxmlformats.org/drawingml/2006/main" name="4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ppt/theme/theme9.xml><?xml version="1.0" encoding="utf-8"?>
<a:theme xmlns:a="http://schemas.openxmlformats.org/drawingml/2006/main" name="5_White_RU_9260DX _16x9_OF_v1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3980EF"/>
      </a:accent1>
      <a:accent2>
        <a:srgbClr val="34F7D3"/>
      </a:accent2>
      <a:accent3>
        <a:srgbClr val="10B3F0"/>
      </a:accent3>
      <a:accent4>
        <a:srgbClr val="3554F5"/>
      </a:accent4>
      <a:accent5>
        <a:srgbClr val="F3F3F3"/>
      </a:accent5>
      <a:accent6>
        <a:srgbClr val="A1A1A1"/>
      </a:accent6>
      <a:hlink>
        <a:srgbClr val="0000FF"/>
      </a:hlink>
      <a:folHlink>
        <a:srgbClr val="800080"/>
      </a:folHlink>
    </a:clrScheme>
    <a:fontScheme name="Custom">
      <a:majorFont>
        <a:latin typeface="Segoe UI Semibold"/>
        <a:ea typeface=""/>
        <a:cs typeface=""/>
      </a:majorFont>
      <a:minorFont>
        <a:latin typeface="Segoe UI Light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3980EF"/>
        </a:accent1>
        <a:accent2>
          <a:srgbClr val="34F7D3"/>
        </a:accent2>
        <a:accent3>
          <a:srgbClr val="10B3F0"/>
        </a:accent3>
        <a:accent4>
          <a:srgbClr val="3554F5"/>
        </a:accent4>
        <a:accent5>
          <a:srgbClr val="F3F3F3"/>
        </a:accent5>
        <a:accent6>
          <a:srgbClr val="A1A1A1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Latest template.potx" id="{1933530F-DADF-4AFD-B505-38115A6A16D9}" vid="{13D4DB5F-6921-4089-A656-569D39AD41A6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215</TotalTime>
  <Words>73</Words>
  <Application>Microsoft Office PowerPoint</Application>
  <PresentationFormat>Широкоэкранный</PresentationFormat>
  <Paragraphs>21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4" baseType="lpstr">
      <vt:lpstr>Arial</vt:lpstr>
      <vt:lpstr>Georgia</vt:lpstr>
      <vt:lpstr>Segoe UI</vt:lpstr>
      <vt:lpstr>Segoe UI Light</vt:lpstr>
      <vt:lpstr>Segoe UI Semibold</vt:lpstr>
      <vt:lpstr>Verdana</vt:lpstr>
      <vt:lpstr>Verdana Pro</vt:lpstr>
      <vt:lpstr>Wingdings</vt:lpstr>
      <vt:lpstr>White_RU_9260DX _16x9_OF_v1</vt:lpstr>
      <vt:lpstr>Contrast_RU_9260DX _16x9_OF_v1</vt:lpstr>
      <vt:lpstr>Contrast</vt:lpstr>
      <vt:lpstr>2_White_RU_9260DX _16x9_OF_v1</vt:lpstr>
      <vt:lpstr>1_Contrast_RU_9260DX _16x9_OF_v1</vt:lpstr>
      <vt:lpstr>1_White_RU_9260DX _16x9_OF_v1</vt:lpstr>
      <vt:lpstr>3_White_RU_9260DX _16x9_OF_v1</vt:lpstr>
      <vt:lpstr>4_White_RU_9260DX _16x9_OF_v1</vt:lpstr>
      <vt:lpstr>5_White_RU_9260DX _16x9_OF_v1</vt:lpstr>
      <vt:lpstr>7_White_RU_9260DX _16x9_OF_v1</vt:lpstr>
      <vt:lpstr>6_White_RU_9260DX _16x9_OF_v1</vt:lpstr>
      <vt:lpstr>8_White_RU_9260DX _16x9_OF_v1</vt:lpstr>
      <vt:lpstr>9_White_RU_9260DX _16x9_OF_v1</vt:lpstr>
      <vt:lpstr>10_White_RU_9260DX _16x9_OF_v1</vt:lpstr>
      <vt:lpstr>think-cell Slide</vt:lpstr>
      <vt:lpstr>             7 Golden Rule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Газ в любую точку</dc:title>
  <dc:subject/>
  <dc:creator>Assel Abdrakhimova</dc:creator>
  <cp:keywords/>
  <dc:description/>
  <cp:lastModifiedBy>Агимбетова Лаура Ермаковна</cp:lastModifiedBy>
  <cp:revision>2866</cp:revision>
  <cp:lastPrinted>2023-06-13T08:28:46Z</cp:lastPrinted>
  <dcterms:created xsi:type="dcterms:W3CDTF">2022-12-07T03:55:27Z</dcterms:created>
  <dcterms:modified xsi:type="dcterms:W3CDTF">2023-10-01T17:38:26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2-10-04 09:31 AM</vt:lpwstr>
  </property>
  <property fmtid="{D5CDD505-2E9C-101B-9397-08002B2CF9AE}" pid="8" name="TemplateCreated">
    <vt:lpwstr>2019-02-27 01:18 PM</vt:lpwstr>
  </property>
</Properties>
</file>